
<file path=[Content_Types].xml><?xml version="1.0" encoding="utf-8"?>
<Types xmlns="http://schemas.openxmlformats.org/package/2006/content-types">
  <Override PartName="/ppt/tags/tag8.xml" ContentType="application/vnd.openxmlformats-officedocument.presentationml.tags+xml"/>
  <Override PartName="/ppt/tags/tag104.xml" ContentType="application/vnd.openxmlformats-officedocument.presentationml.tags+xml"/>
  <Override PartName="/ppt/slides/slide4.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tags/tag89.xml" ContentType="application/vnd.openxmlformats-officedocument.presentationml.tags+xml"/>
  <Override PartName="/ppt/tags/tag111.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Override PartName="/ppt/tags/tag78.xml" ContentType="application/vnd.openxmlformats-officedocument.presentationml.tags+xml"/>
  <Override PartName="/ppt/tags/tag96.xml" ContentType="application/vnd.openxmlformats-officedocument.presentationml.tags+xml"/>
  <Override PartName="/ppt/tags/tag100.xml" ContentType="application/vnd.openxmlformats-officedocument.presentationml.tags+xml"/>
  <Default Extension="xml" ContentType="application/xml"/>
  <Override PartName="/ppt/slideLayouts/slideLayout13.xml" ContentType="application/vnd.openxmlformats-officedocument.presentationml.slideLayout+xml"/>
  <Override PartName="/ppt/theme/themeOverride1.xml" ContentType="application/vnd.openxmlformats-officedocument.themeOverride+xml"/>
  <Override PartName="/ppt/tags/tag38.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tags/tag85.xml" ContentType="application/vnd.openxmlformats-officedocument.presentationml.tags+xml"/>
  <Override PartName="/ppt/charts/colors2.xml" ContentType="application/vnd.ms-office.chartcolorstyl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92.xml" ContentType="application/vnd.openxmlformats-officedocument.presentationml.tags+xml"/>
  <Override PartName="/ppt/tags/tag34.xml" ContentType="application/vnd.openxmlformats-officedocument.presentationml.tags+xml"/>
  <Override PartName="/ppt/tags/tag52.xml" ContentType="application/vnd.openxmlformats-officedocument.presentationml.tags+xml"/>
  <Override PartName="/ppt/tags/tag81.xml" ContentType="application/vnd.openxmlformats-officedocument.presentationml.tags+xml"/>
  <Override PartName="/ppt/tags/tag109.xml" ContentType="application/vnd.openxmlformats-officedocument.presentationml.tags+xml"/>
  <Default Extension="xlsx" ContentType="application/vnd.openxmlformats-officedocument.spreadsheetml.sheet"/>
  <Override PartName="/ppt/charts/chart3.xml" ContentType="application/vnd.openxmlformats-officedocument.drawingml.chart+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Override PartName="/ppt/charts/style5.xml" ContentType="application/vnd.ms-office.chartstyl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tags/tag105.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tags/tag112.xml" ContentType="application/vnd.openxmlformats-officedocument.presentationml.tags+xml"/>
  <Override PartName="/ppt/charts/style1.xml" ContentType="application/vnd.ms-office.chartstyle+xml"/>
  <Override PartName="/ppt/presProps.xml" ContentType="application/vnd.openxmlformats-officedocument.presentationml.presProps+xml"/>
  <Override PartName="/ppt/tags/tag5.xml" ContentType="application/vnd.openxmlformats-officedocument.presentationml.tags+xml"/>
  <Override PartName="/ppt/tags/tag79.xml" ContentType="application/vnd.openxmlformats-officedocument.presentationml.tags+xml"/>
  <Override PartName="/ppt/tags/tag101.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tags/tag68.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presentation.xml" ContentType="application/vnd.openxmlformats-officedocument.presentationml.presentation.main+xml"/>
  <Override PartName="/ppt/slideLayouts/slideLayout14.xml" ContentType="application/vnd.openxmlformats-officedocument.presentationml.slideLayout+xml"/>
  <Override PartName="/ppt/theme/themeOverride2.xml" ContentType="application/vnd.openxmlformats-officedocument.themeOverride+xml"/>
  <Override PartName="/ppt/tags/tag1.xml" ContentType="application/vnd.openxmlformats-officedocument.presentationml.tags+xml"/>
  <Override PartName="/ppt/tags/tag28.xml" ContentType="application/vnd.openxmlformats-officedocument.presentationml.tags+xml"/>
  <Override PartName="/ppt/tags/tag57.xml" ContentType="application/vnd.openxmlformats-officedocument.presentationml.tags+xml"/>
  <Override PartName="/ppt/tags/tag75.xml" ContentType="application/vnd.openxmlformats-officedocument.presentationml.tags+xml"/>
  <Override PartName="/docProps/app.xml" ContentType="application/vnd.openxmlformats-officedocument.extended-properties+xml"/>
  <Override PartName="/ppt/charts/colors3.xml" ContentType="application/vnd.ms-office.chartcolorstyle+xml"/>
  <Override PartName="/ppt/tags/tag17.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64.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slideLayouts/slideLayout10.xml" ContentType="application/vnd.openxmlformats-officedocument.presentationml.slideLayout+xml"/>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53.xml" ContentType="application/vnd.openxmlformats-officedocument.presentationml.tags+xml"/>
  <Override PartName="/ppt/tags/tag62.xml" ContentType="application/vnd.openxmlformats-officedocument.presentationml.tags+xml"/>
  <Override PartName="/ppt/tags/tag71.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charts/chart4.xml" ContentType="application/vnd.openxmlformats-officedocument.drawingml.chart+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tags/tag108.xml" ContentType="application/vnd.openxmlformats-officedocument.presentationml.tags+xml"/>
  <Override PartName="/ppt/slides/slide8.xml" ContentType="application/vnd.openxmlformats-officedocument.presentationml.slide+xml"/>
  <Override PartName="/ppt/charts/chart2.xml" ContentType="application/vnd.openxmlformats-officedocument.drawingml.chart+xml"/>
  <Override PartName="/ppt/tags/tag11.xml" ContentType="application/vnd.openxmlformats-officedocument.presentationml.tags+xml"/>
  <Override PartName="/ppt/tags/tag20.xml" ContentType="application/vnd.openxmlformats-officedocument.presentationml.tags+xml"/>
  <Override PartName="/ppt/tags/tag106.xml" ContentType="application/vnd.openxmlformats-officedocument.presentationml.tags+xml"/>
  <Override PartName="/docProps/core.xml" ContentType="application/vnd.openxmlformats-package.core-properties+xml"/>
  <Override PartName="/ppt/charts/style4.xml" ContentType="application/vnd.ms-office.chartstyle+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tags/tag113.xml" ContentType="application/vnd.openxmlformats-officedocument.presentationml.tags+xml"/>
  <Override PartName="/ppt/charts/style2.xml" ContentType="application/vnd.ms-office.chartstyle+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ags/tag98.xml" ContentType="application/vnd.openxmlformats-officedocument.presentationml.tags+xml"/>
  <Override PartName="/ppt/tags/tag102.xml" ContentType="application/vnd.openxmlformats-officedocument.presentationml.tags+xml"/>
  <Override PartName="/ppt/slides/slide2.xml" ContentType="application/vnd.openxmlformats-officedocument.presentationml.slide+xml"/>
  <Override PartName="/ppt/slideLayouts/slideLayout15.xml" ContentType="application/vnd.openxmlformats-officedocument.presentationml.slideLayout+xml"/>
  <Override PartName="/ppt/theme/themeOverride3.xml" ContentType="application/vnd.openxmlformats-officedocument.themeOverride+xml"/>
  <Override PartName="/ppt/tags/tag2.xml" ContentType="application/vnd.openxmlformats-officedocument.presentationml.tags+xml"/>
  <Override PartName="/ppt/tags/tag58.xml" ContentType="application/vnd.openxmlformats-officedocument.presentationml.tags+xml"/>
  <Override PartName="/ppt/tags/tag69.xml" ContentType="application/vnd.openxmlformats-officedocument.presentationml.tags+xml"/>
  <Override PartName="/ppt/tags/tag87.xml" ContentType="application/vnd.openxmlformats-officedocument.presentationml.tags+xml"/>
  <Override PartName="/ppt/charts/colors4.xml" ContentType="application/vnd.ms-office.chartcolorstyle+xml"/>
  <Default Extension="rels" ContentType="application/vnd.openxmlformats-package.relationships+xml"/>
  <Override PartName="/ppt/tags/tag29.xml" ContentType="application/vnd.openxmlformats-officedocument.presentationml.tags+xml"/>
  <Override PartName="/ppt/tags/tag47.xml" ContentType="application/vnd.openxmlformats-officedocument.presentationml.tags+xml"/>
  <Override PartName="/ppt/tags/tag76.xml" ContentType="application/vnd.openxmlformats-officedocument.presentationml.tags+xml"/>
  <Override PartName="/ppt/tags/tag94.xml" ContentType="application/vnd.openxmlformats-officedocument.presentationml.tags+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charts/chart5.xml" ContentType="application/vnd.openxmlformats-officedocument.drawingml.chart+xml"/>
  <Override PartName="/ppt/tags/tag32.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charts/chart1.xml" ContentType="application/vnd.openxmlformats-officedocument.drawingml.chart+xml"/>
  <Override PartName="/ppt/tags/tag10.xml" ContentType="application/vnd.openxmlformats-officedocument.presentationml.tags+xml"/>
  <Override PartName="/ppt/tags/tag21.xml" ContentType="application/vnd.openxmlformats-officedocument.presentationml.tags+xml"/>
  <Override PartName="/ppt/charts/style3.xml" ContentType="application/vnd.ms-office.chartstyle+xml"/>
  <Override PartName="/ppt/tags/tag7.xml" ContentType="application/vnd.openxmlformats-officedocument.presentationml.tags+xml"/>
  <Override PartName="/ppt/tags/tag103.xml" ContentType="application/vnd.openxmlformats-officedocument.presentationml.tags+xml"/>
  <Override PartName="/ppt/slides/slide3.xml" ContentType="application/vnd.openxmlformats-officedocument.presentationml.slide+xml"/>
  <Override PartName="/ppt/slideLayouts/slideLayout5.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slideLayouts/slideLayout16.xml" ContentType="application/vnd.openxmlformats-officedocument.presentationml.slideLayout+xml"/>
  <Override PartName="/ppt/theme/themeOverride4.xml" ContentType="application/vnd.openxmlformats-officedocument.themeOverride+xml"/>
  <Default Extension="jpeg" ContentType="image/jpeg"/>
  <Override PartName="/ppt/tags/tag3.xml" ContentType="application/vnd.openxmlformats-officedocument.presentationml.tags+xml"/>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charts/colors5.xml" ContentType="application/vnd.ms-office.chartcolorstyle+xml"/>
  <Override PartName="/ppt/slideLayouts/slideLayout1.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slideLayouts/slideLayout12.xml" ContentType="application/vnd.openxmlformats-officedocument.presentationml.slideLayout+xml"/>
  <Override PartName="/ppt/tags/tag26.xml" ContentType="application/vnd.openxmlformats-officedocument.presentationml.tags+xml"/>
  <Override PartName="/ppt/tags/tag55.xml" ContentType="application/vnd.openxmlformats-officedocument.presentationml.tags+xml"/>
  <Override PartName="/ppt/tags/tag73.xml" ContentType="application/vnd.openxmlformats-officedocument.presentationml.tags+xml"/>
  <Override PartName="/ppt/charts/colors1.xml" ContentType="application/vnd.ms-office.chartcolorstyl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57" r:id="rId2"/>
    <p:sldId id="265" r:id="rId3"/>
    <p:sldId id="272" r:id="rId4"/>
    <p:sldId id="270" r:id="rId5"/>
    <p:sldId id="267" r:id="rId6"/>
    <p:sldId id="268" r:id="rId7"/>
    <p:sldId id="269" r:id="rId8"/>
    <p:sldId id="258" r:id="rId9"/>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FEX 1" initials="A1" lastIdx="3" clrIdx="0">
    <p:extLst>
      <p:ext uri="{19B8F6BF-5375-455C-9EA6-DF929625EA0E}">
        <p15:presenceInfo xmlns:p15="http://schemas.microsoft.com/office/powerpoint/2012/main" xmlns="" userId="AFEX 1"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1B351C"/>
    <a:srgbClr val="162C17"/>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horzBarState="maximized">
    <p:restoredLeft sz="15999" autoAdjust="0"/>
    <p:restoredTop sz="94660"/>
  </p:normalViewPr>
  <p:slideViewPr>
    <p:cSldViewPr snapToGrid="0">
      <p:cViewPr varScale="1">
        <p:scale>
          <a:sx n="91" d="100"/>
          <a:sy n="91" d="100"/>
        </p:scale>
        <p:origin x="-1356" y="-114"/>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microsoft.com/office/2011/relationships/chartColorStyle" Target="colors1.xml"/><Relationship Id="rId2" Type="http://schemas.openxmlformats.org/officeDocument/2006/relationships/package" Target="../embeddings/Microsoft_Office_Excel_Worksheet1.xlsx"/><Relationship Id="rId1" Type="http://schemas.openxmlformats.org/officeDocument/2006/relationships/themeOverride" Target="../theme/themeOverride1.xml"/><Relationship Id="rId4" Type="http://schemas.microsoft.com/office/2011/relationships/chartStyle" Target="style1.xml"/></Relationships>
</file>

<file path=ppt/charts/_rels/chart2.xml.rels><?xml version="1.0" encoding="UTF-8" standalone="yes"?>
<Relationships xmlns="http://schemas.openxmlformats.org/package/2006/relationships"><Relationship Id="rId3" Type="http://schemas.microsoft.com/office/2011/relationships/chartColorStyle" Target="colors2.xml"/><Relationship Id="rId2" Type="http://schemas.openxmlformats.org/officeDocument/2006/relationships/package" Target="../embeddings/Microsoft_Office_Excel_Worksheet2.xlsx"/><Relationship Id="rId1" Type="http://schemas.openxmlformats.org/officeDocument/2006/relationships/themeOverride" Target="../theme/themeOverride2.xml"/><Relationship Id="rId4" Type="http://schemas.microsoft.com/office/2011/relationships/chartStyle" Target="style2.xml"/></Relationships>
</file>

<file path=ppt/charts/_rels/chart3.xml.rels><?xml version="1.0" encoding="UTF-8" standalone="yes"?>
<Relationships xmlns="http://schemas.openxmlformats.org/package/2006/relationships"><Relationship Id="rId3" Type="http://schemas.microsoft.com/office/2011/relationships/chartColorStyle" Target="colors3.xml"/><Relationship Id="rId2" Type="http://schemas.openxmlformats.org/officeDocument/2006/relationships/package" Target="../embeddings/Microsoft_Office_Excel_Worksheet3.xlsx"/><Relationship Id="rId1" Type="http://schemas.openxmlformats.org/officeDocument/2006/relationships/themeOverride" Target="../theme/themeOverride3.xml"/><Relationship Id="rId4" Type="http://schemas.microsoft.com/office/2011/relationships/chartStyle" Target="style3.xml"/></Relationships>
</file>

<file path=ppt/charts/_rels/chart4.xml.rels><?xml version="1.0" encoding="UTF-8" standalone="yes"?>
<Relationships xmlns="http://schemas.openxmlformats.org/package/2006/relationships"><Relationship Id="rId3" Type="http://schemas.microsoft.com/office/2011/relationships/chartColorStyle" Target="colors4.xml"/><Relationship Id="rId2" Type="http://schemas.openxmlformats.org/officeDocument/2006/relationships/package" Target="../embeddings/Microsoft_Office_Excel_Worksheet4.xlsx"/><Relationship Id="rId1" Type="http://schemas.openxmlformats.org/officeDocument/2006/relationships/themeOverride" Target="../theme/themeOverride4.xml"/><Relationship Id="rId4" Type="http://schemas.microsoft.com/office/2011/relationships/chartStyle" Target="style4.xml"/></Relationships>
</file>

<file path=ppt/charts/_rels/chart5.xml.rels><?xml version="1.0" encoding="UTF-8" standalone="yes"?>
<Relationships xmlns="http://schemas.openxmlformats.org/package/2006/relationships"><Relationship Id="rId3" Type="http://schemas.microsoft.com/office/2011/relationships/chartStyle" Target="style5.xml"/><Relationship Id="rId2" Type="http://schemas.microsoft.com/office/2011/relationships/chartColorStyle" Target="colors5.xml"/><Relationship Id="rId1" Type="http://schemas.openxmlformats.org/officeDocument/2006/relationships/package" Target="../embeddings/Microsoft_Office_Excel_Worksheet5.xlsx"/></Relationships>
</file>

<file path=ppt/charts/chart1.xml><?xml version="1.0" encoding="utf-8"?>
<c:chartSpace xmlns:c="http://schemas.openxmlformats.org/drawingml/2006/chart" xmlns:a="http://schemas.openxmlformats.org/drawingml/2006/main" xmlns:r="http://schemas.openxmlformats.org/officeDocument/2006/relationships">
  <c:lang val="en-US"/>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1" i="0" u="none" strike="noStrike" kern="1200" cap="none" spc="120" normalizeH="0" baseline="0">
                <a:solidFill>
                  <a:schemeClr val="tx1">
                    <a:lumMod val="65000"/>
                    <a:lumOff val="35000"/>
                  </a:schemeClr>
                </a:solidFill>
                <a:latin typeface="+mn-lt"/>
                <a:ea typeface="+mn-ea"/>
                <a:cs typeface="+mn-cs"/>
              </a:defRPr>
            </a:pPr>
            <a:r>
              <a:rPr lang="en-GB" sz="1200" cap="none" dirty="0"/>
              <a:t> Total Volume on E-Warehouse Receipt</a:t>
            </a:r>
          </a:p>
        </c:rich>
      </c:tx>
      <c:layout/>
      <c:spPr>
        <a:noFill/>
        <a:ln>
          <a:noFill/>
        </a:ln>
        <a:effectLst/>
      </c:spPr>
    </c:title>
    <c:plotArea>
      <c:layout/>
      <c:barChart>
        <c:barDir val="col"/>
        <c:grouping val="clustered"/>
        <c:ser>
          <c:idx val="3"/>
          <c:order val="0"/>
          <c:tx>
            <c:strRef>
              <c:f>Sheet1!$B$7</c:f>
              <c:strCache>
                <c:ptCount val="1"/>
                <c:pt idx="0">
                  <c:v> Total Volume on E-Warehouse receipt</c:v>
                </c:pt>
              </c:strCache>
            </c:strRef>
          </c:tx>
          <c:spPr>
            <a:solidFill>
              <a:schemeClr val="accent4"/>
            </a:solidFill>
            <a:ln>
              <a:noFill/>
            </a:ln>
            <a:effectLst/>
          </c:spPr>
          <c:dLbls>
            <c:spPr>
              <a:noFill/>
              <a:ln>
                <a:noFill/>
              </a:ln>
              <a:effectLst/>
            </c:spPr>
            <c:txPr>
              <a:bodyPr rot="0" spcFirstLastPara="1" vertOverflow="clip" horzOverflow="clip" vert="horz" wrap="square" lIns="38100" tIns="19050" rIns="38100" bIns="19050" anchor="ctr" anchorCtr="1">
                <a:spAutoFit/>
              </a:bodyPr>
              <a:lstStyle/>
              <a:p>
                <a:pPr>
                  <a:defRPr sz="900" b="1" i="0" u="none" strike="noStrike" kern="1200" baseline="0">
                    <a:solidFill>
                      <a:schemeClr val="tx1">
                        <a:lumMod val="50000"/>
                        <a:lumOff val="50000"/>
                      </a:schemeClr>
                    </a:solidFill>
                    <a:latin typeface="+mn-lt"/>
                    <a:ea typeface="+mn-ea"/>
                    <a:cs typeface="+mn-cs"/>
                  </a:defRPr>
                </a:pPr>
                <a:endParaRPr lang="en-US"/>
              </a:p>
            </c:txPr>
            <c:dLblPos val="outEnd"/>
            <c:showVal val="1"/>
            <c:extLst xmlns:c16r2="http://schemas.microsoft.com/office/drawing/2015/06/char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Sheet1!$C$3:$I$3</c:f>
              <c:strCache>
                <c:ptCount val="7"/>
                <c:pt idx="0">
                  <c:v>January</c:v>
                </c:pt>
                <c:pt idx="1">
                  <c:v>February</c:v>
                </c:pt>
                <c:pt idx="2">
                  <c:v>March</c:v>
                </c:pt>
                <c:pt idx="3">
                  <c:v>April</c:v>
                </c:pt>
                <c:pt idx="4">
                  <c:v>May</c:v>
                </c:pt>
                <c:pt idx="5">
                  <c:v>June</c:v>
                </c:pt>
                <c:pt idx="6">
                  <c:v>July</c:v>
                </c:pt>
              </c:strCache>
            </c:strRef>
          </c:cat>
          <c:val>
            <c:numRef>
              <c:f>Sheet1!$C$7:$I$7</c:f>
              <c:numCache>
                <c:formatCode>_(* #,##0.00_);_(* \(#,##0.00\);_(* "-"??_);_(@_)</c:formatCode>
                <c:ptCount val="7"/>
                <c:pt idx="0">
                  <c:v>3179</c:v>
                </c:pt>
                <c:pt idx="1">
                  <c:v>13970.683999999997</c:v>
                </c:pt>
                <c:pt idx="2">
                  <c:v>12528.974</c:v>
                </c:pt>
                <c:pt idx="3">
                  <c:v>9214.3340000000007</c:v>
                </c:pt>
                <c:pt idx="4">
                  <c:v>5023.7013599999973</c:v>
                </c:pt>
                <c:pt idx="5">
                  <c:v>5023.7013599999973</c:v>
                </c:pt>
                <c:pt idx="6">
                  <c:v>1281.0700222222204</c:v>
                </c:pt>
              </c:numCache>
            </c:numRef>
          </c:val>
          <c:extLst xmlns:c16r2="http://schemas.microsoft.com/office/drawing/2015/06/chart">
            <c:ext xmlns:c16="http://schemas.microsoft.com/office/drawing/2014/chart" uri="{C3380CC4-5D6E-409C-BE32-E72D297353CC}">
              <c16:uniqueId val="{00000001-CE86-4D12-ADB7-EB447FB3E291}"/>
            </c:ext>
          </c:extLst>
        </c:ser>
        <c:dLbls>
          <c:showVal val="1"/>
        </c:dLbls>
        <c:gapWidth val="444"/>
        <c:overlap val="-90"/>
        <c:axId val="102742272"/>
        <c:axId val="102748160"/>
        <c:extLst xmlns:c16r2="http://schemas.microsoft.com/office/drawing/2015/06/chart">
          <c:ext xmlns:c15="http://schemas.microsoft.com/office/drawing/2012/chart" uri="{02D57815-91ED-43cb-92C2-25804820EDAC}">
            <c15:filteredBarSeries>
              <c15:ser>
                <c:idx val="0"/>
                <c:order val="0"/>
                <c:tx>
                  <c:strRef>
                    <c:extLst xmlns:c16r2="http://schemas.microsoft.com/office/drawing/2015/06/chart">
                      <c:ext uri="{02D57815-91ED-43cb-92C2-25804820EDAC}">
                        <c15:formulaRef>
                          <c15:sqref>Sheet1!$B$4</c15:sqref>
                        </c15:formulaRef>
                      </c:ext>
                    </c:extLst>
                    <c:strCache>
                      <c:ptCount val="1"/>
                      <c:pt idx="0">
                        <c:v>Market Capitalization (Naira)</c:v>
                      </c:pt>
                    </c:strCache>
                  </c:strRef>
                </c:tx>
                <c:spPr>
                  <a:solidFill>
                    <a:schemeClr val="accent1"/>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uri="{CE6537A1-D6FC-4f65-9D91-7224C49458BB}">
                      <c15:showLeaderLines val="1"/>
                      <c15:leaderLines>
                        <c:spPr>
                          <a:ln w="9525">
                            <a:solidFill>
                              <a:schemeClr val="tx1">
                                <a:lumMod val="35000"/>
                                <a:lumOff val="65000"/>
                              </a:schemeClr>
                            </a:solidFill>
                          </a:ln>
                          <a:effectLst/>
                        </c:spPr>
                      </c15:leaderLines>
                    </c:ext>
                  </c:extLst>
                </c:dLbls>
                <c:cat>
                  <c:strRef>
                    <c:extLst xmlns:c16r2="http://schemas.microsoft.com/office/drawing/2015/06/chart">
                      <c:ext uri="{02D57815-91ED-43cb-92C2-25804820EDAC}">
                        <c15:formulaRef>
                          <c15:sqref>Sheet1!$C$3:$I$3</c15:sqref>
                        </c15:formulaRef>
                      </c:ext>
                    </c:extLst>
                    <c:strCache>
                      <c:ptCount val="7"/>
                      <c:pt idx="0">
                        <c:v>January</c:v>
                      </c:pt>
                      <c:pt idx="1">
                        <c:v>February</c:v>
                      </c:pt>
                      <c:pt idx="2">
                        <c:v>March</c:v>
                      </c:pt>
                      <c:pt idx="3">
                        <c:v>April</c:v>
                      </c:pt>
                      <c:pt idx="4">
                        <c:v>May</c:v>
                      </c:pt>
                      <c:pt idx="5">
                        <c:v>June</c:v>
                      </c:pt>
                      <c:pt idx="6">
                        <c:v>July</c:v>
                      </c:pt>
                    </c:strCache>
                  </c:strRef>
                </c:cat>
                <c:val>
                  <c:numRef>
                    <c:extLst xmlns:c16r2="http://schemas.microsoft.com/office/drawing/2015/06/chart">
                      <c:ext uri="{02D57815-91ED-43cb-92C2-25804820EDAC}">
                        <c15:formulaRef>
                          <c15:sqref>Sheet1!$C$4:$I$4</c15:sqref>
                        </c15:formulaRef>
                      </c:ext>
                    </c:extLst>
                    <c:numCache>
                      <c:formatCode>_(* #,##0.00_);_(* \(#,##0.00\);_(* "-"??_);_(@_)</c:formatCode>
                      <c:ptCount val="7"/>
                      <c:pt idx="0">
                        <c:v>691949310.54000068</c:v>
                      </c:pt>
                      <c:pt idx="1">
                        <c:v>1992999429.8972402</c:v>
                      </c:pt>
                      <c:pt idx="2">
                        <c:v>426659118.39999998</c:v>
                      </c:pt>
                      <c:pt idx="3">
                        <c:v>47369676.822009996</c:v>
                      </c:pt>
                      <c:pt idx="4">
                        <c:v>396955798.99978</c:v>
                      </c:pt>
                      <c:pt idx="5">
                        <c:v>396955798.99978</c:v>
                      </c:pt>
                      <c:pt idx="6">
                        <c:v>232186214.65680006</c:v>
                      </c:pt>
                    </c:numCache>
                  </c:numRef>
                </c:val>
                <c:extLst xmlns:c16r2="http://schemas.microsoft.com/office/drawing/2015/06/chart">
                  <c:ext xmlns:c16="http://schemas.microsoft.com/office/drawing/2014/chart" uri="{C3380CC4-5D6E-409C-BE32-E72D297353CC}">
                    <c16:uniqueId val="{00000002-CE86-4D12-ADB7-EB447FB3E291}"/>
                  </c:ext>
                </c:extLst>
              </c15:ser>
            </c15:filteredBarSeries>
            <c15:filteredBarSeries>
              <c15:ser>
                <c:idx val="1"/>
                <c:order val="1"/>
                <c:tx>
                  <c:strRef>
                    <c:extLst xmlns:c16r2="http://schemas.microsoft.com/office/drawing/2015/06/chart" xmlns:c15="http://schemas.microsoft.com/office/drawing/2012/chart">
                      <c:ext xmlns:c15="http://schemas.microsoft.com/office/drawing/2012/chart" uri="{02D57815-91ED-43cb-92C2-25804820EDAC}">
                        <c15:formulaRef>
                          <c15:sqref>Sheet1!$B$5</c15:sqref>
                        </c15:formulaRef>
                      </c:ext>
                    </c:extLst>
                    <c:strCache>
                      <c:ptCount val="1"/>
                      <c:pt idx="0">
                        <c:v>Total Quantity Traded</c:v>
                      </c:pt>
                    </c:strCache>
                  </c:strRef>
                </c:tx>
                <c:spPr>
                  <a:solidFill>
                    <a:schemeClr val="accent2"/>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xmlns:c15="http://schemas.microsoft.com/office/drawing/2012/char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extLst xmlns:c16r2="http://schemas.microsoft.com/office/drawing/2015/06/chart" xmlns:c15="http://schemas.microsoft.com/office/drawing/2012/chart">
                      <c:ext xmlns:c15="http://schemas.microsoft.com/office/drawing/2012/chart" uri="{02D57815-91ED-43cb-92C2-25804820EDAC}">
                        <c15:formulaRef>
                          <c15:sqref>Sheet1!$C$3:$I$3</c15:sqref>
                        </c15:formulaRef>
                      </c:ext>
                    </c:extLst>
                    <c:strCache>
                      <c:ptCount val="7"/>
                      <c:pt idx="0">
                        <c:v>January</c:v>
                      </c:pt>
                      <c:pt idx="1">
                        <c:v>February</c:v>
                      </c:pt>
                      <c:pt idx="2">
                        <c:v>March</c:v>
                      </c:pt>
                      <c:pt idx="3">
                        <c:v>April</c:v>
                      </c:pt>
                      <c:pt idx="4">
                        <c:v>May</c:v>
                      </c:pt>
                      <c:pt idx="5">
                        <c:v>June</c:v>
                      </c:pt>
                      <c:pt idx="6">
                        <c:v>July</c:v>
                      </c:pt>
                    </c:strCache>
                  </c:strRef>
                </c:cat>
                <c:val>
                  <c:numRef>
                    <c:extLst xmlns:c16r2="http://schemas.microsoft.com/office/drawing/2015/06/chart" xmlns:c15="http://schemas.microsoft.com/office/drawing/2012/chart">
                      <c:ext xmlns:c15="http://schemas.microsoft.com/office/drawing/2012/chart" uri="{02D57815-91ED-43cb-92C2-25804820EDAC}">
                        <c15:formulaRef>
                          <c15:sqref>Sheet1!$C$5:$I$5</c15:sqref>
                        </c15:formulaRef>
                      </c:ext>
                    </c:extLst>
                    <c:numCache>
                      <c:formatCode>_(* #,##0.00_);_(* \(#,##0.00\);_(* "-"??_);_(@_)</c:formatCode>
                      <c:ptCount val="7"/>
                      <c:pt idx="0">
                        <c:v>4512.6420000000071</c:v>
                      </c:pt>
                      <c:pt idx="1">
                        <c:v>13436.870000000023</c:v>
                      </c:pt>
                      <c:pt idx="2">
                        <c:v>2558.5750000000007</c:v>
                      </c:pt>
                      <c:pt idx="3">
                        <c:v>301.68499999999989</c:v>
                      </c:pt>
                      <c:pt idx="4">
                        <c:v>2784.8209999999999</c:v>
                      </c:pt>
                      <c:pt idx="5">
                        <c:v>2784.8209999999999</c:v>
                      </c:pt>
                      <c:pt idx="6">
                        <c:v>1455.2259999999999</c:v>
                      </c:pt>
                    </c:numCache>
                  </c:numRef>
                </c:val>
                <c:extLst xmlns:c16r2="http://schemas.microsoft.com/office/drawing/2015/06/chart" xmlns:c15="http://schemas.microsoft.com/office/drawing/2012/chart">
                  <c:ext xmlns:c16="http://schemas.microsoft.com/office/drawing/2014/chart" uri="{C3380CC4-5D6E-409C-BE32-E72D297353CC}">
                    <c16:uniqueId val="{00000000-CE86-4D12-ADB7-EB447FB3E291}"/>
                  </c:ext>
                </c:extLst>
              </c15:ser>
            </c15:filteredBarSeries>
            <c15:filteredBarSeries>
              <c15:ser>
                <c:idx val="2"/>
                <c:order val="2"/>
                <c:tx>
                  <c:strRef>
                    <c:extLst xmlns:c16r2="http://schemas.microsoft.com/office/drawing/2015/06/chart" xmlns:c15="http://schemas.microsoft.com/office/drawing/2012/chart">
                      <c:ext xmlns:c15="http://schemas.microsoft.com/office/drawing/2012/chart" uri="{02D57815-91ED-43cb-92C2-25804820EDAC}">
                        <c15:formulaRef>
                          <c15:sqref>Sheet1!$B$6</c15:sqref>
                        </c15:formulaRef>
                      </c:ext>
                    </c:extLst>
                    <c:strCache>
                      <c:ptCount val="1"/>
                      <c:pt idx="0">
                        <c:v>Number of Deals</c:v>
                      </c:pt>
                    </c:strCache>
                  </c:strRef>
                </c:tx>
                <c:spPr>
                  <a:solidFill>
                    <a:schemeClr val="accent3"/>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xmlns:c15="http://schemas.microsoft.com/office/drawing/2012/char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extLst xmlns:c16r2="http://schemas.microsoft.com/office/drawing/2015/06/chart" xmlns:c15="http://schemas.microsoft.com/office/drawing/2012/chart">
                      <c:ext xmlns:c15="http://schemas.microsoft.com/office/drawing/2012/chart" uri="{02D57815-91ED-43cb-92C2-25804820EDAC}">
                        <c15:formulaRef>
                          <c15:sqref>Sheet1!$C$3:$I$3</c15:sqref>
                        </c15:formulaRef>
                      </c:ext>
                    </c:extLst>
                    <c:strCache>
                      <c:ptCount val="7"/>
                      <c:pt idx="0">
                        <c:v>January</c:v>
                      </c:pt>
                      <c:pt idx="1">
                        <c:v>February</c:v>
                      </c:pt>
                      <c:pt idx="2">
                        <c:v>March</c:v>
                      </c:pt>
                      <c:pt idx="3">
                        <c:v>April</c:v>
                      </c:pt>
                      <c:pt idx="4">
                        <c:v>May</c:v>
                      </c:pt>
                      <c:pt idx="5">
                        <c:v>June</c:v>
                      </c:pt>
                      <c:pt idx="6">
                        <c:v>July</c:v>
                      </c:pt>
                    </c:strCache>
                  </c:strRef>
                </c:cat>
                <c:val>
                  <c:numRef>
                    <c:extLst xmlns:c16r2="http://schemas.microsoft.com/office/drawing/2015/06/chart" xmlns:c15="http://schemas.microsoft.com/office/drawing/2012/chart">
                      <c:ext xmlns:c15="http://schemas.microsoft.com/office/drawing/2012/chart" uri="{02D57815-91ED-43cb-92C2-25804820EDAC}">
                        <c15:formulaRef>
                          <c15:sqref>Sheet1!$C$6:$I$6</c15:sqref>
                        </c15:formulaRef>
                      </c:ext>
                    </c:extLst>
                    <c:numCache>
                      <c:formatCode>_(* #,##0.00_);_(* \(#,##0.00\);_(* "-"??_);_(@_)</c:formatCode>
                      <c:ptCount val="7"/>
                      <c:pt idx="0">
                        <c:v>359</c:v>
                      </c:pt>
                      <c:pt idx="1">
                        <c:v>908</c:v>
                      </c:pt>
                      <c:pt idx="2">
                        <c:v>671</c:v>
                      </c:pt>
                      <c:pt idx="3">
                        <c:v>248</c:v>
                      </c:pt>
                      <c:pt idx="4">
                        <c:v>1017</c:v>
                      </c:pt>
                      <c:pt idx="5">
                        <c:v>1017</c:v>
                      </c:pt>
                      <c:pt idx="6">
                        <c:v>370</c:v>
                      </c:pt>
                    </c:numCache>
                  </c:numRef>
                </c:val>
                <c:extLst xmlns:c16r2="http://schemas.microsoft.com/office/drawing/2015/06/chart" xmlns:c15="http://schemas.microsoft.com/office/drawing/2012/chart">
                  <c:ext xmlns:c16="http://schemas.microsoft.com/office/drawing/2014/chart" uri="{C3380CC4-5D6E-409C-BE32-E72D297353CC}">
                    <c16:uniqueId val="{00000003-CE86-4D12-ADB7-EB447FB3E291}"/>
                  </c:ext>
                </c:extLst>
              </c15:ser>
            </c15:filteredBarSeries>
          </c:ext>
        </c:extLst>
      </c:barChart>
      <c:catAx>
        <c:axId val="102742272"/>
        <c:scaling>
          <c:orientation val="minMax"/>
        </c:scaling>
        <c:axPos val="b"/>
        <c:majorGridlines>
          <c:spPr>
            <a:ln w="9525" cap="flat" cmpd="sng" algn="ctr">
              <a:solidFill>
                <a:schemeClr val="tx1">
                  <a:lumMod val="15000"/>
                  <a:lumOff val="85000"/>
                </a:schemeClr>
              </a:solidFill>
              <a:round/>
            </a:ln>
            <a:effectLst/>
          </c:spPr>
        </c:majorGridlines>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cap="all" spc="120" normalizeH="0" baseline="0">
                <a:solidFill>
                  <a:schemeClr val="tx1">
                    <a:lumMod val="65000"/>
                    <a:lumOff val="35000"/>
                  </a:schemeClr>
                </a:solidFill>
                <a:latin typeface="+mn-lt"/>
                <a:ea typeface="+mn-ea"/>
                <a:cs typeface="+mn-cs"/>
              </a:defRPr>
            </a:pPr>
            <a:endParaRPr lang="en-US"/>
          </a:p>
        </c:txPr>
        <c:crossAx val="102748160"/>
        <c:crosses val="autoZero"/>
        <c:auto val="1"/>
        <c:lblAlgn val="ctr"/>
        <c:lblOffset val="100"/>
      </c:catAx>
      <c:valAx>
        <c:axId val="102748160"/>
        <c:scaling>
          <c:orientation val="minMax"/>
        </c:scaling>
        <c:delete val="1"/>
        <c:axPos val="l"/>
        <c:numFmt formatCode="_(* #,##0.00_);_(* \(#,##0.00\);_(* &quot;-&quot;??_);_(@_)" sourceLinked="1"/>
        <c:majorTickMark val="none"/>
        <c:tickLblPos val="nextTo"/>
        <c:crossAx val="102742272"/>
        <c:crosses val="autoZero"/>
        <c:crossBetween val="between"/>
      </c:valAx>
      <c:spPr>
        <a:noFill/>
        <a:ln>
          <a:noFill/>
        </a:ln>
        <a:effectLst/>
      </c:spPr>
    </c:plotArea>
    <c:legend>
      <c:legendPos val="b"/>
      <c:layout>
        <c:manualLayout>
          <c:xMode val="edge"/>
          <c:yMode val="edge"/>
          <c:x val="4.7819509101908277E-2"/>
          <c:y val="0.88218807093554308"/>
          <c:w val="0.83559797293427862"/>
          <c:h val="0.11781192906445702"/>
        </c:manualLayout>
      </c:layout>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legend>
    <c:plotVisOnly val="1"/>
    <c:dispBlanksAs val="gap"/>
  </c:chart>
  <c:spPr>
    <a:noFill/>
    <a:ln>
      <a:solidFill>
        <a:srgbClr val="C00000"/>
      </a:solidFill>
    </a:ln>
    <a:effectLst/>
  </c:spPr>
  <c:txPr>
    <a:bodyPr/>
    <a:lstStyle/>
    <a:p>
      <a:pPr>
        <a:defRPr/>
      </a:pPr>
      <a:endParaRPr lang="en-US"/>
    </a:p>
  </c:txPr>
  <c:externalData r:id="rId2"/>
</c:chartSpace>
</file>

<file path=ppt/charts/chart2.xml><?xml version="1.0" encoding="utf-8"?>
<c:chartSpace xmlns:c="http://schemas.openxmlformats.org/drawingml/2006/chart" xmlns:a="http://schemas.openxmlformats.org/drawingml/2006/main" xmlns:r="http://schemas.openxmlformats.org/officeDocument/2006/relationships">
  <c:lang val="en-US"/>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1" i="0" u="none" strike="noStrike" kern="1200" cap="none" spc="150" baseline="0">
                <a:solidFill>
                  <a:schemeClr val="tx1">
                    <a:lumMod val="50000"/>
                    <a:lumOff val="50000"/>
                  </a:schemeClr>
                </a:solidFill>
                <a:latin typeface="+mn-lt"/>
                <a:ea typeface="+mn-ea"/>
                <a:cs typeface="+mn-cs"/>
              </a:defRPr>
            </a:pPr>
            <a:r>
              <a:rPr lang="en-GB" sz="1200" cap="none" dirty="0"/>
              <a:t>Disaggregation Of Traded Commodities</a:t>
            </a:r>
          </a:p>
        </c:rich>
      </c:tx>
      <c:layout/>
      <c:spPr>
        <a:noFill/>
        <a:ln>
          <a:noFill/>
        </a:ln>
        <a:effectLst/>
      </c:spPr>
    </c:title>
    <c:plotArea>
      <c:layout/>
      <c:doughnutChart>
        <c:varyColors val="1"/>
        <c:ser>
          <c:idx val="5"/>
          <c:order val="0"/>
          <c:tx>
            <c:strRef>
              <c:f>Sheet1!$B$27</c:f>
              <c:strCache>
                <c:ptCount val="1"/>
                <c:pt idx="0">
                  <c:v>percentage</c:v>
                </c:pt>
              </c:strCache>
            </c:strRef>
          </c:tx>
          <c:spPr>
            <a:solidFill>
              <a:schemeClr val="accent4"/>
            </a:solidFill>
          </c:spPr>
          <c:dPt>
            <c:idx val="0"/>
            <c:spPr>
              <a:solidFill>
                <a:schemeClr val="accent4"/>
              </a:solidFill>
              <a:ln>
                <a:noFill/>
              </a:ln>
              <a:effectLst>
                <a:innerShdw blurRad="114300">
                  <a:schemeClr val="accent1"/>
                </a:innerShdw>
              </a:effectLst>
            </c:spPr>
            <c:extLst xmlns:c16r2="http://schemas.microsoft.com/office/drawing/2015/06/chart">
              <c:ext xmlns:c16="http://schemas.microsoft.com/office/drawing/2014/chart" uri="{C3380CC4-5D6E-409C-BE32-E72D297353CC}">
                <c16:uniqueId val="{0000000A-B873-44C3-A6EE-D41463634877}"/>
              </c:ext>
            </c:extLst>
          </c:dPt>
          <c:dPt>
            <c:idx val="1"/>
            <c:spPr>
              <a:solidFill>
                <a:schemeClr val="accent4"/>
              </a:solidFill>
              <a:ln>
                <a:noFill/>
              </a:ln>
              <a:effectLst>
                <a:innerShdw blurRad="114300">
                  <a:schemeClr val="accent2"/>
                </a:innerShdw>
              </a:effectLst>
            </c:spPr>
            <c:extLst xmlns:c16r2="http://schemas.microsoft.com/office/drawing/2015/06/chart">
              <c:ext xmlns:c16="http://schemas.microsoft.com/office/drawing/2014/chart" uri="{C3380CC4-5D6E-409C-BE32-E72D297353CC}">
                <c16:uniqueId val="{00000009-B873-44C3-A6EE-D41463634877}"/>
              </c:ext>
            </c:extLst>
          </c:dPt>
          <c:dPt>
            <c:idx val="2"/>
            <c:spPr>
              <a:solidFill>
                <a:schemeClr val="accent4"/>
              </a:solidFill>
              <a:ln>
                <a:noFill/>
              </a:ln>
              <a:effectLst>
                <a:innerShdw blurRad="114300">
                  <a:schemeClr val="accent3"/>
                </a:innerShdw>
              </a:effectLst>
            </c:spPr>
            <c:extLst xmlns:c16r2="http://schemas.microsoft.com/office/drawing/2015/06/chart">
              <c:ext xmlns:c16="http://schemas.microsoft.com/office/drawing/2014/chart" uri="{C3380CC4-5D6E-409C-BE32-E72D297353CC}">
                <c16:uniqueId val="{00000008-B873-44C3-A6EE-D41463634877}"/>
              </c:ext>
            </c:extLst>
          </c:dPt>
          <c:dPt>
            <c:idx val="3"/>
            <c:spPr>
              <a:solidFill>
                <a:schemeClr val="accent4"/>
              </a:solidFill>
              <a:ln>
                <a:noFill/>
              </a:ln>
              <a:effectLst>
                <a:innerShdw blurRad="114300">
                  <a:schemeClr val="accent4"/>
                </a:innerShdw>
              </a:effectLst>
            </c:spPr>
            <c:extLst xmlns:c16r2="http://schemas.microsoft.com/office/drawing/2015/06/chart">
              <c:ext xmlns:c16="http://schemas.microsoft.com/office/drawing/2014/chart" uri="{C3380CC4-5D6E-409C-BE32-E72D297353CC}">
                <c16:uniqueId val="{00000006-B873-44C3-A6EE-D41463634877}"/>
              </c:ext>
            </c:extLst>
          </c:dPt>
          <c:dPt>
            <c:idx val="4"/>
            <c:spPr>
              <a:solidFill>
                <a:schemeClr val="accent4"/>
              </a:solidFill>
              <a:ln>
                <a:noFill/>
              </a:ln>
              <a:effectLst>
                <a:innerShdw blurRad="114300">
                  <a:schemeClr val="accent5"/>
                </a:innerShdw>
              </a:effectLst>
            </c:spPr>
            <c:extLst xmlns:c16r2="http://schemas.microsoft.com/office/drawing/2015/06/chart">
              <c:ext xmlns:c16="http://schemas.microsoft.com/office/drawing/2014/chart" uri="{C3380CC4-5D6E-409C-BE32-E72D297353CC}">
                <c16:uniqueId val="{00000007-B873-44C3-A6EE-D41463634877}"/>
              </c:ext>
            </c:extLst>
          </c:dPt>
          <c:dLbls>
            <c:dLbl>
              <c:idx val="0"/>
              <c:layout>
                <c:manualLayout>
                  <c:x val="-0.4381845555470395"/>
                  <c:y val="0.14904513430457741"/>
                </c:manualLayout>
              </c:layout>
              <c:showCatName val="1"/>
              <c:showPercent val="1"/>
              <c:extLst xmlns:c16r2="http://schemas.microsoft.com/office/drawing/2015/06/chart">
                <c:ext xmlns:c16="http://schemas.microsoft.com/office/drawing/2014/chart" uri="{C3380CC4-5D6E-409C-BE32-E72D297353CC}">
                  <c16:uniqueId val="{0000000A-B873-44C3-A6EE-D41463634877}"/>
                </c:ext>
                <c:ext xmlns:c15="http://schemas.microsoft.com/office/drawing/2012/chart" uri="{CE6537A1-D6FC-4f65-9D91-7224C49458BB}">
                  <c15:layout/>
                </c:ext>
              </c:extLst>
            </c:dLbl>
            <c:dLbl>
              <c:idx val="1"/>
              <c:layout>
                <c:manualLayout>
                  <c:x val="0.29733951983549106"/>
                  <c:y val="5.2604165048674385E-2"/>
                </c:manualLayout>
              </c:layout>
              <c:showCatName val="1"/>
              <c:showPercent val="1"/>
              <c:extLst xmlns:c16r2="http://schemas.microsoft.com/office/drawing/2015/06/chart">
                <c:ext xmlns:c16="http://schemas.microsoft.com/office/drawing/2014/chart" uri="{C3380CC4-5D6E-409C-BE32-E72D297353CC}">
                  <c16:uniqueId val="{00000009-B873-44C3-A6EE-D41463634877}"/>
                </c:ext>
                <c:ext xmlns:c15="http://schemas.microsoft.com/office/drawing/2012/chart" uri="{CE6537A1-D6FC-4f65-9D91-7224C49458BB}">
                  <c15:layout/>
                </c:ext>
              </c:extLst>
            </c:dLbl>
            <c:dLbl>
              <c:idx val="2"/>
              <c:layout>
                <c:manualLayout>
                  <c:x val="0.20344282936112545"/>
                  <c:y val="-0.10082464967662594"/>
                </c:manualLayout>
              </c:layout>
              <c:showCatName val="1"/>
              <c:showPercent val="1"/>
              <c:extLst xmlns:c16r2="http://schemas.microsoft.com/office/drawing/2015/06/chart">
                <c:ext xmlns:c16="http://schemas.microsoft.com/office/drawing/2014/chart" uri="{C3380CC4-5D6E-409C-BE32-E72D297353CC}">
                  <c16:uniqueId val="{00000008-B873-44C3-A6EE-D41463634877}"/>
                </c:ext>
                <c:ext xmlns:c15="http://schemas.microsoft.com/office/drawing/2012/chart" uri="{CE6537A1-D6FC-4f65-9D91-7224C49458BB}">
                  <c15:layout/>
                </c:ext>
              </c:extLst>
            </c:dLbl>
            <c:dLbl>
              <c:idx val="3"/>
              <c:layout>
                <c:manualLayout>
                  <c:x val="0.30672918888292766"/>
                  <c:y val="7.8906247573011581E-2"/>
                </c:manualLayout>
              </c:layout>
              <c:showCatName val="1"/>
              <c:showPercent val="1"/>
              <c:extLst xmlns:c16r2="http://schemas.microsoft.com/office/drawing/2015/06/chart">
                <c:ext xmlns:c16="http://schemas.microsoft.com/office/drawing/2014/chart" uri="{C3380CC4-5D6E-409C-BE32-E72D297353CC}">
                  <c16:uniqueId val="{00000006-B873-44C3-A6EE-D41463634877}"/>
                </c:ext>
                <c:ext xmlns:c15="http://schemas.microsoft.com/office/drawing/2012/chart" uri="{CE6537A1-D6FC-4f65-9D91-7224C49458BB}">
                  <c15:layout/>
                </c:ext>
              </c:extLst>
            </c:dLbl>
            <c:dLbl>
              <c:idx val="4"/>
              <c:layout>
                <c:manualLayout>
                  <c:x val="-0.3286384166602796"/>
                  <c:y val="-6.5755206310843015E-2"/>
                </c:manualLayout>
              </c:layout>
              <c:showCatName val="1"/>
              <c:showPercent val="1"/>
              <c:extLst xmlns:c16r2="http://schemas.microsoft.com/office/drawing/2015/06/chart">
                <c:ext xmlns:c16="http://schemas.microsoft.com/office/drawing/2014/chart" uri="{C3380CC4-5D6E-409C-BE32-E72D297353CC}">
                  <c16:uniqueId val="{00000007-B873-44C3-A6EE-D41463634877}"/>
                </c:ext>
                <c:ext xmlns:c15="http://schemas.microsoft.com/office/drawing/2012/chart" uri="{CE6537A1-D6FC-4f65-9D91-7224C49458BB}">
                  <c15:layout/>
                </c:ext>
              </c:extLst>
            </c:dLbl>
            <c:numFmt formatCode="0.00%" sourceLinked="0"/>
            <c:spPr>
              <a:solidFill>
                <a:prstClr val="white"/>
              </a:solidFill>
              <a:ln>
                <a:solidFill>
                  <a:prstClr val="black">
                    <a:lumMod val="25000"/>
                    <a:lumOff val="75000"/>
                  </a:prstClr>
                </a:solidFill>
              </a:ln>
              <a:effectLst/>
            </c:spPr>
            <c:txPr>
              <a:bodyPr rot="0" spcFirstLastPara="1" vertOverflow="clip" horzOverflow="clip" vert="horz" wrap="square" lIns="38100" tIns="19050" rIns="38100" bIns="19050" anchor="ctr" anchorCtr="1">
                <a:spAutoFit/>
              </a:bodyPr>
              <a:lstStyle/>
              <a:p>
                <a:pPr>
                  <a:defRPr sz="1000" b="1" i="0" u="none" strike="noStrike" kern="1200" baseline="0">
                    <a:solidFill>
                      <a:schemeClr val="dk1">
                        <a:lumMod val="65000"/>
                        <a:lumOff val="35000"/>
                      </a:schemeClr>
                    </a:solidFill>
                    <a:latin typeface="+mn-lt"/>
                    <a:ea typeface="+mn-ea"/>
                    <a:cs typeface="+mn-cs"/>
                  </a:defRPr>
                </a:pPr>
                <a:endParaRPr lang="en-US"/>
              </a:p>
            </c:txPr>
            <c:showCatName val="1"/>
            <c:showPercent val="1"/>
            <c:extLst xmlns:c16r2="http://schemas.microsoft.com/office/drawing/2015/06/chart">
              <c:ext xmlns:c15="http://schemas.microsoft.com/office/drawing/2012/chart" uri="{CE6537A1-D6FC-4f65-9D91-7224C49458BB}">
                <c15:spPr xmlns:c15="http://schemas.microsoft.com/office/drawing/2012/chart">
                  <a:prstGeom prst="wedgeRectCallout">
                    <a:avLst/>
                  </a:prstGeom>
                  <a:noFill/>
                  <a:ln>
                    <a:noFill/>
                  </a:ln>
                </c15:spPr>
              </c:ext>
            </c:extLst>
          </c:dLbls>
          <c:cat>
            <c:strRef>
              <c:f>Sheet1!$C$21:$G$21</c:f>
              <c:strCache>
                <c:ptCount val="5"/>
                <c:pt idx="0">
                  <c:v>Ginger</c:v>
                </c:pt>
                <c:pt idx="1">
                  <c:v>Paddy Rice</c:v>
                </c:pt>
                <c:pt idx="2">
                  <c:v>Soybeans</c:v>
                </c:pt>
                <c:pt idx="3">
                  <c:v>White Maize</c:v>
                </c:pt>
                <c:pt idx="4">
                  <c:v>Yellow Maize</c:v>
                </c:pt>
              </c:strCache>
            </c:strRef>
          </c:cat>
          <c:val>
            <c:numRef>
              <c:f>Sheet1!$C$27:$G$27</c:f>
              <c:numCache>
                <c:formatCode>0.00%</c:formatCode>
                <c:ptCount val="5"/>
                <c:pt idx="0" formatCode="0%">
                  <c:v>5.8369100777744314E-2</c:v>
                </c:pt>
                <c:pt idx="1">
                  <c:v>1.049860139947354E-3</c:v>
                </c:pt>
                <c:pt idx="2">
                  <c:v>1.093970307462631E-3</c:v>
                </c:pt>
                <c:pt idx="3" formatCode="0%">
                  <c:v>0.91518524674271307</c:v>
                </c:pt>
                <c:pt idx="4" formatCode="0%">
                  <c:v>2.4301822032132669E-2</c:v>
                </c:pt>
              </c:numCache>
            </c:numRef>
          </c:val>
          <c:extLst xmlns:c16r2="http://schemas.microsoft.com/office/drawing/2015/06/chart">
            <c:ext xmlns:c16="http://schemas.microsoft.com/office/drawing/2014/chart" uri="{C3380CC4-5D6E-409C-BE32-E72D297353CC}">
              <c16:uniqueId val="{00000000-B873-44C3-A6EE-D41463634877}"/>
            </c:ext>
          </c:extLst>
        </c:ser>
        <c:dLbls/>
        <c:firstSliceAng val="0"/>
        <c:holeSize val="50"/>
        <c:extLst xmlns:c16r2="http://schemas.microsoft.com/office/drawing/2015/06/chart">
          <c:ext xmlns:c15="http://schemas.microsoft.com/office/drawing/2012/chart" uri="{02D57815-91ED-43cb-92C2-25804820EDAC}">
            <c15:filteredPieSeries>
              <c15:ser>
                <c:idx val="0"/>
                <c:order val="0"/>
                <c:tx>
                  <c:strRef>
                    <c:extLst xmlns:c16r2="http://schemas.microsoft.com/office/drawing/2015/06/chart">
                      <c:ext uri="{02D57815-91ED-43cb-92C2-25804820EDAC}">
                        <c15:formulaRef>
                          <c15:sqref>Sheet1!$B$22</c15:sqref>
                        </c15:formulaRef>
                      </c:ext>
                    </c:extLst>
                    <c:strCache>
                      <c:ptCount val="1"/>
                      <c:pt idx="0">
                        <c:v>Market Capitalization (Naira)</c:v>
                      </c:pt>
                    </c:strCache>
                  </c:strRef>
                </c:tx>
                <c:dPt>
                  <c:idx val="0"/>
                  <c:bubble3D val="0"/>
                  <c:spPr>
                    <a:pattFill prst="narVert">
                      <a:fgClr>
                        <a:schemeClr val="accent1"/>
                      </a:fgClr>
                      <a:bgClr>
                        <a:schemeClr val="accent1">
                          <a:lumMod val="20000"/>
                          <a:lumOff val="80000"/>
                        </a:schemeClr>
                      </a:bgClr>
                    </a:pattFill>
                    <a:ln>
                      <a:noFill/>
                    </a:ln>
                    <a:effectLst>
                      <a:innerShdw blurRad="114300">
                        <a:schemeClr val="accent1"/>
                      </a:innerShdw>
                    </a:effectLst>
                  </c:spPr>
                  <c:extLst xmlns:c16r2="http://schemas.microsoft.com/office/drawing/2015/06/chart">
                    <c:ext xmlns:c16="http://schemas.microsoft.com/office/drawing/2014/chart" uri="{C3380CC4-5D6E-409C-BE32-E72D297353CC}">
                      <c16:uniqueId val="{0000000B-9E9B-4D9B-A301-44B58635A921}"/>
                    </c:ext>
                  </c:extLst>
                </c:dPt>
                <c:dPt>
                  <c:idx val="1"/>
                  <c:bubble3D val="0"/>
                  <c:spPr>
                    <a:pattFill prst="narVert">
                      <a:fgClr>
                        <a:schemeClr val="accent2"/>
                      </a:fgClr>
                      <a:bgClr>
                        <a:schemeClr val="accent2">
                          <a:lumMod val="20000"/>
                          <a:lumOff val="80000"/>
                        </a:schemeClr>
                      </a:bgClr>
                    </a:pattFill>
                    <a:ln>
                      <a:noFill/>
                    </a:ln>
                    <a:effectLst>
                      <a:innerShdw blurRad="114300">
                        <a:schemeClr val="accent2"/>
                      </a:innerShdw>
                    </a:effectLst>
                  </c:spPr>
                  <c:extLst xmlns:c16r2="http://schemas.microsoft.com/office/drawing/2015/06/chart">
                    <c:ext xmlns:c16="http://schemas.microsoft.com/office/drawing/2014/chart" uri="{C3380CC4-5D6E-409C-BE32-E72D297353CC}">
                      <c16:uniqueId val="{0000000D-9E9B-4D9B-A301-44B58635A921}"/>
                    </c:ext>
                  </c:extLst>
                </c:dPt>
                <c:dPt>
                  <c:idx val="2"/>
                  <c:bubble3D val="0"/>
                  <c:spPr>
                    <a:pattFill prst="narVert">
                      <a:fgClr>
                        <a:schemeClr val="accent3"/>
                      </a:fgClr>
                      <a:bgClr>
                        <a:schemeClr val="accent3">
                          <a:lumMod val="20000"/>
                          <a:lumOff val="80000"/>
                        </a:schemeClr>
                      </a:bgClr>
                    </a:pattFill>
                    <a:ln>
                      <a:noFill/>
                    </a:ln>
                    <a:effectLst>
                      <a:innerShdw blurRad="114300">
                        <a:schemeClr val="accent3"/>
                      </a:innerShdw>
                    </a:effectLst>
                  </c:spPr>
                  <c:extLst xmlns:c16r2="http://schemas.microsoft.com/office/drawing/2015/06/chart">
                    <c:ext xmlns:c16="http://schemas.microsoft.com/office/drawing/2014/chart" uri="{C3380CC4-5D6E-409C-BE32-E72D297353CC}">
                      <c16:uniqueId val="{0000000F-9E9B-4D9B-A301-44B58635A921}"/>
                    </c:ext>
                  </c:extLst>
                </c:dPt>
                <c:dPt>
                  <c:idx val="3"/>
                  <c:bubble3D val="0"/>
                  <c:spPr>
                    <a:pattFill prst="narVert">
                      <a:fgClr>
                        <a:schemeClr val="accent4"/>
                      </a:fgClr>
                      <a:bgClr>
                        <a:schemeClr val="accent4">
                          <a:lumMod val="20000"/>
                          <a:lumOff val="80000"/>
                        </a:schemeClr>
                      </a:bgClr>
                    </a:pattFill>
                    <a:ln>
                      <a:noFill/>
                    </a:ln>
                    <a:effectLst>
                      <a:innerShdw blurRad="114300">
                        <a:schemeClr val="accent4"/>
                      </a:innerShdw>
                    </a:effectLst>
                  </c:spPr>
                  <c:extLst xmlns:c16r2="http://schemas.microsoft.com/office/drawing/2015/06/chart">
                    <c:ext xmlns:c16="http://schemas.microsoft.com/office/drawing/2014/chart" uri="{C3380CC4-5D6E-409C-BE32-E72D297353CC}">
                      <c16:uniqueId val="{00000011-9E9B-4D9B-A301-44B58635A921}"/>
                    </c:ext>
                  </c:extLst>
                </c:dPt>
                <c:dPt>
                  <c:idx val="4"/>
                  <c:bubble3D val="0"/>
                  <c:spPr>
                    <a:pattFill prst="narVert">
                      <a:fgClr>
                        <a:schemeClr val="accent5"/>
                      </a:fgClr>
                      <a:bgClr>
                        <a:schemeClr val="accent5">
                          <a:lumMod val="20000"/>
                          <a:lumOff val="80000"/>
                        </a:schemeClr>
                      </a:bgClr>
                    </a:pattFill>
                    <a:ln>
                      <a:noFill/>
                    </a:ln>
                    <a:effectLst>
                      <a:innerShdw blurRad="114300">
                        <a:schemeClr val="accent5"/>
                      </a:innerShdw>
                    </a:effectLst>
                  </c:spPr>
                  <c:extLst xmlns:c16r2="http://schemas.microsoft.com/office/drawing/2015/06/chart">
                    <c:ext xmlns:c16="http://schemas.microsoft.com/office/drawing/2014/chart" uri="{C3380CC4-5D6E-409C-BE32-E72D297353CC}">
                      <c16:uniqueId val="{00000013-9E9B-4D9B-A301-44B58635A921}"/>
                    </c:ext>
                  </c:extLst>
                </c:dPt>
                <c:dLbls>
                  <c:spPr>
                    <a:solidFill>
                      <a:prstClr val="white"/>
                    </a:solidFill>
                    <a:ln>
                      <a:solidFill>
                        <a:prstClr val="black">
                          <a:lumMod val="25000"/>
                          <a:lumOff val="75000"/>
                        </a:prst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0"/>
                  <c:showCatName val="1"/>
                  <c:showSerName val="0"/>
                  <c:showPercent val="1"/>
                  <c:showBubbleSize val="0"/>
                  <c:showLeaderLines val="0"/>
                  <c:extLst xmlns:c16r2="http://schemas.microsoft.com/office/drawing/2015/06/chart">
                    <c:ext uri="{CE6537A1-D6FC-4f65-9D91-7224C49458BB}">
                      <c15:spPr xmlns:c15="http://schemas.microsoft.com/office/drawing/2012/chart">
                        <a:prstGeom prst="wedgeRectCallout">
                          <a:avLst/>
                        </a:prstGeom>
                        <a:noFill/>
                        <a:ln>
                          <a:noFill/>
                        </a:ln>
                      </c15:spPr>
                    </c:ext>
                  </c:extLst>
                </c:dLbls>
                <c:cat>
                  <c:strRef>
                    <c:extLst xmlns:c16r2="http://schemas.microsoft.com/office/drawing/2015/06/chart">
                      <c:ext uri="{02D57815-91ED-43cb-92C2-25804820EDAC}">
                        <c15:formulaRef>
                          <c15:sqref>Sheet1!$C$21:$G$21</c15:sqref>
                        </c15:formulaRef>
                      </c:ext>
                    </c:extLst>
                    <c:strCache>
                      <c:ptCount val="5"/>
                      <c:pt idx="0">
                        <c:v>Ginger</c:v>
                      </c:pt>
                      <c:pt idx="1">
                        <c:v>Paddy Rice</c:v>
                      </c:pt>
                      <c:pt idx="2">
                        <c:v>Soybeans</c:v>
                      </c:pt>
                      <c:pt idx="3">
                        <c:v>White Maize</c:v>
                      </c:pt>
                      <c:pt idx="4">
                        <c:v>Yellow Maize</c:v>
                      </c:pt>
                    </c:strCache>
                  </c:strRef>
                </c:cat>
                <c:val>
                  <c:numRef>
                    <c:extLst xmlns:c16r2="http://schemas.microsoft.com/office/drawing/2015/06/chart">
                      <c:ext uri="{02D57815-91ED-43cb-92C2-25804820EDAC}">
                        <c15:formulaRef>
                          <c15:sqref>Sheet1!$C$22:$G$22</c15:sqref>
                        </c15:formulaRef>
                      </c:ext>
                    </c:extLst>
                    <c:numCache>
                      <c:formatCode>_-* #,##0.00_-;\-* #,##0.00_-;_-* "-"??_-;_-@_-</c:formatCode>
                      <c:ptCount val="5"/>
                      <c:pt idx="0">
                        <c:v>40388459.039999999</c:v>
                      </c:pt>
                      <c:pt idx="1">
                        <c:v>726450</c:v>
                      </c:pt>
                      <c:pt idx="2">
                        <c:v>756972</c:v>
                      </c:pt>
                      <c:pt idx="3">
                        <c:v>633261800.50000072</c:v>
                      </c:pt>
                      <c:pt idx="4">
                        <c:v>16815629</c:v>
                      </c:pt>
                    </c:numCache>
                  </c:numRef>
                </c:val>
                <c:extLst xmlns:c16r2="http://schemas.microsoft.com/office/drawing/2015/06/chart">
                  <c:ext xmlns:c16="http://schemas.microsoft.com/office/drawing/2014/chart" uri="{C3380CC4-5D6E-409C-BE32-E72D297353CC}">
                    <c16:uniqueId val="{00000001-B873-44C3-A6EE-D41463634877}"/>
                  </c:ext>
                </c:extLst>
              </c15:ser>
            </c15:filteredPieSeries>
            <c15:filteredPieSeries>
              <c15:ser>
                <c:idx val="1"/>
                <c:order val="1"/>
                <c:tx>
                  <c:strRef>
                    <c:extLst xmlns:c16r2="http://schemas.microsoft.com/office/drawing/2015/06/chart" xmlns:c15="http://schemas.microsoft.com/office/drawing/2012/chart">
                      <c:ext xmlns:c15="http://schemas.microsoft.com/office/drawing/2012/chart" uri="{02D57815-91ED-43cb-92C2-25804820EDAC}">
                        <c15:formulaRef>
                          <c15:sqref>Sheet1!$B$23</c15:sqref>
                        </c15:formulaRef>
                      </c:ext>
                    </c:extLst>
                    <c:strCache>
                      <c:ptCount val="1"/>
                      <c:pt idx="0">
                        <c:v>Max Price (Naira)</c:v>
                      </c:pt>
                    </c:strCache>
                  </c:strRef>
                </c:tx>
                <c:dPt>
                  <c:idx val="0"/>
                  <c:bubble3D val="0"/>
                  <c:spPr>
                    <a:pattFill prst="narVert">
                      <a:fgClr>
                        <a:schemeClr val="accent1"/>
                      </a:fgClr>
                      <a:bgClr>
                        <a:schemeClr val="accent1">
                          <a:lumMod val="20000"/>
                          <a:lumOff val="80000"/>
                        </a:schemeClr>
                      </a:bgClr>
                    </a:pattFill>
                    <a:ln>
                      <a:noFill/>
                    </a:ln>
                    <a:effectLst>
                      <a:innerShdw blurRad="114300">
                        <a:schemeClr val="accent1"/>
                      </a:innerShdw>
                    </a:effectLst>
                  </c:spPr>
                  <c:extLst xmlns:c16r2="http://schemas.microsoft.com/office/drawing/2015/06/chart" xmlns:c15="http://schemas.microsoft.com/office/drawing/2012/chart">
                    <c:ext xmlns:c16="http://schemas.microsoft.com/office/drawing/2014/chart" uri="{C3380CC4-5D6E-409C-BE32-E72D297353CC}">
                      <c16:uniqueId val="{00000015-9E9B-4D9B-A301-44B58635A921}"/>
                    </c:ext>
                  </c:extLst>
                </c:dPt>
                <c:dPt>
                  <c:idx val="1"/>
                  <c:bubble3D val="0"/>
                  <c:spPr>
                    <a:pattFill prst="narVert">
                      <a:fgClr>
                        <a:schemeClr val="accent2"/>
                      </a:fgClr>
                      <a:bgClr>
                        <a:schemeClr val="accent2">
                          <a:lumMod val="20000"/>
                          <a:lumOff val="80000"/>
                        </a:schemeClr>
                      </a:bgClr>
                    </a:pattFill>
                    <a:ln>
                      <a:noFill/>
                    </a:ln>
                    <a:effectLst>
                      <a:innerShdw blurRad="114300">
                        <a:schemeClr val="accent2"/>
                      </a:innerShdw>
                    </a:effectLst>
                  </c:spPr>
                  <c:extLst xmlns:c16r2="http://schemas.microsoft.com/office/drawing/2015/06/chart" xmlns:c15="http://schemas.microsoft.com/office/drawing/2012/chart">
                    <c:ext xmlns:c16="http://schemas.microsoft.com/office/drawing/2014/chart" uri="{C3380CC4-5D6E-409C-BE32-E72D297353CC}">
                      <c16:uniqueId val="{00000017-9E9B-4D9B-A301-44B58635A921}"/>
                    </c:ext>
                  </c:extLst>
                </c:dPt>
                <c:dPt>
                  <c:idx val="2"/>
                  <c:bubble3D val="0"/>
                  <c:spPr>
                    <a:pattFill prst="narVert">
                      <a:fgClr>
                        <a:schemeClr val="accent3"/>
                      </a:fgClr>
                      <a:bgClr>
                        <a:schemeClr val="accent3">
                          <a:lumMod val="20000"/>
                          <a:lumOff val="80000"/>
                        </a:schemeClr>
                      </a:bgClr>
                    </a:pattFill>
                    <a:ln>
                      <a:noFill/>
                    </a:ln>
                    <a:effectLst>
                      <a:innerShdw blurRad="114300">
                        <a:schemeClr val="accent3"/>
                      </a:innerShdw>
                    </a:effectLst>
                  </c:spPr>
                  <c:extLst xmlns:c16r2="http://schemas.microsoft.com/office/drawing/2015/06/chart" xmlns:c15="http://schemas.microsoft.com/office/drawing/2012/chart">
                    <c:ext xmlns:c16="http://schemas.microsoft.com/office/drawing/2014/chart" uri="{C3380CC4-5D6E-409C-BE32-E72D297353CC}">
                      <c16:uniqueId val="{00000019-9E9B-4D9B-A301-44B58635A921}"/>
                    </c:ext>
                  </c:extLst>
                </c:dPt>
                <c:dPt>
                  <c:idx val="3"/>
                  <c:bubble3D val="0"/>
                  <c:spPr>
                    <a:pattFill prst="narVert">
                      <a:fgClr>
                        <a:schemeClr val="accent4"/>
                      </a:fgClr>
                      <a:bgClr>
                        <a:schemeClr val="accent4">
                          <a:lumMod val="20000"/>
                          <a:lumOff val="80000"/>
                        </a:schemeClr>
                      </a:bgClr>
                    </a:pattFill>
                    <a:ln>
                      <a:noFill/>
                    </a:ln>
                    <a:effectLst>
                      <a:innerShdw blurRad="114300">
                        <a:schemeClr val="accent4"/>
                      </a:innerShdw>
                    </a:effectLst>
                  </c:spPr>
                  <c:extLst xmlns:c16r2="http://schemas.microsoft.com/office/drawing/2015/06/chart" xmlns:c15="http://schemas.microsoft.com/office/drawing/2012/chart">
                    <c:ext xmlns:c16="http://schemas.microsoft.com/office/drawing/2014/chart" uri="{C3380CC4-5D6E-409C-BE32-E72D297353CC}">
                      <c16:uniqueId val="{0000001B-9E9B-4D9B-A301-44B58635A921}"/>
                    </c:ext>
                  </c:extLst>
                </c:dPt>
                <c:dPt>
                  <c:idx val="4"/>
                  <c:bubble3D val="0"/>
                  <c:spPr>
                    <a:pattFill prst="narVert">
                      <a:fgClr>
                        <a:schemeClr val="accent5"/>
                      </a:fgClr>
                      <a:bgClr>
                        <a:schemeClr val="accent5">
                          <a:lumMod val="20000"/>
                          <a:lumOff val="80000"/>
                        </a:schemeClr>
                      </a:bgClr>
                    </a:pattFill>
                    <a:ln>
                      <a:noFill/>
                    </a:ln>
                    <a:effectLst>
                      <a:innerShdw blurRad="114300">
                        <a:schemeClr val="accent5"/>
                      </a:innerShdw>
                    </a:effectLst>
                  </c:spPr>
                  <c:extLst xmlns:c16r2="http://schemas.microsoft.com/office/drawing/2015/06/chart" xmlns:c15="http://schemas.microsoft.com/office/drawing/2012/chart">
                    <c:ext xmlns:c16="http://schemas.microsoft.com/office/drawing/2014/chart" uri="{C3380CC4-5D6E-409C-BE32-E72D297353CC}">
                      <c16:uniqueId val="{0000001D-9E9B-4D9B-A301-44B58635A921}"/>
                    </c:ext>
                  </c:extLst>
                </c:dPt>
                <c:dLbls>
                  <c:spPr>
                    <a:solidFill>
                      <a:prstClr val="white"/>
                    </a:solidFill>
                    <a:ln>
                      <a:solidFill>
                        <a:prstClr val="black">
                          <a:lumMod val="25000"/>
                          <a:lumOff val="75000"/>
                        </a:prst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0"/>
                  <c:showCatName val="1"/>
                  <c:showSerName val="0"/>
                  <c:showPercent val="1"/>
                  <c:showBubbleSize val="0"/>
                  <c:showLeaderLines val="0"/>
                  <c:extLst xmlns:c16r2="http://schemas.microsoft.com/office/drawing/2015/06/chart" xmlns:c15="http://schemas.microsoft.com/office/drawing/2012/chart">
                    <c:ext xmlns:c15="http://schemas.microsoft.com/office/drawing/2012/chart" uri="{CE6537A1-D6FC-4f65-9D91-7224C49458BB}">
                      <c15:spPr xmlns:c15="http://schemas.microsoft.com/office/drawing/2012/chart">
                        <a:prstGeom prst="wedgeRectCallout">
                          <a:avLst/>
                        </a:prstGeom>
                        <a:noFill/>
                        <a:ln>
                          <a:noFill/>
                        </a:ln>
                      </c15:spPr>
                    </c:ext>
                  </c:extLst>
                </c:dLbls>
                <c:cat>
                  <c:strRef>
                    <c:extLst xmlns:c16r2="http://schemas.microsoft.com/office/drawing/2015/06/chart" xmlns:c15="http://schemas.microsoft.com/office/drawing/2012/chart">
                      <c:ext xmlns:c15="http://schemas.microsoft.com/office/drawing/2012/chart" uri="{02D57815-91ED-43cb-92C2-25804820EDAC}">
                        <c15:formulaRef>
                          <c15:sqref>Sheet1!$C$21:$G$21</c15:sqref>
                        </c15:formulaRef>
                      </c:ext>
                    </c:extLst>
                    <c:strCache>
                      <c:ptCount val="5"/>
                      <c:pt idx="0">
                        <c:v>Ginger</c:v>
                      </c:pt>
                      <c:pt idx="1">
                        <c:v>Paddy Rice</c:v>
                      </c:pt>
                      <c:pt idx="2">
                        <c:v>Soybeans</c:v>
                      </c:pt>
                      <c:pt idx="3">
                        <c:v>White Maize</c:v>
                      </c:pt>
                      <c:pt idx="4">
                        <c:v>Yellow Maize</c:v>
                      </c:pt>
                    </c:strCache>
                  </c:strRef>
                </c:cat>
                <c:val>
                  <c:numRef>
                    <c:extLst xmlns:c16r2="http://schemas.microsoft.com/office/drawing/2015/06/chart" xmlns:c15="http://schemas.microsoft.com/office/drawing/2012/chart">
                      <c:ext xmlns:c15="http://schemas.microsoft.com/office/drawing/2012/chart" uri="{02D57815-91ED-43cb-92C2-25804820EDAC}">
                        <c15:formulaRef>
                          <c15:sqref>Sheet1!$C$23:$G$23</c15:sqref>
                        </c15:formulaRef>
                      </c:ext>
                    </c:extLst>
                    <c:numCache>
                      <c:formatCode>_-* #,##0.00_-;\-* #,##0.00_-;_-* "-"??_-;_-@_-</c:formatCode>
                      <c:ptCount val="5"/>
                      <c:pt idx="0">
                        <c:v>620000</c:v>
                      </c:pt>
                      <c:pt idx="1">
                        <c:v>145000</c:v>
                      </c:pt>
                      <c:pt idx="2">
                        <c:v>135000</c:v>
                      </c:pt>
                      <c:pt idx="3">
                        <c:v>194728.68217054263</c:v>
                      </c:pt>
                      <c:pt idx="4">
                        <c:v>142000</c:v>
                      </c:pt>
                    </c:numCache>
                  </c:numRef>
                </c:val>
                <c:extLst xmlns:c16r2="http://schemas.microsoft.com/office/drawing/2015/06/chart" xmlns:c15="http://schemas.microsoft.com/office/drawing/2012/chart">
                  <c:ext xmlns:c16="http://schemas.microsoft.com/office/drawing/2014/chart" uri="{C3380CC4-5D6E-409C-BE32-E72D297353CC}">
                    <c16:uniqueId val="{00000002-B873-44C3-A6EE-D41463634877}"/>
                  </c:ext>
                </c:extLst>
              </c15:ser>
            </c15:filteredPieSeries>
            <c15:filteredPieSeries>
              <c15:ser>
                <c:idx val="2"/>
                <c:order val="2"/>
                <c:tx>
                  <c:strRef>
                    <c:extLst xmlns:c16r2="http://schemas.microsoft.com/office/drawing/2015/06/chart" xmlns:c15="http://schemas.microsoft.com/office/drawing/2012/chart">
                      <c:ext xmlns:c15="http://schemas.microsoft.com/office/drawing/2012/chart" uri="{02D57815-91ED-43cb-92C2-25804820EDAC}">
                        <c15:formulaRef>
                          <c15:sqref>Sheet1!$B$24</c15:sqref>
                        </c15:formulaRef>
                      </c:ext>
                    </c:extLst>
                    <c:strCache>
                      <c:ptCount val="1"/>
                      <c:pt idx="0">
                        <c:v>Average Price (Naira)</c:v>
                      </c:pt>
                    </c:strCache>
                  </c:strRef>
                </c:tx>
                <c:dPt>
                  <c:idx val="0"/>
                  <c:bubble3D val="0"/>
                  <c:spPr>
                    <a:pattFill prst="narVert">
                      <a:fgClr>
                        <a:schemeClr val="accent1"/>
                      </a:fgClr>
                      <a:bgClr>
                        <a:schemeClr val="accent1">
                          <a:lumMod val="20000"/>
                          <a:lumOff val="80000"/>
                        </a:schemeClr>
                      </a:bgClr>
                    </a:pattFill>
                    <a:ln>
                      <a:noFill/>
                    </a:ln>
                    <a:effectLst>
                      <a:innerShdw blurRad="114300">
                        <a:schemeClr val="accent1"/>
                      </a:innerShdw>
                    </a:effectLst>
                  </c:spPr>
                  <c:extLst xmlns:c16r2="http://schemas.microsoft.com/office/drawing/2015/06/chart" xmlns:c15="http://schemas.microsoft.com/office/drawing/2012/chart">
                    <c:ext xmlns:c16="http://schemas.microsoft.com/office/drawing/2014/chart" uri="{C3380CC4-5D6E-409C-BE32-E72D297353CC}">
                      <c16:uniqueId val="{0000001F-9E9B-4D9B-A301-44B58635A921}"/>
                    </c:ext>
                  </c:extLst>
                </c:dPt>
                <c:dPt>
                  <c:idx val="1"/>
                  <c:bubble3D val="0"/>
                  <c:spPr>
                    <a:pattFill prst="narVert">
                      <a:fgClr>
                        <a:schemeClr val="accent2"/>
                      </a:fgClr>
                      <a:bgClr>
                        <a:schemeClr val="accent2">
                          <a:lumMod val="20000"/>
                          <a:lumOff val="80000"/>
                        </a:schemeClr>
                      </a:bgClr>
                    </a:pattFill>
                    <a:ln>
                      <a:noFill/>
                    </a:ln>
                    <a:effectLst>
                      <a:innerShdw blurRad="114300">
                        <a:schemeClr val="accent2"/>
                      </a:innerShdw>
                    </a:effectLst>
                  </c:spPr>
                  <c:extLst xmlns:c16r2="http://schemas.microsoft.com/office/drawing/2015/06/chart" xmlns:c15="http://schemas.microsoft.com/office/drawing/2012/chart">
                    <c:ext xmlns:c16="http://schemas.microsoft.com/office/drawing/2014/chart" uri="{C3380CC4-5D6E-409C-BE32-E72D297353CC}">
                      <c16:uniqueId val="{00000021-9E9B-4D9B-A301-44B58635A921}"/>
                    </c:ext>
                  </c:extLst>
                </c:dPt>
                <c:dPt>
                  <c:idx val="2"/>
                  <c:bubble3D val="0"/>
                  <c:spPr>
                    <a:pattFill prst="narVert">
                      <a:fgClr>
                        <a:schemeClr val="accent3"/>
                      </a:fgClr>
                      <a:bgClr>
                        <a:schemeClr val="accent3">
                          <a:lumMod val="20000"/>
                          <a:lumOff val="80000"/>
                        </a:schemeClr>
                      </a:bgClr>
                    </a:pattFill>
                    <a:ln>
                      <a:noFill/>
                    </a:ln>
                    <a:effectLst>
                      <a:innerShdw blurRad="114300">
                        <a:schemeClr val="accent3"/>
                      </a:innerShdw>
                    </a:effectLst>
                  </c:spPr>
                  <c:extLst xmlns:c16r2="http://schemas.microsoft.com/office/drawing/2015/06/chart" xmlns:c15="http://schemas.microsoft.com/office/drawing/2012/chart">
                    <c:ext xmlns:c16="http://schemas.microsoft.com/office/drawing/2014/chart" uri="{C3380CC4-5D6E-409C-BE32-E72D297353CC}">
                      <c16:uniqueId val="{00000023-9E9B-4D9B-A301-44B58635A921}"/>
                    </c:ext>
                  </c:extLst>
                </c:dPt>
                <c:dPt>
                  <c:idx val="3"/>
                  <c:bubble3D val="0"/>
                  <c:spPr>
                    <a:pattFill prst="narVert">
                      <a:fgClr>
                        <a:schemeClr val="accent4"/>
                      </a:fgClr>
                      <a:bgClr>
                        <a:schemeClr val="accent4">
                          <a:lumMod val="20000"/>
                          <a:lumOff val="80000"/>
                        </a:schemeClr>
                      </a:bgClr>
                    </a:pattFill>
                    <a:ln>
                      <a:noFill/>
                    </a:ln>
                    <a:effectLst>
                      <a:innerShdw blurRad="114300">
                        <a:schemeClr val="accent4"/>
                      </a:innerShdw>
                    </a:effectLst>
                  </c:spPr>
                  <c:extLst xmlns:c16r2="http://schemas.microsoft.com/office/drawing/2015/06/chart" xmlns:c15="http://schemas.microsoft.com/office/drawing/2012/chart">
                    <c:ext xmlns:c16="http://schemas.microsoft.com/office/drawing/2014/chart" uri="{C3380CC4-5D6E-409C-BE32-E72D297353CC}">
                      <c16:uniqueId val="{00000025-9E9B-4D9B-A301-44B58635A921}"/>
                    </c:ext>
                  </c:extLst>
                </c:dPt>
                <c:dPt>
                  <c:idx val="4"/>
                  <c:bubble3D val="0"/>
                  <c:spPr>
                    <a:pattFill prst="narVert">
                      <a:fgClr>
                        <a:schemeClr val="accent5"/>
                      </a:fgClr>
                      <a:bgClr>
                        <a:schemeClr val="accent5">
                          <a:lumMod val="20000"/>
                          <a:lumOff val="80000"/>
                        </a:schemeClr>
                      </a:bgClr>
                    </a:pattFill>
                    <a:ln>
                      <a:noFill/>
                    </a:ln>
                    <a:effectLst>
                      <a:innerShdw blurRad="114300">
                        <a:schemeClr val="accent5"/>
                      </a:innerShdw>
                    </a:effectLst>
                  </c:spPr>
                  <c:extLst xmlns:c16r2="http://schemas.microsoft.com/office/drawing/2015/06/chart" xmlns:c15="http://schemas.microsoft.com/office/drawing/2012/chart">
                    <c:ext xmlns:c16="http://schemas.microsoft.com/office/drawing/2014/chart" uri="{C3380CC4-5D6E-409C-BE32-E72D297353CC}">
                      <c16:uniqueId val="{00000027-9E9B-4D9B-A301-44B58635A921}"/>
                    </c:ext>
                  </c:extLst>
                </c:dPt>
                <c:dLbls>
                  <c:spPr>
                    <a:solidFill>
                      <a:prstClr val="white"/>
                    </a:solidFill>
                    <a:ln>
                      <a:solidFill>
                        <a:prstClr val="black">
                          <a:lumMod val="25000"/>
                          <a:lumOff val="75000"/>
                        </a:prst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0"/>
                  <c:showCatName val="1"/>
                  <c:showSerName val="0"/>
                  <c:showPercent val="1"/>
                  <c:showBubbleSize val="0"/>
                  <c:showLeaderLines val="0"/>
                  <c:extLst xmlns:c16r2="http://schemas.microsoft.com/office/drawing/2015/06/chart" xmlns:c15="http://schemas.microsoft.com/office/drawing/2012/chart">
                    <c:ext xmlns:c15="http://schemas.microsoft.com/office/drawing/2012/chart" uri="{CE6537A1-D6FC-4f65-9D91-7224C49458BB}">
                      <c15:spPr xmlns:c15="http://schemas.microsoft.com/office/drawing/2012/chart">
                        <a:prstGeom prst="wedgeRectCallout">
                          <a:avLst/>
                        </a:prstGeom>
                        <a:noFill/>
                        <a:ln>
                          <a:noFill/>
                        </a:ln>
                      </c15:spPr>
                    </c:ext>
                  </c:extLst>
                </c:dLbls>
                <c:cat>
                  <c:strRef>
                    <c:extLst xmlns:c16r2="http://schemas.microsoft.com/office/drawing/2015/06/chart" xmlns:c15="http://schemas.microsoft.com/office/drawing/2012/chart">
                      <c:ext xmlns:c15="http://schemas.microsoft.com/office/drawing/2012/chart" uri="{02D57815-91ED-43cb-92C2-25804820EDAC}">
                        <c15:formulaRef>
                          <c15:sqref>Sheet1!$C$21:$G$21</c15:sqref>
                        </c15:formulaRef>
                      </c:ext>
                    </c:extLst>
                    <c:strCache>
                      <c:ptCount val="5"/>
                      <c:pt idx="0">
                        <c:v>Ginger</c:v>
                      </c:pt>
                      <c:pt idx="1">
                        <c:v>Paddy Rice</c:v>
                      </c:pt>
                      <c:pt idx="2">
                        <c:v>Soybeans</c:v>
                      </c:pt>
                      <c:pt idx="3">
                        <c:v>White Maize</c:v>
                      </c:pt>
                      <c:pt idx="4">
                        <c:v>Yellow Maize</c:v>
                      </c:pt>
                    </c:strCache>
                  </c:strRef>
                </c:cat>
                <c:val>
                  <c:numRef>
                    <c:extLst xmlns:c16r2="http://schemas.microsoft.com/office/drawing/2015/06/chart" xmlns:c15="http://schemas.microsoft.com/office/drawing/2012/chart">
                      <c:ext xmlns:c15="http://schemas.microsoft.com/office/drawing/2012/chart" uri="{02D57815-91ED-43cb-92C2-25804820EDAC}">
                        <c15:formulaRef>
                          <c15:sqref>Sheet1!$C$24:$G$24</c15:sqref>
                        </c15:formulaRef>
                      </c:ext>
                    </c:extLst>
                    <c:numCache>
                      <c:formatCode>_-* #,##0.00_-;\-* #,##0.00_-;_-* "-"??_-;_-@_-</c:formatCode>
                      <c:ptCount val="5"/>
                      <c:pt idx="0">
                        <c:v>547831.91555582965</c:v>
                      </c:pt>
                      <c:pt idx="1">
                        <c:v>145000</c:v>
                      </c:pt>
                      <c:pt idx="2">
                        <c:v>125500</c:v>
                      </c:pt>
                      <c:pt idx="3">
                        <c:v>141959.64180905002</c:v>
                      </c:pt>
                      <c:pt idx="4">
                        <c:v>141000</c:v>
                      </c:pt>
                    </c:numCache>
                  </c:numRef>
                </c:val>
                <c:extLst xmlns:c16r2="http://schemas.microsoft.com/office/drawing/2015/06/chart" xmlns:c15="http://schemas.microsoft.com/office/drawing/2012/chart">
                  <c:ext xmlns:c16="http://schemas.microsoft.com/office/drawing/2014/chart" uri="{C3380CC4-5D6E-409C-BE32-E72D297353CC}">
                    <c16:uniqueId val="{00000003-B873-44C3-A6EE-D41463634877}"/>
                  </c:ext>
                </c:extLst>
              </c15:ser>
            </c15:filteredPieSeries>
            <c15:filteredPieSeries>
              <c15:ser>
                <c:idx val="3"/>
                <c:order val="3"/>
                <c:tx>
                  <c:strRef>
                    <c:extLst xmlns:c16r2="http://schemas.microsoft.com/office/drawing/2015/06/chart" xmlns:c15="http://schemas.microsoft.com/office/drawing/2012/chart">
                      <c:ext xmlns:c15="http://schemas.microsoft.com/office/drawing/2012/chart" uri="{02D57815-91ED-43cb-92C2-25804820EDAC}">
                        <c15:formulaRef>
                          <c15:sqref>Sheet1!$B$25</c15:sqref>
                        </c15:formulaRef>
                      </c:ext>
                    </c:extLst>
                    <c:strCache>
                      <c:ptCount val="1"/>
                      <c:pt idx="0">
                        <c:v>Min Price (Naira)</c:v>
                      </c:pt>
                    </c:strCache>
                  </c:strRef>
                </c:tx>
                <c:dPt>
                  <c:idx val="0"/>
                  <c:bubble3D val="0"/>
                  <c:spPr>
                    <a:pattFill prst="narVert">
                      <a:fgClr>
                        <a:schemeClr val="accent1"/>
                      </a:fgClr>
                      <a:bgClr>
                        <a:schemeClr val="accent1">
                          <a:lumMod val="20000"/>
                          <a:lumOff val="80000"/>
                        </a:schemeClr>
                      </a:bgClr>
                    </a:pattFill>
                    <a:ln>
                      <a:noFill/>
                    </a:ln>
                    <a:effectLst>
                      <a:innerShdw blurRad="114300">
                        <a:schemeClr val="accent1"/>
                      </a:innerShdw>
                    </a:effectLst>
                  </c:spPr>
                  <c:extLst xmlns:c16r2="http://schemas.microsoft.com/office/drawing/2015/06/chart" xmlns:c15="http://schemas.microsoft.com/office/drawing/2012/chart">
                    <c:ext xmlns:c16="http://schemas.microsoft.com/office/drawing/2014/chart" uri="{C3380CC4-5D6E-409C-BE32-E72D297353CC}">
                      <c16:uniqueId val="{00000029-9E9B-4D9B-A301-44B58635A921}"/>
                    </c:ext>
                  </c:extLst>
                </c:dPt>
                <c:dPt>
                  <c:idx val="1"/>
                  <c:bubble3D val="0"/>
                  <c:spPr>
                    <a:pattFill prst="narVert">
                      <a:fgClr>
                        <a:schemeClr val="accent2"/>
                      </a:fgClr>
                      <a:bgClr>
                        <a:schemeClr val="accent2">
                          <a:lumMod val="20000"/>
                          <a:lumOff val="80000"/>
                        </a:schemeClr>
                      </a:bgClr>
                    </a:pattFill>
                    <a:ln>
                      <a:noFill/>
                    </a:ln>
                    <a:effectLst>
                      <a:innerShdw blurRad="114300">
                        <a:schemeClr val="accent2"/>
                      </a:innerShdw>
                    </a:effectLst>
                  </c:spPr>
                  <c:extLst xmlns:c16r2="http://schemas.microsoft.com/office/drawing/2015/06/chart" xmlns:c15="http://schemas.microsoft.com/office/drawing/2012/chart">
                    <c:ext xmlns:c16="http://schemas.microsoft.com/office/drawing/2014/chart" uri="{C3380CC4-5D6E-409C-BE32-E72D297353CC}">
                      <c16:uniqueId val="{0000002B-9E9B-4D9B-A301-44B58635A921}"/>
                    </c:ext>
                  </c:extLst>
                </c:dPt>
                <c:dPt>
                  <c:idx val="2"/>
                  <c:bubble3D val="0"/>
                  <c:spPr>
                    <a:pattFill prst="narVert">
                      <a:fgClr>
                        <a:schemeClr val="accent3"/>
                      </a:fgClr>
                      <a:bgClr>
                        <a:schemeClr val="accent3">
                          <a:lumMod val="20000"/>
                          <a:lumOff val="80000"/>
                        </a:schemeClr>
                      </a:bgClr>
                    </a:pattFill>
                    <a:ln>
                      <a:noFill/>
                    </a:ln>
                    <a:effectLst>
                      <a:innerShdw blurRad="114300">
                        <a:schemeClr val="accent3"/>
                      </a:innerShdw>
                    </a:effectLst>
                  </c:spPr>
                  <c:extLst xmlns:c16r2="http://schemas.microsoft.com/office/drawing/2015/06/chart" xmlns:c15="http://schemas.microsoft.com/office/drawing/2012/chart">
                    <c:ext xmlns:c16="http://schemas.microsoft.com/office/drawing/2014/chart" uri="{C3380CC4-5D6E-409C-BE32-E72D297353CC}">
                      <c16:uniqueId val="{0000002D-9E9B-4D9B-A301-44B58635A921}"/>
                    </c:ext>
                  </c:extLst>
                </c:dPt>
                <c:dPt>
                  <c:idx val="3"/>
                  <c:bubble3D val="0"/>
                  <c:spPr>
                    <a:pattFill prst="narVert">
                      <a:fgClr>
                        <a:schemeClr val="accent4"/>
                      </a:fgClr>
                      <a:bgClr>
                        <a:schemeClr val="accent4">
                          <a:lumMod val="20000"/>
                          <a:lumOff val="80000"/>
                        </a:schemeClr>
                      </a:bgClr>
                    </a:pattFill>
                    <a:ln>
                      <a:noFill/>
                    </a:ln>
                    <a:effectLst>
                      <a:innerShdw blurRad="114300">
                        <a:schemeClr val="accent4"/>
                      </a:innerShdw>
                    </a:effectLst>
                  </c:spPr>
                  <c:extLst xmlns:c16r2="http://schemas.microsoft.com/office/drawing/2015/06/chart" xmlns:c15="http://schemas.microsoft.com/office/drawing/2012/chart">
                    <c:ext xmlns:c16="http://schemas.microsoft.com/office/drawing/2014/chart" uri="{C3380CC4-5D6E-409C-BE32-E72D297353CC}">
                      <c16:uniqueId val="{0000002F-9E9B-4D9B-A301-44B58635A921}"/>
                    </c:ext>
                  </c:extLst>
                </c:dPt>
                <c:dPt>
                  <c:idx val="4"/>
                  <c:bubble3D val="0"/>
                  <c:spPr>
                    <a:pattFill prst="narVert">
                      <a:fgClr>
                        <a:schemeClr val="accent5"/>
                      </a:fgClr>
                      <a:bgClr>
                        <a:schemeClr val="accent5">
                          <a:lumMod val="20000"/>
                          <a:lumOff val="80000"/>
                        </a:schemeClr>
                      </a:bgClr>
                    </a:pattFill>
                    <a:ln>
                      <a:noFill/>
                    </a:ln>
                    <a:effectLst>
                      <a:innerShdw blurRad="114300">
                        <a:schemeClr val="accent5"/>
                      </a:innerShdw>
                    </a:effectLst>
                  </c:spPr>
                  <c:extLst xmlns:c16r2="http://schemas.microsoft.com/office/drawing/2015/06/chart" xmlns:c15="http://schemas.microsoft.com/office/drawing/2012/chart">
                    <c:ext xmlns:c16="http://schemas.microsoft.com/office/drawing/2014/chart" uri="{C3380CC4-5D6E-409C-BE32-E72D297353CC}">
                      <c16:uniqueId val="{00000031-9E9B-4D9B-A301-44B58635A921}"/>
                    </c:ext>
                  </c:extLst>
                </c:dPt>
                <c:dLbls>
                  <c:spPr>
                    <a:solidFill>
                      <a:prstClr val="white"/>
                    </a:solidFill>
                    <a:ln>
                      <a:solidFill>
                        <a:prstClr val="black">
                          <a:lumMod val="25000"/>
                          <a:lumOff val="75000"/>
                        </a:prst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0"/>
                  <c:showCatName val="1"/>
                  <c:showSerName val="0"/>
                  <c:showPercent val="1"/>
                  <c:showBubbleSize val="0"/>
                  <c:showLeaderLines val="0"/>
                  <c:extLst xmlns:c16r2="http://schemas.microsoft.com/office/drawing/2015/06/chart" xmlns:c15="http://schemas.microsoft.com/office/drawing/2012/chart">
                    <c:ext xmlns:c15="http://schemas.microsoft.com/office/drawing/2012/chart" uri="{CE6537A1-D6FC-4f65-9D91-7224C49458BB}">
                      <c15:spPr xmlns:c15="http://schemas.microsoft.com/office/drawing/2012/chart">
                        <a:prstGeom prst="wedgeRectCallout">
                          <a:avLst/>
                        </a:prstGeom>
                        <a:noFill/>
                        <a:ln>
                          <a:noFill/>
                        </a:ln>
                      </c15:spPr>
                    </c:ext>
                  </c:extLst>
                </c:dLbls>
                <c:cat>
                  <c:strRef>
                    <c:extLst xmlns:c16r2="http://schemas.microsoft.com/office/drawing/2015/06/chart" xmlns:c15="http://schemas.microsoft.com/office/drawing/2012/chart">
                      <c:ext xmlns:c15="http://schemas.microsoft.com/office/drawing/2012/chart" uri="{02D57815-91ED-43cb-92C2-25804820EDAC}">
                        <c15:formulaRef>
                          <c15:sqref>Sheet1!$C$21:$G$21</c15:sqref>
                        </c15:formulaRef>
                      </c:ext>
                    </c:extLst>
                    <c:strCache>
                      <c:ptCount val="5"/>
                      <c:pt idx="0">
                        <c:v>Ginger</c:v>
                      </c:pt>
                      <c:pt idx="1">
                        <c:v>Paddy Rice</c:v>
                      </c:pt>
                      <c:pt idx="2">
                        <c:v>Soybeans</c:v>
                      </c:pt>
                      <c:pt idx="3">
                        <c:v>White Maize</c:v>
                      </c:pt>
                      <c:pt idx="4">
                        <c:v>Yellow Maize</c:v>
                      </c:pt>
                    </c:strCache>
                  </c:strRef>
                </c:cat>
                <c:val>
                  <c:numRef>
                    <c:extLst xmlns:c16r2="http://schemas.microsoft.com/office/drawing/2015/06/chart" xmlns:c15="http://schemas.microsoft.com/office/drawing/2012/chart">
                      <c:ext xmlns:c15="http://schemas.microsoft.com/office/drawing/2012/chart" uri="{02D57815-91ED-43cb-92C2-25804820EDAC}">
                        <c15:formulaRef>
                          <c15:sqref>Sheet1!$C$25:$G$25</c15:sqref>
                        </c15:formulaRef>
                      </c:ext>
                    </c:extLst>
                    <c:numCache>
                      <c:formatCode>_-* #,##0.00_-;\-* #,##0.00_-;_-* "-"??_-;_-@_-</c:formatCode>
                      <c:ptCount val="5"/>
                      <c:pt idx="0">
                        <c:v>310000</c:v>
                      </c:pt>
                      <c:pt idx="1">
                        <c:v>145000</c:v>
                      </c:pt>
                      <c:pt idx="2">
                        <c:v>116000.00000000001</c:v>
                      </c:pt>
                      <c:pt idx="3">
                        <c:v>113999.99999999999</c:v>
                      </c:pt>
                      <c:pt idx="4">
                        <c:v>140000.00000000003</c:v>
                      </c:pt>
                    </c:numCache>
                  </c:numRef>
                </c:val>
                <c:extLst xmlns:c16r2="http://schemas.microsoft.com/office/drawing/2015/06/chart" xmlns:c15="http://schemas.microsoft.com/office/drawing/2012/chart">
                  <c:ext xmlns:c16="http://schemas.microsoft.com/office/drawing/2014/chart" uri="{C3380CC4-5D6E-409C-BE32-E72D297353CC}">
                    <c16:uniqueId val="{00000004-B873-44C3-A6EE-D41463634877}"/>
                  </c:ext>
                </c:extLst>
              </c15:ser>
            </c15:filteredPieSeries>
            <c15:filteredPieSeries>
              <c15:ser>
                <c:idx val="4"/>
                <c:order val="4"/>
                <c:tx>
                  <c:strRef>
                    <c:extLst xmlns:c16r2="http://schemas.microsoft.com/office/drawing/2015/06/chart" xmlns:c15="http://schemas.microsoft.com/office/drawing/2012/chart">
                      <c:ext xmlns:c15="http://schemas.microsoft.com/office/drawing/2012/chart" uri="{02D57815-91ED-43cb-92C2-25804820EDAC}">
                        <c15:formulaRef>
                          <c15:sqref>Sheet1!$B$26</c15:sqref>
                        </c15:formulaRef>
                      </c:ext>
                    </c:extLst>
                    <c:strCache>
                      <c:ptCount val="1"/>
                      <c:pt idx="0">
                        <c:v>Total Quantity Traded</c:v>
                      </c:pt>
                    </c:strCache>
                  </c:strRef>
                </c:tx>
                <c:dPt>
                  <c:idx val="0"/>
                  <c:bubble3D val="0"/>
                  <c:spPr>
                    <a:pattFill prst="narVert">
                      <a:fgClr>
                        <a:schemeClr val="accent1"/>
                      </a:fgClr>
                      <a:bgClr>
                        <a:schemeClr val="accent1">
                          <a:lumMod val="20000"/>
                          <a:lumOff val="80000"/>
                        </a:schemeClr>
                      </a:bgClr>
                    </a:pattFill>
                    <a:ln>
                      <a:noFill/>
                    </a:ln>
                    <a:effectLst>
                      <a:innerShdw blurRad="114300">
                        <a:schemeClr val="accent1"/>
                      </a:innerShdw>
                    </a:effectLst>
                  </c:spPr>
                  <c:extLst xmlns:c16r2="http://schemas.microsoft.com/office/drawing/2015/06/chart" xmlns:c15="http://schemas.microsoft.com/office/drawing/2012/chart">
                    <c:ext xmlns:c16="http://schemas.microsoft.com/office/drawing/2014/chart" uri="{C3380CC4-5D6E-409C-BE32-E72D297353CC}">
                      <c16:uniqueId val="{00000033-9E9B-4D9B-A301-44B58635A921}"/>
                    </c:ext>
                  </c:extLst>
                </c:dPt>
                <c:dPt>
                  <c:idx val="1"/>
                  <c:bubble3D val="0"/>
                  <c:spPr>
                    <a:pattFill prst="narVert">
                      <a:fgClr>
                        <a:schemeClr val="accent2"/>
                      </a:fgClr>
                      <a:bgClr>
                        <a:schemeClr val="accent2">
                          <a:lumMod val="20000"/>
                          <a:lumOff val="80000"/>
                        </a:schemeClr>
                      </a:bgClr>
                    </a:pattFill>
                    <a:ln>
                      <a:noFill/>
                    </a:ln>
                    <a:effectLst>
                      <a:innerShdw blurRad="114300">
                        <a:schemeClr val="accent2"/>
                      </a:innerShdw>
                    </a:effectLst>
                  </c:spPr>
                  <c:extLst xmlns:c16r2="http://schemas.microsoft.com/office/drawing/2015/06/chart" xmlns:c15="http://schemas.microsoft.com/office/drawing/2012/chart">
                    <c:ext xmlns:c16="http://schemas.microsoft.com/office/drawing/2014/chart" uri="{C3380CC4-5D6E-409C-BE32-E72D297353CC}">
                      <c16:uniqueId val="{00000035-9E9B-4D9B-A301-44B58635A921}"/>
                    </c:ext>
                  </c:extLst>
                </c:dPt>
                <c:dPt>
                  <c:idx val="2"/>
                  <c:bubble3D val="0"/>
                  <c:spPr>
                    <a:pattFill prst="narVert">
                      <a:fgClr>
                        <a:schemeClr val="accent3"/>
                      </a:fgClr>
                      <a:bgClr>
                        <a:schemeClr val="accent3">
                          <a:lumMod val="20000"/>
                          <a:lumOff val="80000"/>
                        </a:schemeClr>
                      </a:bgClr>
                    </a:pattFill>
                    <a:ln>
                      <a:noFill/>
                    </a:ln>
                    <a:effectLst>
                      <a:innerShdw blurRad="114300">
                        <a:schemeClr val="accent3"/>
                      </a:innerShdw>
                    </a:effectLst>
                  </c:spPr>
                  <c:extLst xmlns:c16r2="http://schemas.microsoft.com/office/drawing/2015/06/chart" xmlns:c15="http://schemas.microsoft.com/office/drawing/2012/chart">
                    <c:ext xmlns:c16="http://schemas.microsoft.com/office/drawing/2014/chart" uri="{C3380CC4-5D6E-409C-BE32-E72D297353CC}">
                      <c16:uniqueId val="{00000037-9E9B-4D9B-A301-44B58635A921}"/>
                    </c:ext>
                  </c:extLst>
                </c:dPt>
                <c:dPt>
                  <c:idx val="3"/>
                  <c:bubble3D val="0"/>
                  <c:spPr>
                    <a:pattFill prst="narVert">
                      <a:fgClr>
                        <a:schemeClr val="accent4"/>
                      </a:fgClr>
                      <a:bgClr>
                        <a:schemeClr val="accent4">
                          <a:lumMod val="20000"/>
                          <a:lumOff val="80000"/>
                        </a:schemeClr>
                      </a:bgClr>
                    </a:pattFill>
                    <a:ln>
                      <a:noFill/>
                    </a:ln>
                    <a:effectLst>
                      <a:innerShdw blurRad="114300">
                        <a:schemeClr val="accent4"/>
                      </a:innerShdw>
                    </a:effectLst>
                  </c:spPr>
                  <c:extLst xmlns:c16r2="http://schemas.microsoft.com/office/drawing/2015/06/chart" xmlns:c15="http://schemas.microsoft.com/office/drawing/2012/chart">
                    <c:ext xmlns:c16="http://schemas.microsoft.com/office/drawing/2014/chart" uri="{C3380CC4-5D6E-409C-BE32-E72D297353CC}">
                      <c16:uniqueId val="{00000039-9E9B-4D9B-A301-44B58635A921}"/>
                    </c:ext>
                  </c:extLst>
                </c:dPt>
                <c:dPt>
                  <c:idx val="4"/>
                  <c:bubble3D val="0"/>
                  <c:spPr>
                    <a:pattFill prst="narVert">
                      <a:fgClr>
                        <a:schemeClr val="accent5"/>
                      </a:fgClr>
                      <a:bgClr>
                        <a:schemeClr val="accent5">
                          <a:lumMod val="20000"/>
                          <a:lumOff val="80000"/>
                        </a:schemeClr>
                      </a:bgClr>
                    </a:pattFill>
                    <a:ln>
                      <a:noFill/>
                    </a:ln>
                    <a:effectLst>
                      <a:innerShdw blurRad="114300">
                        <a:schemeClr val="accent5"/>
                      </a:innerShdw>
                    </a:effectLst>
                  </c:spPr>
                  <c:extLst xmlns:c16r2="http://schemas.microsoft.com/office/drawing/2015/06/chart" xmlns:c15="http://schemas.microsoft.com/office/drawing/2012/chart">
                    <c:ext xmlns:c16="http://schemas.microsoft.com/office/drawing/2014/chart" uri="{C3380CC4-5D6E-409C-BE32-E72D297353CC}">
                      <c16:uniqueId val="{0000003B-9E9B-4D9B-A301-44B58635A921}"/>
                    </c:ext>
                  </c:extLst>
                </c:dPt>
                <c:dLbls>
                  <c:spPr>
                    <a:solidFill>
                      <a:prstClr val="white"/>
                    </a:solidFill>
                    <a:ln>
                      <a:solidFill>
                        <a:prstClr val="black">
                          <a:lumMod val="25000"/>
                          <a:lumOff val="75000"/>
                        </a:prst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en-US"/>
                    </a:p>
                  </c:txPr>
                  <c:showLegendKey val="0"/>
                  <c:showVal val="0"/>
                  <c:showCatName val="1"/>
                  <c:showSerName val="0"/>
                  <c:showPercent val="1"/>
                  <c:showBubbleSize val="0"/>
                  <c:showLeaderLines val="0"/>
                  <c:extLst xmlns:c16r2="http://schemas.microsoft.com/office/drawing/2015/06/chart" xmlns:c15="http://schemas.microsoft.com/office/drawing/2012/chart">
                    <c:ext xmlns:c15="http://schemas.microsoft.com/office/drawing/2012/chart" uri="{CE6537A1-D6FC-4f65-9D91-7224C49458BB}">
                      <c15:spPr xmlns:c15="http://schemas.microsoft.com/office/drawing/2012/chart">
                        <a:prstGeom prst="wedgeRectCallout">
                          <a:avLst/>
                        </a:prstGeom>
                        <a:noFill/>
                        <a:ln>
                          <a:noFill/>
                        </a:ln>
                      </c15:spPr>
                    </c:ext>
                  </c:extLst>
                </c:dLbls>
                <c:cat>
                  <c:strRef>
                    <c:extLst xmlns:c16r2="http://schemas.microsoft.com/office/drawing/2015/06/chart" xmlns:c15="http://schemas.microsoft.com/office/drawing/2012/chart">
                      <c:ext xmlns:c15="http://schemas.microsoft.com/office/drawing/2012/chart" uri="{02D57815-91ED-43cb-92C2-25804820EDAC}">
                        <c15:formulaRef>
                          <c15:sqref>Sheet1!$C$21:$G$21</c15:sqref>
                        </c15:formulaRef>
                      </c:ext>
                    </c:extLst>
                    <c:strCache>
                      <c:ptCount val="5"/>
                      <c:pt idx="0">
                        <c:v>Ginger</c:v>
                      </c:pt>
                      <c:pt idx="1">
                        <c:v>Paddy Rice</c:v>
                      </c:pt>
                      <c:pt idx="2">
                        <c:v>Soybeans</c:v>
                      </c:pt>
                      <c:pt idx="3">
                        <c:v>White Maize</c:v>
                      </c:pt>
                      <c:pt idx="4">
                        <c:v>Yellow Maize</c:v>
                      </c:pt>
                    </c:strCache>
                  </c:strRef>
                </c:cat>
                <c:val>
                  <c:numRef>
                    <c:extLst xmlns:c16r2="http://schemas.microsoft.com/office/drawing/2015/06/chart" xmlns:c15="http://schemas.microsoft.com/office/drawing/2012/chart">
                      <c:ext xmlns:c15="http://schemas.microsoft.com/office/drawing/2012/chart" uri="{02D57815-91ED-43cb-92C2-25804820EDAC}">
                        <c15:formulaRef>
                          <c15:sqref>Sheet1!$C$26:$G$26</c15:sqref>
                        </c15:formulaRef>
                      </c:ext>
                    </c:extLst>
                    <c:numCache>
                      <c:formatCode>_-* #,##0.00_-;\-* #,##0.00_-;_-* "-"??_-;_-@_-</c:formatCode>
                      <c:ptCount val="5"/>
                      <c:pt idx="0">
                        <c:v>70.521999999999991</c:v>
                      </c:pt>
                      <c:pt idx="1">
                        <c:v>5.01</c:v>
                      </c:pt>
                      <c:pt idx="2">
                        <c:v>6.3709999999999996</c:v>
                      </c:pt>
                      <c:pt idx="3">
                        <c:v>4312.1040000000057</c:v>
                      </c:pt>
                      <c:pt idx="4">
                        <c:v>118.63500000000001</c:v>
                      </c:pt>
                    </c:numCache>
                  </c:numRef>
                </c:val>
                <c:extLst xmlns:c16r2="http://schemas.microsoft.com/office/drawing/2015/06/chart" xmlns:c15="http://schemas.microsoft.com/office/drawing/2012/chart">
                  <c:ext xmlns:c16="http://schemas.microsoft.com/office/drawing/2014/chart" uri="{C3380CC4-5D6E-409C-BE32-E72D297353CC}">
                    <c16:uniqueId val="{00000005-B873-44C3-A6EE-D41463634877}"/>
                  </c:ext>
                </c:extLst>
              </c15:ser>
            </c15:filteredPieSeries>
          </c:ext>
        </c:extLst>
      </c:doughnutChart>
      <c:spPr>
        <a:noFill/>
        <a:ln>
          <a:noFill/>
        </a:ln>
        <a:effectLst/>
      </c:spPr>
    </c:plotArea>
    <c:plotVisOnly val="1"/>
    <c:dispBlanksAs val="zero"/>
  </c:chart>
  <c:spPr>
    <a:noFill/>
    <a:ln>
      <a:solidFill>
        <a:srgbClr val="C00000"/>
      </a:solidFill>
    </a:ln>
    <a:effectLst/>
  </c:spPr>
  <c:txPr>
    <a:bodyPr/>
    <a:lstStyle/>
    <a:p>
      <a:pPr>
        <a:defRPr/>
      </a:pPr>
      <a:endParaRPr lang="en-US"/>
    </a:p>
  </c:txPr>
  <c:externalData r:id="rId2"/>
</c:chartSpace>
</file>

<file path=ppt/charts/chart3.xml><?xml version="1.0" encoding="utf-8"?>
<c:chartSpace xmlns:c="http://schemas.openxmlformats.org/drawingml/2006/chart" xmlns:a="http://schemas.openxmlformats.org/drawingml/2006/main" xmlns:r="http://schemas.openxmlformats.org/officeDocument/2006/relationships">
  <c:lang val="en-US"/>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lang="en-US" sz="1200" b="1" i="0" u="none" strike="noStrike" kern="1200" cap="none" spc="120" normalizeH="0" baseline="0" dirty="0">
                <a:solidFill>
                  <a:prstClr val="black">
                    <a:lumMod val="65000"/>
                    <a:lumOff val="35000"/>
                  </a:prstClr>
                </a:solidFill>
                <a:latin typeface="+mn-lt"/>
                <a:ea typeface="+mn-ea"/>
                <a:cs typeface="+mn-cs"/>
              </a:defRPr>
            </a:pPr>
            <a:r>
              <a:rPr lang="en-US" sz="1200" b="1" i="0" u="none" strike="noStrike" kern="1200" cap="none" spc="120" normalizeH="0" baseline="0" dirty="0">
                <a:solidFill>
                  <a:prstClr val="black">
                    <a:lumMod val="65000"/>
                    <a:lumOff val="35000"/>
                  </a:prstClr>
                </a:solidFill>
                <a:latin typeface="+mn-lt"/>
                <a:ea typeface="+mn-ea"/>
                <a:cs typeface="+mn-cs"/>
              </a:rPr>
              <a:t>Volume of Transaction (‘000 MT)</a:t>
            </a:r>
          </a:p>
        </c:rich>
      </c:tx>
      <c:layout/>
      <c:spPr>
        <a:noFill/>
        <a:ln>
          <a:noFill/>
        </a:ln>
        <a:effectLst/>
      </c:spPr>
    </c:title>
    <c:plotArea>
      <c:layout/>
      <c:barChart>
        <c:barDir val="col"/>
        <c:grouping val="clustered"/>
        <c:ser>
          <c:idx val="1"/>
          <c:order val="0"/>
          <c:tx>
            <c:strRef>
              <c:f>Sheet1!$B$5</c:f>
              <c:strCache>
                <c:ptCount val="1"/>
                <c:pt idx="0">
                  <c:v>Total Quantity Traded</c:v>
                </c:pt>
              </c:strCache>
            </c:strRef>
          </c:tx>
          <c:spPr>
            <a:solidFill>
              <a:schemeClr val="accent2"/>
            </a:solidFill>
            <a:ln>
              <a:noFill/>
            </a:ln>
            <a:effectLst/>
          </c:spPr>
          <c:dLbls>
            <c:numFmt formatCode="#,##0.00," sourceLinked="0"/>
            <c:spPr>
              <a:noFill/>
              <a:ln>
                <a:noFill/>
              </a:ln>
              <a:effectLst/>
            </c:spPr>
            <c:txPr>
              <a:bodyPr rot="0" spcFirstLastPara="1" vertOverflow="clip" horzOverflow="clip" vert="horz" wrap="square" lIns="38100" tIns="19050" rIns="38100" bIns="19050" anchor="ctr" anchorCtr="1">
                <a:spAutoFit/>
              </a:bodyPr>
              <a:lstStyle/>
              <a:p>
                <a:pPr>
                  <a:defRPr sz="900" b="1" i="0" u="none" strike="noStrike" kern="1200" baseline="0">
                    <a:solidFill>
                      <a:schemeClr val="tx1">
                        <a:lumMod val="50000"/>
                        <a:lumOff val="50000"/>
                      </a:schemeClr>
                    </a:solidFill>
                    <a:latin typeface="+mn-lt"/>
                    <a:ea typeface="+mn-ea"/>
                    <a:cs typeface="+mn-cs"/>
                  </a:defRPr>
                </a:pPr>
                <a:endParaRPr lang="en-US"/>
              </a:p>
            </c:txPr>
            <c:showVal val="1"/>
            <c:extLst xmlns:c16r2="http://schemas.microsoft.com/office/drawing/2015/06/char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Sheet1!$C$3:$J$3</c:f>
              <c:strCache>
                <c:ptCount val="8"/>
                <c:pt idx="0">
                  <c:v>Jan</c:v>
                </c:pt>
                <c:pt idx="1">
                  <c:v>Feb</c:v>
                </c:pt>
                <c:pt idx="2">
                  <c:v>Mar</c:v>
                </c:pt>
                <c:pt idx="3">
                  <c:v>Apr</c:v>
                </c:pt>
                <c:pt idx="4">
                  <c:v>May</c:v>
                </c:pt>
                <c:pt idx="5">
                  <c:v>Jun</c:v>
                </c:pt>
                <c:pt idx="6">
                  <c:v>Jul</c:v>
                </c:pt>
                <c:pt idx="7">
                  <c:v>Total</c:v>
                </c:pt>
              </c:strCache>
            </c:strRef>
          </c:cat>
          <c:val>
            <c:numRef>
              <c:f>Sheet1!$C$5:$J$5</c:f>
              <c:numCache>
                <c:formatCode>_(* #,##0.00_);_(* \(#,##0.00\);_(* "-"??_);_(@_)</c:formatCode>
                <c:ptCount val="8"/>
                <c:pt idx="0">
                  <c:v>4512.642000000008</c:v>
                </c:pt>
                <c:pt idx="1">
                  <c:v>13436.870000000023</c:v>
                </c:pt>
                <c:pt idx="2">
                  <c:v>2558.5750000000012</c:v>
                </c:pt>
                <c:pt idx="3">
                  <c:v>301.68499999999989</c:v>
                </c:pt>
                <c:pt idx="4">
                  <c:v>2784.8209999999999</c:v>
                </c:pt>
                <c:pt idx="5">
                  <c:v>2894.8209999999999</c:v>
                </c:pt>
                <c:pt idx="6">
                  <c:v>1455.2260000000001</c:v>
                </c:pt>
                <c:pt idx="7">
                  <c:v>27944.640000000032</c:v>
                </c:pt>
              </c:numCache>
            </c:numRef>
          </c:val>
          <c:extLst xmlns:c16r2="http://schemas.microsoft.com/office/drawing/2015/06/chart">
            <c:ext xmlns:c16="http://schemas.microsoft.com/office/drawing/2014/chart" uri="{C3380CC4-5D6E-409C-BE32-E72D297353CC}">
              <c16:uniqueId val="{00000000-9D22-4E1C-8399-81DF6031BFBA}"/>
            </c:ext>
          </c:extLst>
        </c:ser>
        <c:dLbls>
          <c:showVal val="1"/>
        </c:dLbls>
        <c:overlap val="-25"/>
        <c:axId val="103629568"/>
        <c:axId val="103631104"/>
        <c:extLst xmlns:c16r2="http://schemas.microsoft.com/office/drawing/2015/06/chart">
          <c:ext xmlns:c15="http://schemas.microsoft.com/office/drawing/2012/chart" uri="{02D57815-91ED-43cb-92C2-25804820EDAC}">
            <c15:filteredBarSeries>
              <c15:ser>
                <c:idx val="0"/>
                <c:order val="0"/>
                <c:tx>
                  <c:strRef>
                    <c:extLst xmlns:c16r2="http://schemas.microsoft.com/office/drawing/2015/06/chart">
                      <c:ext uri="{02D57815-91ED-43cb-92C2-25804820EDAC}">
                        <c15:formulaRef>
                          <c15:sqref>Sheet1!$B$4</c15:sqref>
                        </c15:formulaRef>
                      </c:ext>
                    </c:extLst>
                    <c:strCache>
                      <c:ptCount val="1"/>
                      <c:pt idx="0">
                        <c:v>Market Capitalization (Naira)</c:v>
                      </c:pt>
                    </c:strCache>
                  </c:strRef>
                </c:tx>
                <c:spPr>
                  <a:solidFill>
                    <a:schemeClr val="accent1"/>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uri="{CE6537A1-D6FC-4f65-9D91-7224C49458BB}">
                      <c15:showLeaderLines val="1"/>
                      <c15:leaderLines>
                        <c:spPr>
                          <a:ln w="9525">
                            <a:solidFill>
                              <a:schemeClr val="tx1">
                                <a:lumMod val="35000"/>
                                <a:lumOff val="65000"/>
                              </a:schemeClr>
                            </a:solidFill>
                          </a:ln>
                          <a:effectLst/>
                        </c:spPr>
                      </c15:leaderLines>
                    </c:ext>
                  </c:extLst>
                </c:dLbls>
                <c:cat>
                  <c:strRef>
                    <c:extLst xmlns:c16r2="http://schemas.microsoft.com/office/drawing/2015/06/chart">
                      <c:ext uri="{02D57815-91ED-43cb-92C2-25804820EDAC}">
                        <c15:formulaRef>
                          <c15:sqref>Sheet1!$C$3:$J$3</c15:sqref>
                        </c15:formulaRef>
                      </c:ext>
                    </c:extLst>
                    <c:strCache>
                      <c:ptCount val="8"/>
                      <c:pt idx="0">
                        <c:v>Jan</c:v>
                      </c:pt>
                      <c:pt idx="1">
                        <c:v>Feb</c:v>
                      </c:pt>
                      <c:pt idx="2">
                        <c:v>Mar</c:v>
                      </c:pt>
                      <c:pt idx="3">
                        <c:v>Apr</c:v>
                      </c:pt>
                      <c:pt idx="4">
                        <c:v>May</c:v>
                      </c:pt>
                      <c:pt idx="5">
                        <c:v>Jun</c:v>
                      </c:pt>
                      <c:pt idx="6">
                        <c:v>Jul</c:v>
                      </c:pt>
                      <c:pt idx="7">
                        <c:v>Total</c:v>
                      </c:pt>
                    </c:strCache>
                  </c:strRef>
                </c:cat>
                <c:val>
                  <c:numRef>
                    <c:extLst xmlns:c16r2="http://schemas.microsoft.com/office/drawing/2015/06/chart">
                      <c:ext uri="{02D57815-91ED-43cb-92C2-25804820EDAC}">
                        <c15:formulaRef>
                          <c15:sqref>Sheet1!$C$4:$J$4</c15:sqref>
                        </c15:formulaRef>
                      </c:ext>
                    </c:extLst>
                    <c:numCache>
                      <c:formatCode>_(* #,##0.00_);_(* \(#,##0.00\);_(* "-"??_);_(@_)</c:formatCode>
                      <c:ptCount val="8"/>
                      <c:pt idx="0">
                        <c:v>691949310.54000068</c:v>
                      </c:pt>
                      <c:pt idx="1">
                        <c:v>1992999429.8972402</c:v>
                      </c:pt>
                      <c:pt idx="2">
                        <c:v>426659118.39999998</c:v>
                      </c:pt>
                      <c:pt idx="3">
                        <c:v>47369676.822009996</c:v>
                      </c:pt>
                      <c:pt idx="4">
                        <c:v>396955798.99978</c:v>
                      </c:pt>
                      <c:pt idx="5">
                        <c:v>396955798.99978</c:v>
                      </c:pt>
                      <c:pt idx="6">
                        <c:v>232186214.65680006</c:v>
                      </c:pt>
                      <c:pt idx="7">
                        <c:v>4185075348.3156114</c:v>
                      </c:pt>
                    </c:numCache>
                  </c:numRef>
                </c:val>
                <c:extLst xmlns:c16r2="http://schemas.microsoft.com/office/drawing/2015/06/chart">
                  <c:ext xmlns:c16="http://schemas.microsoft.com/office/drawing/2014/chart" uri="{C3380CC4-5D6E-409C-BE32-E72D297353CC}">
                    <c16:uniqueId val="{00000001-9D22-4E1C-8399-81DF6031BFBA}"/>
                  </c:ext>
                </c:extLst>
              </c15:ser>
            </c15:filteredBarSeries>
            <c15:filteredBarSeries>
              <c15:ser>
                <c:idx val="2"/>
                <c:order val="2"/>
                <c:tx>
                  <c:strRef>
                    <c:extLst xmlns:c16r2="http://schemas.microsoft.com/office/drawing/2015/06/chart" xmlns:c15="http://schemas.microsoft.com/office/drawing/2012/chart">
                      <c:ext xmlns:c15="http://schemas.microsoft.com/office/drawing/2012/chart" uri="{02D57815-91ED-43cb-92C2-25804820EDAC}">
                        <c15:formulaRef>
                          <c15:sqref>Sheet1!$B$6</c15:sqref>
                        </c15:formulaRef>
                      </c:ext>
                    </c:extLst>
                    <c:strCache>
                      <c:ptCount val="1"/>
                      <c:pt idx="0">
                        <c:v>Number of Deals</c:v>
                      </c:pt>
                    </c:strCache>
                  </c:strRef>
                </c:tx>
                <c:spPr>
                  <a:solidFill>
                    <a:schemeClr val="accent3"/>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xmlns:c15="http://schemas.microsoft.com/office/drawing/2012/char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extLst xmlns:c16r2="http://schemas.microsoft.com/office/drawing/2015/06/chart" xmlns:c15="http://schemas.microsoft.com/office/drawing/2012/chart">
                      <c:ext xmlns:c15="http://schemas.microsoft.com/office/drawing/2012/chart" uri="{02D57815-91ED-43cb-92C2-25804820EDAC}">
                        <c15:formulaRef>
                          <c15:sqref>Sheet1!$C$3:$J$3</c15:sqref>
                        </c15:formulaRef>
                      </c:ext>
                    </c:extLst>
                    <c:strCache>
                      <c:ptCount val="8"/>
                      <c:pt idx="0">
                        <c:v>Jan</c:v>
                      </c:pt>
                      <c:pt idx="1">
                        <c:v>Feb</c:v>
                      </c:pt>
                      <c:pt idx="2">
                        <c:v>Mar</c:v>
                      </c:pt>
                      <c:pt idx="3">
                        <c:v>Apr</c:v>
                      </c:pt>
                      <c:pt idx="4">
                        <c:v>May</c:v>
                      </c:pt>
                      <c:pt idx="5">
                        <c:v>Jun</c:v>
                      </c:pt>
                      <c:pt idx="6">
                        <c:v>Jul</c:v>
                      </c:pt>
                      <c:pt idx="7">
                        <c:v>Total</c:v>
                      </c:pt>
                    </c:strCache>
                  </c:strRef>
                </c:cat>
                <c:val>
                  <c:numRef>
                    <c:extLst xmlns:c16r2="http://schemas.microsoft.com/office/drawing/2015/06/chart" xmlns:c15="http://schemas.microsoft.com/office/drawing/2012/chart">
                      <c:ext xmlns:c15="http://schemas.microsoft.com/office/drawing/2012/chart" uri="{02D57815-91ED-43cb-92C2-25804820EDAC}">
                        <c15:formulaRef>
                          <c15:sqref>Sheet1!$C$6:$J$6</c15:sqref>
                        </c15:formulaRef>
                      </c:ext>
                    </c:extLst>
                    <c:numCache>
                      <c:formatCode>_(* #,##0.00_);_(* \(#,##0.00\);_(* "-"??_);_(@_)</c:formatCode>
                      <c:ptCount val="8"/>
                      <c:pt idx="0">
                        <c:v>359</c:v>
                      </c:pt>
                      <c:pt idx="1">
                        <c:v>908</c:v>
                      </c:pt>
                      <c:pt idx="2">
                        <c:v>671</c:v>
                      </c:pt>
                      <c:pt idx="3">
                        <c:v>248</c:v>
                      </c:pt>
                      <c:pt idx="4">
                        <c:v>1017</c:v>
                      </c:pt>
                      <c:pt idx="5">
                        <c:v>1017</c:v>
                      </c:pt>
                      <c:pt idx="6">
                        <c:v>370</c:v>
                      </c:pt>
                      <c:pt idx="7">
                        <c:v>4590</c:v>
                      </c:pt>
                    </c:numCache>
                  </c:numRef>
                </c:val>
                <c:extLst xmlns:c16r2="http://schemas.microsoft.com/office/drawing/2015/06/chart" xmlns:c15="http://schemas.microsoft.com/office/drawing/2012/chart">
                  <c:ext xmlns:c16="http://schemas.microsoft.com/office/drawing/2014/chart" uri="{C3380CC4-5D6E-409C-BE32-E72D297353CC}">
                    <c16:uniqueId val="{00000002-9D22-4E1C-8399-81DF6031BFBA}"/>
                  </c:ext>
                </c:extLst>
              </c15:ser>
            </c15:filteredBarSeries>
            <c15:filteredBarSeries>
              <c15:ser>
                <c:idx val="3"/>
                <c:order val="3"/>
                <c:tx>
                  <c:strRef>
                    <c:extLst xmlns:c16r2="http://schemas.microsoft.com/office/drawing/2015/06/chart" xmlns:c15="http://schemas.microsoft.com/office/drawing/2012/chart">
                      <c:ext xmlns:c15="http://schemas.microsoft.com/office/drawing/2012/chart" uri="{02D57815-91ED-43cb-92C2-25804820EDAC}">
                        <c15:formulaRef>
                          <c15:sqref>Sheet1!$B$7</c15:sqref>
                        </c15:formulaRef>
                      </c:ext>
                    </c:extLst>
                    <c:strCache>
                      <c:ptCount val="1"/>
                      <c:pt idx="0">
                        <c:v> Total Volume on E-Warehouse receipt</c:v>
                      </c:pt>
                    </c:strCache>
                  </c:strRef>
                </c:tx>
                <c:spPr>
                  <a:solidFill>
                    <a:schemeClr val="accent4"/>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xmlns:c15="http://schemas.microsoft.com/office/drawing/2012/char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extLst xmlns:c16r2="http://schemas.microsoft.com/office/drawing/2015/06/chart" xmlns:c15="http://schemas.microsoft.com/office/drawing/2012/chart">
                      <c:ext xmlns:c15="http://schemas.microsoft.com/office/drawing/2012/chart" uri="{02D57815-91ED-43cb-92C2-25804820EDAC}">
                        <c15:formulaRef>
                          <c15:sqref>Sheet1!$C$3:$J$3</c15:sqref>
                        </c15:formulaRef>
                      </c:ext>
                    </c:extLst>
                    <c:strCache>
                      <c:ptCount val="8"/>
                      <c:pt idx="0">
                        <c:v>Jan</c:v>
                      </c:pt>
                      <c:pt idx="1">
                        <c:v>Feb</c:v>
                      </c:pt>
                      <c:pt idx="2">
                        <c:v>Mar</c:v>
                      </c:pt>
                      <c:pt idx="3">
                        <c:v>Apr</c:v>
                      </c:pt>
                      <c:pt idx="4">
                        <c:v>May</c:v>
                      </c:pt>
                      <c:pt idx="5">
                        <c:v>Jun</c:v>
                      </c:pt>
                      <c:pt idx="6">
                        <c:v>Jul</c:v>
                      </c:pt>
                      <c:pt idx="7">
                        <c:v>Total</c:v>
                      </c:pt>
                    </c:strCache>
                  </c:strRef>
                </c:cat>
                <c:val>
                  <c:numRef>
                    <c:extLst xmlns:c16r2="http://schemas.microsoft.com/office/drawing/2015/06/chart" xmlns:c15="http://schemas.microsoft.com/office/drawing/2012/chart">
                      <c:ext xmlns:c15="http://schemas.microsoft.com/office/drawing/2012/chart" uri="{02D57815-91ED-43cb-92C2-25804820EDAC}">
                        <c15:formulaRef>
                          <c15:sqref>Sheet1!$C$7:$J$7</c15:sqref>
                        </c15:formulaRef>
                      </c:ext>
                    </c:extLst>
                    <c:numCache>
                      <c:formatCode>_(* #,##0.00_);_(* \(#,##0.00\);_(* "-"??_);_(@_)</c:formatCode>
                      <c:ptCount val="8"/>
                      <c:pt idx="0">
                        <c:v>3179</c:v>
                      </c:pt>
                      <c:pt idx="1">
                        <c:v>13970.683999999999</c:v>
                      </c:pt>
                      <c:pt idx="2">
                        <c:v>12528.974</c:v>
                      </c:pt>
                      <c:pt idx="3">
                        <c:v>9214.3340000000007</c:v>
                      </c:pt>
                      <c:pt idx="4">
                        <c:v>5023.7013599999973</c:v>
                      </c:pt>
                      <c:pt idx="5">
                        <c:v>5023.7013599999973</c:v>
                      </c:pt>
                      <c:pt idx="6">
                        <c:v>1281.0700222222204</c:v>
                      </c:pt>
                      <c:pt idx="7">
                        <c:v>50221.464742222226</c:v>
                      </c:pt>
                    </c:numCache>
                  </c:numRef>
                </c:val>
                <c:extLst xmlns:c16r2="http://schemas.microsoft.com/office/drawing/2015/06/chart" xmlns:c15="http://schemas.microsoft.com/office/drawing/2012/chart">
                  <c:ext xmlns:c16="http://schemas.microsoft.com/office/drawing/2014/chart" uri="{C3380CC4-5D6E-409C-BE32-E72D297353CC}">
                    <c16:uniqueId val="{00000003-9D22-4E1C-8399-81DF6031BFBA}"/>
                  </c:ext>
                </c:extLst>
              </c15:ser>
            </c15:filteredBarSeries>
          </c:ext>
        </c:extLst>
      </c:barChart>
      <c:catAx>
        <c:axId val="103629568"/>
        <c:scaling>
          <c:orientation val="minMax"/>
        </c:scaling>
        <c:axPos val="b"/>
        <c:numFmt formatCode="mmm" sourceLinked="0"/>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cap="all" spc="120" normalizeH="0" baseline="0">
                <a:solidFill>
                  <a:schemeClr val="tx1">
                    <a:lumMod val="65000"/>
                    <a:lumOff val="35000"/>
                  </a:schemeClr>
                </a:solidFill>
                <a:latin typeface="+mn-lt"/>
                <a:ea typeface="+mn-ea"/>
                <a:cs typeface="+mn-cs"/>
              </a:defRPr>
            </a:pPr>
            <a:endParaRPr lang="en-US"/>
          </a:p>
        </c:txPr>
        <c:crossAx val="103631104"/>
        <c:crosses val="autoZero"/>
        <c:auto val="1"/>
        <c:lblAlgn val="ctr"/>
        <c:lblOffset val="100"/>
      </c:catAx>
      <c:valAx>
        <c:axId val="103631104"/>
        <c:scaling>
          <c:orientation val="minMax"/>
        </c:scaling>
        <c:delete val="1"/>
        <c:axPos val="l"/>
        <c:numFmt formatCode="_(* #,##0.00_);_(* \(#,##0.00\);_(* &quot;-&quot;??_);_(@_)" sourceLinked="1"/>
        <c:majorTickMark val="none"/>
        <c:tickLblPos val="nextTo"/>
        <c:crossAx val="103629568"/>
        <c:crosses val="autoZero"/>
        <c:crossBetween val="between"/>
      </c:valAx>
      <c:spPr>
        <a:noFill/>
        <a:ln>
          <a:noFill/>
        </a:ln>
        <a:effectLst/>
      </c:spPr>
    </c:plotArea>
    <c:plotVisOnly val="1"/>
    <c:dispBlanksAs val="gap"/>
  </c:chart>
  <c:spPr>
    <a:noFill/>
    <a:ln>
      <a:solidFill>
        <a:srgbClr val="C00000"/>
      </a:solidFill>
    </a:ln>
    <a:effectLst/>
  </c:spPr>
  <c:txPr>
    <a:bodyPr/>
    <a:lstStyle/>
    <a:p>
      <a:pPr>
        <a:defRPr/>
      </a:pPr>
      <a:endParaRPr lang="en-US"/>
    </a:p>
  </c:txPr>
  <c:externalData r:id="rId2"/>
</c:chartSpace>
</file>

<file path=ppt/charts/chart4.xml><?xml version="1.0" encoding="utf-8"?>
<c:chartSpace xmlns:c="http://schemas.openxmlformats.org/drawingml/2006/chart" xmlns:a="http://schemas.openxmlformats.org/drawingml/2006/main" xmlns:r="http://schemas.openxmlformats.org/officeDocument/2006/relationships">
  <c:lang val="en-US"/>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lang="en-US" sz="1200" b="1" i="0" u="none" strike="noStrike" kern="1200" cap="none" spc="120" normalizeH="0" baseline="0" dirty="0">
                <a:solidFill>
                  <a:prstClr val="black">
                    <a:lumMod val="65000"/>
                    <a:lumOff val="35000"/>
                  </a:prstClr>
                </a:solidFill>
                <a:latin typeface="+mn-lt"/>
                <a:ea typeface="+mn-ea"/>
                <a:cs typeface="+mn-cs"/>
              </a:defRPr>
            </a:pPr>
            <a:r>
              <a:rPr lang="en-US" sz="1200" b="1" i="0" u="none" strike="noStrike" kern="1200" cap="none" spc="120" normalizeH="0" baseline="0" dirty="0">
                <a:solidFill>
                  <a:prstClr val="black">
                    <a:lumMod val="65000"/>
                    <a:lumOff val="35000"/>
                  </a:prstClr>
                </a:solidFill>
                <a:latin typeface="+mn-lt"/>
                <a:ea typeface="+mn-ea"/>
                <a:cs typeface="+mn-cs"/>
              </a:rPr>
              <a:t>Number of Transactions</a:t>
            </a:r>
          </a:p>
        </c:rich>
      </c:tx>
      <c:layout/>
      <c:spPr>
        <a:noFill/>
        <a:ln>
          <a:noFill/>
        </a:ln>
        <a:effectLst/>
      </c:spPr>
    </c:title>
    <c:plotArea>
      <c:layout/>
      <c:barChart>
        <c:barDir val="col"/>
        <c:grouping val="clustered"/>
        <c:ser>
          <c:idx val="2"/>
          <c:order val="0"/>
          <c:tx>
            <c:strRef>
              <c:f>Sheet1!$B$6</c:f>
              <c:strCache>
                <c:ptCount val="1"/>
                <c:pt idx="0">
                  <c:v>Number of Deals</c:v>
                </c:pt>
              </c:strCache>
              <c:extLst xmlns:c15="http://schemas.microsoft.com/office/drawing/2012/chart" xmlns:c16r2="http://schemas.microsoft.com/office/drawing/2015/06/chart"/>
            </c:strRef>
          </c:tx>
          <c:spPr>
            <a:solidFill>
              <a:schemeClr val="accent3"/>
            </a:solidFill>
            <a:ln>
              <a:noFill/>
            </a:ln>
            <a:effectLst/>
          </c:spPr>
          <c:dLbls>
            <c:numFmt formatCode="#,##0" sourceLinked="0"/>
            <c:spPr>
              <a:noFill/>
              <a:ln>
                <a:noFill/>
              </a:ln>
              <a:effectLst/>
            </c:spPr>
            <c:txPr>
              <a:bodyPr rot="0" spcFirstLastPara="1" vertOverflow="clip" horzOverflow="clip" vert="horz" wrap="square" lIns="38100" tIns="19050" rIns="38100" bIns="19050" anchor="ctr" anchorCtr="1">
                <a:spAutoFit/>
              </a:bodyPr>
              <a:lstStyle/>
              <a:p>
                <a:pPr>
                  <a:defRPr sz="1000" b="1" i="0" u="none" strike="noStrike" kern="1200" baseline="0">
                    <a:solidFill>
                      <a:schemeClr val="tx1">
                        <a:lumMod val="50000"/>
                        <a:lumOff val="50000"/>
                      </a:schemeClr>
                    </a:solidFill>
                    <a:latin typeface="+mn-lt"/>
                    <a:ea typeface="+mn-ea"/>
                    <a:cs typeface="+mn-cs"/>
                  </a:defRPr>
                </a:pPr>
                <a:endParaRPr lang="en-US"/>
              </a:p>
            </c:txPr>
            <c:showVal val="1"/>
            <c:extLst xmlns:c15="http://schemas.microsoft.com/office/drawing/2012/chart" xmlns:c16r2="http://schemas.microsoft.com/office/drawing/2015/06/char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Sheet1!$C$3:$J$3</c:f>
              <c:strCache>
                <c:ptCount val="8"/>
                <c:pt idx="0">
                  <c:v>Jan</c:v>
                </c:pt>
                <c:pt idx="1">
                  <c:v>Feb</c:v>
                </c:pt>
                <c:pt idx="2">
                  <c:v>Mar</c:v>
                </c:pt>
                <c:pt idx="3">
                  <c:v>Apr</c:v>
                </c:pt>
                <c:pt idx="4">
                  <c:v>May</c:v>
                </c:pt>
                <c:pt idx="5">
                  <c:v>Jun</c:v>
                </c:pt>
                <c:pt idx="6">
                  <c:v>Jul</c:v>
                </c:pt>
                <c:pt idx="7">
                  <c:v>Total</c:v>
                </c:pt>
              </c:strCache>
              <c:extLst xmlns:c15="http://schemas.microsoft.com/office/drawing/2012/chart" xmlns:c16r2="http://schemas.microsoft.com/office/drawing/2015/06/chart"/>
            </c:strRef>
          </c:cat>
          <c:val>
            <c:numRef>
              <c:f>Sheet1!$C$6:$J$6</c:f>
              <c:numCache>
                <c:formatCode>_(* #,##0.00_);_(* \(#,##0.00\);_(* "-"??_);_(@_)</c:formatCode>
                <c:ptCount val="8"/>
                <c:pt idx="0">
                  <c:v>359</c:v>
                </c:pt>
                <c:pt idx="1">
                  <c:v>908</c:v>
                </c:pt>
                <c:pt idx="2">
                  <c:v>671</c:v>
                </c:pt>
                <c:pt idx="3">
                  <c:v>248</c:v>
                </c:pt>
                <c:pt idx="4">
                  <c:v>1017</c:v>
                </c:pt>
                <c:pt idx="5">
                  <c:v>1032</c:v>
                </c:pt>
                <c:pt idx="6">
                  <c:v>370</c:v>
                </c:pt>
                <c:pt idx="7">
                  <c:v>4605</c:v>
                </c:pt>
              </c:numCache>
              <c:extLst xmlns:c15="http://schemas.microsoft.com/office/drawing/2012/chart" xmlns:c16r2="http://schemas.microsoft.com/office/drawing/2015/06/chart"/>
            </c:numRef>
          </c:val>
          <c:extLst xmlns:c15="http://schemas.microsoft.com/office/drawing/2012/chart" xmlns:c16r2="http://schemas.microsoft.com/office/drawing/2015/06/chart">
            <c:ext xmlns:c16="http://schemas.microsoft.com/office/drawing/2014/chart" uri="{C3380CC4-5D6E-409C-BE32-E72D297353CC}">
              <c16:uniqueId val="{00000002-9D22-4E1C-8399-81DF6031BFBA}"/>
            </c:ext>
          </c:extLst>
        </c:ser>
        <c:dLbls>
          <c:showVal val="1"/>
        </c:dLbls>
        <c:overlap val="-25"/>
        <c:axId val="103627776"/>
        <c:axId val="105116416"/>
        <c:extLst xmlns:c16r2="http://schemas.microsoft.com/office/drawing/2015/06/chart">
          <c:ext xmlns:c15="http://schemas.microsoft.com/office/drawing/2012/chart" uri="{02D57815-91ED-43cb-92C2-25804820EDAC}">
            <c15:filteredBarSeries>
              <c15:ser>
                <c:idx val="0"/>
                <c:order val="0"/>
                <c:tx>
                  <c:strRef>
                    <c:extLst xmlns:c16r2="http://schemas.microsoft.com/office/drawing/2015/06/chart">
                      <c:ext uri="{02D57815-91ED-43cb-92C2-25804820EDAC}">
                        <c15:formulaRef>
                          <c15:sqref>Sheet1!$B$4</c15:sqref>
                        </c15:formulaRef>
                      </c:ext>
                    </c:extLst>
                    <c:strCache>
                      <c:ptCount val="1"/>
                      <c:pt idx="0">
                        <c:v>Market Capitalization (Naira)</c:v>
                      </c:pt>
                    </c:strCache>
                  </c:strRef>
                </c:tx>
                <c:spPr>
                  <a:solidFill>
                    <a:schemeClr val="accent1"/>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uri="{CE6537A1-D6FC-4f65-9D91-7224C49458BB}">
                      <c15:showLeaderLines val="1"/>
                      <c15:leaderLines>
                        <c:spPr>
                          <a:ln w="9525">
                            <a:solidFill>
                              <a:schemeClr val="tx1">
                                <a:lumMod val="35000"/>
                                <a:lumOff val="65000"/>
                              </a:schemeClr>
                            </a:solidFill>
                          </a:ln>
                          <a:effectLst/>
                        </c:spPr>
                      </c15:leaderLines>
                    </c:ext>
                  </c:extLst>
                </c:dLbls>
                <c:cat>
                  <c:strRef>
                    <c:extLst xmlns:c16r2="http://schemas.microsoft.com/office/drawing/2015/06/chart">
                      <c:ext uri="{02D57815-91ED-43cb-92C2-25804820EDAC}">
                        <c15:formulaRef>
                          <c15:sqref>Sheet1!$C$3:$J$3</c15:sqref>
                        </c15:formulaRef>
                      </c:ext>
                    </c:extLst>
                    <c:strCache>
                      <c:ptCount val="8"/>
                      <c:pt idx="0">
                        <c:v>Jan</c:v>
                      </c:pt>
                      <c:pt idx="1">
                        <c:v>Feb</c:v>
                      </c:pt>
                      <c:pt idx="2">
                        <c:v>Mar</c:v>
                      </c:pt>
                      <c:pt idx="3">
                        <c:v>Apr</c:v>
                      </c:pt>
                      <c:pt idx="4">
                        <c:v>May</c:v>
                      </c:pt>
                      <c:pt idx="5">
                        <c:v>Jun</c:v>
                      </c:pt>
                      <c:pt idx="6">
                        <c:v>Jul</c:v>
                      </c:pt>
                      <c:pt idx="7">
                        <c:v>Total</c:v>
                      </c:pt>
                    </c:strCache>
                  </c:strRef>
                </c:cat>
                <c:val>
                  <c:numRef>
                    <c:extLst xmlns:c16r2="http://schemas.microsoft.com/office/drawing/2015/06/chart">
                      <c:ext uri="{02D57815-91ED-43cb-92C2-25804820EDAC}">
                        <c15:formulaRef>
                          <c15:sqref>Sheet1!$C$4:$J$4</c15:sqref>
                        </c15:formulaRef>
                      </c:ext>
                    </c:extLst>
                    <c:numCache>
                      <c:formatCode>_(* #,##0.00_);_(* \(#,##0.00\);_(* "-"??_);_(@_)</c:formatCode>
                      <c:ptCount val="8"/>
                      <c:pt idx="0">
                        <c:v>691949310.54000068</c:v>
                      </c:pt>
                      <c:pt idx="1">
                        <c:v>1992999429.8972402</c:v>
                      </c:pt>
                      <c:pt idx="2">
                        <c:v>426659118.39999998</c:v>
                      </c:pt>
                      <c:pt idx="3">
                        <c:v>47369676.822009996</c:v>
                      </c:pt>
                      <c:pt idx="4">
                        <c:v>396955798.99978</c:v>
                      </c:pt>
                      <c:pt idx="5">
                        <c:v>396955798.99978</c:v>
                      </c:pt>
                      <c:pt idx="6">
                        <c:v>232186214.65680006</c:v>
                      </c:pt>
                      <c:pt idx="7">
                        <c:v>4185075348.3156114</c:v>
                      </c:pt>
                    </c:numCache>
                  </c:numRef>
                </c:val>
                <c:extLst xmlns:c16r2="http://schemas.microsoft.com/office/drawing/2015/06/chart">
                  <c:ext xmlns:c16="http://schemas.microsoft.com/office/drawing/2014/chart" uri="{C3380CC4-5D6E-409C-BE32-E72D297353CC}">
                    <c16:uniqueId val="{00000001-9D22-4E1C-8399-81DF6031BFBA}"/>
                  </c:ext>
                </c:extLst>
              </c15:ser>
            </c15:filteredBarSeries>
            <c15:filteredBarSeries>
              <c15:ser>
                <c:idx val="1"/>
                <c:order val="1"/>
                <c:tx>
                  <c:strRef>
                    <c:extLst xmlns:c16r2="http://schemas.microsoft.com/office/drawing/2015/06/chart" xmlns:c15="http://schemas.microsoft.com/office/drawing/2012/chart">
                      <c:ext xmlns:c15="http://schemas.microsoft.com/office/drawing/2012/chart" uri="{02D57815-91ED-43cb-92C2-25804820EDAC}">
                        <c15:formulaRef>
                          <c15:sqref>Sheet1!$B$5</c15:sqref>
                        </c15:formulaRef>
                      </c:ext>
                    </c:extLst>
                    <c:strCache>
                      <c:ptCount val="1"/>
                      <c:pt idx="0">
                        <c:v>Total Quantity Traded</c:v>
                      </c:pt>
                    </c:strCache>
                  </c:strRef>
                </c:tx>
                <c:spPr>
                  <a:solidFill>
                    <a:schemeClr val="accent2"/>
                  </a:solidFill>
                  <a:ln>
                    <a:noFill/>
                  </a:ln>
                  <a:effectLst/>
                </c:spPr>
                <c:invertIfNegative val="0"/>
                <c:dLbls>
                  <c:numFmt formatCode="#,##0.00," sourceLinked="0"/>
                  <c:spPr>
                    <a:noFill/>
                    <a:ln>
                      <a:noFill/>
                    </a:ln>
                    <a:effectLst/>
                  </c:spPr>
                  <c:txPr>
                    <a:bodyPr rot="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xmlns:c15="http://schemas.microsoft.com/office/drawing/2012/char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extLst xmlns:c16r2="http://schemas.microsoft.com/office/drawing/2015/06/chart" xmlns:c15="http://schemas.microsoft.com/office/drawing/2012/chart">
                      <c:ext xmlns:c15="http://schemas.microsoft.com/office/drawing/2012/chart" uri="{02D57815-91ED-43cb-92C2-25804820EDAC}">
                        <c15:formulaRef>
                          <c15:sqref>Sheet1!$C$3:$J$3</c15:sqref>
                        </c15:formulaRef>
                      </c:ext>
                    </c:extLst>
                    <c:strCache>
                      <c:ptCount val="8"/>
                      <c:pt idx="0">
                        <c:v>Jan</c:v>
                      </c:pt>
                      <c:pt idx="1">
                        <c:v>Feb</c:v>
                      </c:pt>
                      <c:pt idx="2">
                        <c:v>Mar</c:v>
                      </c:pt>
                      <c:pt idx="3">
                        <c:v>Apr</c:v>
                      </c:pt>
                      <c:pt idx="4">
                        <c:v>May</c:v>
                      </c:pt>
                      <c:pt idx="5">
                        <c:v>Jun</c:v>
                      </c:pt>
                      <c:pt idx="6">
                        <c:v>Jul</c:v>
                      </c:pt>
                      <c:pt idx="7">
                        <c:v>Total</c:v>
                      </c:pt>
                    </c:strCache>
                  </c:strRef>
                </c:cat>
                <c:val>
                  <c:numRef>
                    <c:extLst xmlns:c16r2="http://schemas.microsoft.com/office/drawing/2015/06/chart" xmlns:c15="http://schemas.microsoft.com/office/drawing/2012/chart">
                      <c:ext xmlns:c15="http://schemas.microsoft.com/office/drawing/2012/chart" uri="{02D57815-91ED-43cb-92C2-25804820EDAC}">
                        <c15:formulaRef>
                          <c15:sqref>Sheet1!$C$5:$J$5</c15:sqref>
                        </c15:formulaRef>
                      </c:ext>
                    </c:extLst>
                    <c:numCache>
                      <c:formatCode>_(* #,##0.00_);_(* \(#,##0.00\);_(* "-"??_);_(@_)</c:formatCode>
                      <c:ptCount val="8"/>
                      <c:pt idx="0">
                        <c:v>4512.6420000000071</c:v>
                      </c:pt>
                      <c:pt idx="1">
                        <c:v>13436.870000000023</c:v>
                      </c:pt>
                      <c:pt idx="2">
                        <c:v>2558.5750000000007</c:v>
                      </c:pt>
                      <c:pt idx="3">
                        <c:v>301.68499999999989</c:v>
                      </c:pt>
                      <c:pt idx="4">
                        <c:v>2784.8209999999999</c:v>
                      </c:pt>
                      <c:pt idx="5">
                        <c:v>2794.8209999999999</c:v>
                      </c:pt>
                      <c:pt idx="6">
                        <c:v>1455.2259999999999</c:v>
                      </c:pt>
                      <c:pt idx="7">
                        <c:v>27844.640000000032</c:v>
                      </c:pt>
                    </c:numCache>
                  </c:numRef>
                </c:val>
                <c:extLst xmlns:c16r2="http://schemas.microsoft.com/office/drawing/2015/06/chart" xmlns:c15="http://schemas.microsoft.com/office/drawing/2012/chart">
                  <c:ext xmlns:c16="http://schemas.microsoft.com/office/drawing/2014/chart" uri="{C3380CC4-5D6E-409C-BE32-E72D297353CC}">
                    <c16:uniqueId val="{00000000-9D22-4E1C-8399-81DF6031BFBA}"/>
                  </c:ext>
                </c:extLst>
              </c15:ser>
            </c15:filteredBarSeries>
            <c15:filteredBarSeries>
              <c15:ser>
                <c:idx val="3"/>
                <c:order val="3"/>
                <c:tx>
                  <c:strRef>
                    <c:extLst xmlns:c16r2="http://schemas.microsoft.com/office/drawing/2015/06/chart" xmlns:c15="http://schemas.microsoft.com/office/drawing/2012/chart">
                      <c:ext xmlns:c15="http://schemas.microsoft.com/office/drawing/2012/chart" uri="{02D57815-91ED-43cb-92C2-25804820EDAC}">
                        <c15:formulaRef>
                          <c15:sqref>Sheet1!$B$7</c15:sqref>
                        </c15:formulaRef>
                      </c:ext>
                    </c:extLst>
                    <c:strCache>
                      <c:ptCount val="1"/>
                      <c:pt idx="0">
                        <c:v> Total Volume on E-Warehouse receipt</c:v>
                      </c:pt>
                    </c:strCache>
                  </c:strRef>
                </c:tx>
                <c:spPr>
                  <a:solidFill>
                    <a:schemeClr val="accent4"/>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800" b="0" i="0" u="none" strike="noStrike" kern="1200" baseline="0">
                          <a:solidFill>
                            <a:schemeClr val="tx1">
                              <a:lumMod val="50000"/>
                              <a:lumOff val="50000"/>
                            </a:schemeClr>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xmlns:c15="http://schemas.microsoft.com/office/drawing/2012/char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extLst xmlns:c16r2="http://schemas.microsoft.com/office/drawing/2015/06/chart" xmlns:c15="http://schemas.microsoft.com/office/drawing/2012/chart">
                      <c:ext xmlns:c15="http://schemas.microsoft.com/office/drawing/2012/chart" uri="{02D57815-91ED-43cb-92C2-25804820EDAC}">
                        <c15:formulaRef>
                          <c15:sqref>Sheet1!$C$3:$J$3</c15:sqref>
                        </c15:formulaRef>
                      </c:ext>
                    </c:extLst>
                    <c:strCache>
                      <c:ptCount val="8"/>
                      <c:pt idx="0">
                        <c:v>Jan</c:v>
                      </c:pt>
                      <c:pt idx="1">
                        <c:v>Feb</c:v>
                      </c:pt>
                      <c:pt idx="2">
                        <c:v>Mar</c:v>
                      </c:pt>
                      <c:pt idx="3">
                        <c:v>Apr</c:v>
                      </c:pt>
                      <c:pt idx="4">
                        <c:v>May</c:v>
                      </c:pt>
                      <c:pt idx="5">
                        <c:v>Jun</c:v>
                      </c:pt>
                      <c:pt idx="6">
                        <c:v>Jul</c:v>
                      </c:pt>
                      <c:pt idx="7">
                        <c:v>Total</c:v>
                      </c:pt>
                    </c:strCache>
                  </c:strRef>
                </c:cat>
                <c:val>
                  <c:numRef>
                    <c:extLst xmlns:c16r2="http://schemas.microsoft.com/office/drawing/2015/06/chart" xmlns:c15="http://schemas.microsoft.com/office/drawing/2012/chart">
                      <c:ext xmlns:c15="http://schemas.microsoft.com/office/drawing/2012/chart" uri="{02D57815-91ED-43cb-92C2-25804820EDAC}">
                        <c15:formulaRef>
                          <c15:sqref>Sheet1!$C$7:$J$7</c15:sqref>
                        </c15:formulaRef>
                      </c:ext>
                    </c:extLst>
                    <c:numCache>
                      <c:formatCode>_(* #,##0.00_);_(* \(#,##0.00\);_(* "-"??_);_(@_)</c:formatCode>
                      <c:ptCount val="8"/>
                      <c:pt idx="0">
                        <c:v>3179</c:v>
                      </c:pt>
                      <c:pt idx="1">
                        <c:v>13970.683999999999</c:v>
                      </c:pt>
                      <c:pt idx="2">
                        <c:v>12528.974</c:v>
                      </c:pt>
                      <c:pt idx="3">
                        <c:v>9214.3340000000007</c:v>
                      </c:pt>
                      <c:pt idx="4">
                        <c:v>5023.7013599999973</c:v>
                      </c:pt>
                      <c:pt idx="5">
                        <c:v>5023.7013599999973</c:v>
                      </c:pt>
                      <c:pt idx="6">
                        <c:v>1281.0700222222204</c:v>
                      </c:pt>
                      <c:pt idx="7">
                        <c:v>50221.464742222226</c:v>
                      </c:pt>
                    </c:numCache>
                  </c:numRef>
                </c:val>
                <c:extLst xmlns:c16r2="http://schemas.microsoft.com/office/drawing/2015/06/chart" xmlns:c15="http://schemas.microsoft.com/office/drawing/2012/chart">
                  <c:ext xmlns:c16="http://schemas.microsoft.com/office/drawing/2014/chart" uri="{C3380CC4-5D6E-409C-BE32-E72D297353CC}">
                    <c16:uniqueId val="{00000003-9D22-4E1C-8399-81DF6031BFBA}"/>
                  </c:ext>
                </c:extLst>
              </c15:ser>
            </c15:filteredBarSeries>
          </c:ext>
        </c:extLst>
      </c:barChart>
      <c:catAx>
        <c:axId val="103627776"/>
        <c:scaling>
          <c:orientation val="minMax"/>
        </c:scaling>
        <c:axPos val="b"/>
        <c:numFmt formatCode="mmm" sourceLinked="0"/>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cap="all" spc="120" normalizeH="0" baseline="0">
                <a:solidFill>
                  <a:schemeClr val="tx1">
                    <a:lumMod val="65000"/>
                    <a:lumOff val="35000"/>
                  </a:schemeClr>
                </a:solidFill>
                <a:latin typeface="+mn-lt"/>
                <a:ea typeface="+mn-ea"/>
                <a:cs typeface="+mn-cs"/>
              </a:defRPr>
            </a:pPr>
            <a:endParaRPr lang="en-US"/>
          </a:p>
        </c:txPr>
        <c:crossAx val="105116416"/>
        <c:crosses val="autoZero"/>
        <c:auto val="1"/>
        <c:lblAlgn val="ctr"/>
        <c:lblOffset val="100"/>
      </c:catAx>
      <c:valAx>
        <c:axId val="105116416"/>
        <c:scaling>
          <c:orientation val="minMax"/>
        </c:scaling>
        <c:delete val="1"/>
        <c:axPos val="l"/>
        <c:numFmt formatCode="_(* #,##0.00_);_(* \(#,##0.00\);_(* &quot;-&quot;??_);_(@_)" sourceLinked="1"/>
        <c:majorTickMark val="none"/>
        <c:tickLblPos val="nextTo"/>
        <c:crossAx val="103627776"/>
        <c:crosses val="autoZero"/>
        <c:crossBetween val="between"/>
      </c:valAx>
      <c:spPr>
        <a:noFill/>
        <a:ln>
          <a:noFill/>
        </a:ln>
        <a:effectLst/>
      </c:spPr>
    </c:plotArea>
    <c:plotVisOnly val="1"/>
    <c:dispBlanksAs val="gap"/>
  </c:chart>
  <c:spPr>
    <a:noFill/>
    <a:ln>
      <a:solidFill>
        <a:srgbClr val="C00000"/>
      </a:solidFill>
    </a:ln>
    <a:effectLst/>
  </c:spPr>
  <c:txPr>
    <a:bodyPr/>
    <a:lstStyle/>
    <a:p>
      <a:pPr>
        <a:defRPr/>
      </a:pPr>
      <a:endParaRPr lang="en-US"/>
    </a:p>
  </c:txPr>
  <c:externalData r:id="rId2"/>
</c:chartSpace>
</file>

<file path=ppt/charts/chart5.xml><?xml version="1.0" encoding="utf-8"?>
<c:chartSpace xmlns:c="http://schemas.openxmlformats.org/drawingml/2006/chart" xmlns:a="http://schemas.openxmlformats.org/drawingml/2006/main" xmlns:r="http://schemas.openxmlformats.org/officeDocument/2006/relationships">
  <c:lang val="en-US"/>
  <c:style val="8"/>
  <c:chart>
    <c:plotArea>
      <c:layout/>
      <c:barChart>
        <c:barDir val="col"/>
        <c:grouping val="clustered"/>
        <c:ser>
          <c:idx val="0"/>
          <c:order val="0"/>
          <c:tx>
            <c:strRef>
              <c:f>Sheet1!$B$96</c:f>
              <c:strCache>
                <c:ptCount val="1"/>
                <c:pt idx="0">
                  <c:v>Max Price</c:v>
                </c:pt>
              </c:strCache>
            </c:strRef>
          </c:tx>
          <c:spPr>
            <a:solidFill>
              <a:schemeClr val="accent6">
                <a:tint val="65000"/>
              </a:schemeClr>
            </a:solidFill>
            <a:ln>
              <a:noFill/>
            </a:ln>
            <a:effectLst/>
          </c:spPr>
          <c:cat>
            <c:strRef>
              <c:f>Sheet1!$C$95:$I$95</c:f>
              <c:strCache>
                <c:ptCount val="7"/>
                <c:pt idx="0">
                  <c:v>January</c:v>
                </c:pt>
                <c:pt idx="1">
                  <c:v>February</c:v>
                </c:pt>
                <c:pt idx="2">
                  <c:v>March</c:v>
                </c:pt>
                <c:pt idx="3">
                  <c:v>April</c:v>
                </c:pt>
                <c:pt idx="4">
                  <c:v>May</c:v>
                </c:pt>
                <c:pt idx="5">
                  <c:v>June</c:v>
                </c:pt>
                <c:pt idx="6">
                  <c:v>July</c:v>
                </c:pt>
              </c:strCache>
            </c:strRef>
          </c:cat>
          <c:val>
            <c:numRef>
              <c:f>Sheet1!$C$96:$I$96</c:f>
              <c:numCache>
                <c:formatCode>_(* #,##0.00_);_(* \(#,##0.00\);_(* "-"??_);_(@_)</c:formatCode>
                <c:ptCount val="7"/>
                <c:pt idx="0">
                  <c:v>165000</c:v>
                </c:pt>
                <c:pt idx="1">
                  <c:v>165000</c:v>
                </c:pt>
                <c:pt idx="2">
                  <c:v>165000</c:v>
                </c:pt>
                <c:pt idx="3">
                  <c:v>145000</c:v>
                </c:pt>
                <c:pt idx="4">
                  <c:v>120000</c:v>
                </c:pt>
                <c:pt idx="5">
                  <c:v>165000</c:v>
                </c:pt>
                <c:pt idx="6">
                  <c:v>145000</c:v>
                </c:pt>
              </c:numCache>
            </c:numRef>
          </c:val>
        </c:ser>
        <c:ser>
          <c:idx val="2"/>
          <c:order val="2"/>
          <c:tx>
            <c:strRef>
              <c:f>Sheet1!$B$98</c:f>
              <c:strCache>
                <c:ptCount val="1"/>
                <c:pt idx="0">
                  <c:v>Min Price</c:v>
                </c:pt>
              </c:strCache>
            </c:strRef>
          </c:tx>
          <c:spPr>
            <a:solidFill>
              <a:schemeClr val="accent6">
                <a:shade val="65000"/>
              </a:schemeClr>
            </a:solidFill>
            <a:ln>
              <a:noFill/>
            </a:ln>
            <a:effectLst/>
          </c:spPr>
          <c:cat>
            <c:strRef>
              <c:f>Sheet1!$C$95:$I$95</c:f>
              <c:strCache>
                <c:ptCount val="7"/>
                <c:pt idx="0">
                  <c:v>January</c:v>
                </c:pt>
                <c:pt idx="1">
                  <c:v>February</c:v>
                </c:pt>
                <c:pt idx="2">
                  <c:v>March</c:v>
                </c:pt>
                <c:pt idx="3">
                  <c:v>April</c:v>
                </c:pt>
                <c:pt idx="4">
                  <c:v>May</c:v>
                </c:pt>
                <c:pt idx="5">
                  <c:v>June</c:v>
                </c:pt>
                <c:pt idx="6">
                  <c:v>July</c:v>
                </c:pt>
              </c:strCache>
            </c:strRef>
          </c:cat>
          <c:val>
            <c:numRef>
              <c:f>Sheet1!$C$98:$I$98</c:f>
              <c:numCache>
                <c:formatCode>_(* #,##0.00_);_(* \(#,##0.00\);_(* "-"??_);_(@_)</c:formatCode>
                <c:ptCount val="7"/>
                <c:pt idx="0" formatCode="_-* #,##0.00_-;\-* #,##0.00_-;_-* &quot;-&quot;??_-;_-@_-">
                  <c:v>113999.99999999999</c:v>
                </c:pt>
                <c:pt idx="1">
                  <c:v>105000</c:v>
                </c:pt>
                <c:pt idx="2">
                  <c:v>105000</c:v>
                </c:pt>
                <c:pt idx="3">
                  <c:v>110000</c:v>
                </c:pt>
                <c:pt idx="4">
                  <c:v>110000</c:v>
                </c:pt>
                <c:pt idx="5">
                  <c:v>130000</c:v>
                </c:pt>
                <c:pt idx="6">
                  <c:v>135000</c:v>
                </c:pt>
              </c:numCache>
            </c:numRef>
          </c:val>
        </c:ser>
        <c:dLbls/>
        <c:axId val="110741760"/>
        <c:axId val="110751744"/>
      </c:barChart>
      <c:lineChart>
        <c:grouping val="standard"/>
        <c:ser>
          <c:idx val="1"/>
          <c:order val="1"/>
          <c:tx>
            <c:strRef>
              <c:f>Sheet1!$B$97</c:f>
              <c:strCache>
                <c:ptCount val="1"/>
                <c:pt idx="0">
                  <c:v>Spread</c:v>
                </c:pt>
              </c:strCache>
            </c:strRef>
          </c:tx>
          <c:spPr>
            <a:ln w="28575" cap="rnd">
              <a:solidFill>
                <a:schemeClr val="accent2"/>
              </a:solidFill>
              <a:prstDash val="dash"/>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mn-lt"/>
                    <a:ea typeface="+mn-ea"/>
                    <a:cs typeface="+mn-cs"/>
                  </a:defRPr>
                </a:pPr>
                <a:endParaRPr lang="en-US"/>
              </a:p>
            </c:txPr>
            <c:showVal val="1"/>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C$95:$I$95</c:f>
              <c:strCache>
                <c:ptCount val="7"/>
                <c:pt idx="0">
                  <c:v>January</c:v>
                </c:pt>
                <c:pt idx="1">
                  <c:v>February</c:v>
                </c:pt>
                <c:pt idx="2">
                  <c:v>March</c:v>
                </c:pt>
                <c:pt idx="3">
                  <c:v>April</c:v>
                </c:pt>
                <c:pt idx="4">
                  <c:v>May</c:v>
                </c:pt>
                <c:pt idx="5">
                  <c:v>June</c:v>
                </c:pt>
                <c:pt idx="6">
                  <c:v>July</c:v>
                </c:pt>
              </c:strCache>
            </c:strRef>
          </c:cat>
          <c:val>
            <c:numRef>
              <c:f>Sheet1!$C$97:$I$97</c:f>
              <c:numCache>
                <c:formatCode>_-* #,##0.00_-;\-* #,##0.00_-;_-* "-"??_-;_-@_-</c:formatCode>
                <c:ptCount val="7"/>
                <c:pt idx="0">
                  <c:v>51000.000000000015</c:v>
                </c:pt>
                <c:pt idx="1">
                  <c:v>60000</c:v>
                </c:pt>
                <c:pt idx="2">
                  <c:v>60000</c:v>
                </c:pt>
                <c:pt idx="3">
                  <c:v>35000</c:v>
                </c:pt>
                <c:pt idx="4">
                  <c:v>10000</c:v>
                </c:pt>
                <c:pt idx="5">
                  <c:v>35000</c:v>
                </c:pt>
                <c:pt idx="6">
                  <c:v>10000</c:v>
                </c:pt>
              </c:numCache>
            </c:numRef>
          </c:val>
        </c:ser>
        <c:dLbls/>
        <c:marker val="1"/>
        <c:axId val="110754816"/>
        <c:axId val="110753280"/>
      </c:lineChart>
      <c:catAx>
        <c:axId val="110741760"/>
        <c:scaling>
          <c:orientation val="minMax"/>
        </c:scaling>
        <c:axPos val="b"/>
        <c:numFmt formatCode="General" sourceLinked="1"/>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0751744"/>
        <c:crosses val="autoZero"/>
        <c:auto val="1"/>
        <c:lblAlgn val="ctr"/>
        <c:lblOffset val="100"/>
      </c:catAx>
      <c:valAx>
        <c:axId val="110751744"/>
        <c:scaling>
          <c:orientation val="minMax"/>
        </c:scaling>
        <c:axPos val="l"/>
        <c:numFmt formatCode="_(* #,##0.00_);_(* \(#,##0.00\);_(* &quot;-&quot;??_);_(@_)" sourceLinked="1"/>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0741760"/>
        <c:crosses val="autoZero"/>
        <c:crossBetween val="between"/>
      </c:valAx>
      <c:valAx>
        <c:axId val="110753280"/>
        <c:scaling>
          <c:orientation val="minMax"/>
        </c:scaling>
        <c:delete val="1"/>
        <c:axPos val="r"/>
        <c:numFmt formatCode="_-* #,##0.00_-;\-* #,##0.00_-;_-* &quot;-&quot;??_-;_-@_-" sourceLinked="1"/>
        <c:tickLblPos val="nextTo"/>
        <c:crossAx val="110754816"/>
        <c:crosses val="max"/>
        <c:crossBetween val="between"/>
      </c:valAx>
      <c:catAx>
        <c:axId val="110754816"/>
        <c:scaling>
          <c:orientation val="minMax"/>
        </c:scaling>
        <c:delete val="1"/>
        <c:axPos val="b"/>
        <c:numFmt formatCode="General" sourceLinked="1"/>
        <c:tickLblPos val="nextTo"/>
        <c:crossAx val="110753280"/>
        <c:crosses val="autoZero"/>
        <c:auto val="1"/>
        <c:lblAlgn val="ctr"/>
        <c:lblOffset val="100"/>
      </c:catAx>
      <c:spPr>
        <a:noFill/>
        <a:ln>
          <a:noFill/>
        </a:ln>
        <a:effectLst/>
      </c:spPr>
    </c:plotArea>
    <c:legend>
      <c:legendPos val="b"/>
      <c:layout/>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legend>
    <c:plotVisOnly val="1"/>
    <c:dispBlanksAs val="gap"/>
  </c:chart>
  <c:spPr>
    <a:noFill/>
    <a:ln>
      <a:noFill/>
    </a:ln>
    <a:effectLst/>
  </c:spPr>
  <c:txPr>
    <a:bodyPr/>
    <a:lstStyle/>
    <a:p>
      <a:pPr>
        <a:defRPr/>
      </a:pPr>
      <a:endParaRPr lang="en-US"/>
    </a:p>
  </c:txPr>
  <c:externalData r:id="rId1"/>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withinLinearReversed" id="26">
  <a:schemeClr val="accent6"/>
</cs:colorStyle>
</file>

<file path=ppt/charts/style1.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800"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17">
  <cs:axisTitle>
    <cs:lnRef idx="0"/>
    <cs:fillRef idx="0"/>
    <cs:effectRef idx="0"/>
    <cs:fontRef idx="minor">
      <a:schemeClr val="tx1">
        <a:lumMod val="65000"/>
        <a:lumOff val="35000"/>
      </a:schemeClr>
    </cs:fontRef>
    <cs:defRPr sz="900"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Vert">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Vert">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18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800"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800"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4E462462-97AF-42A8-B4D5-18ABA84CD832}" type="datetime1">
              <a:rPr lang="en-GB" smtClean="0">
                <a:solidFill>
                  <a:prstClr val="black">
                    <a:tint val="75000"/>
                  </a:prstClr>
                </a:solidFill>
              </a:rPr>
              <a:pPr/>
              <a:t>18/08/2017</a:t>
            </a:fld>
            <a:endParaRPr lang="en-GB"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GB"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8DE9EFF3-1512-4B0B-A303-06EB8BB7A730}" type="slidenum">
              <a:rPr lang="en-GB" smtClean="0">
                <a:solidFill>
                  <a:prstClr val="black">
                    <a:tint val="75000"/>
                  </a:prstClr>
                </a:solidFill>
              </a:rPr>
              <a:pPr/>
              <a:t>‹#›</a:t>
            </a:fld>
            <a:endParaRPr lang="en-GB" dirty="0">
              <a:solidFill>
                <a:prstClr val="black">
                  <a:tint val="75000"/>
                </a:prstClr>
              </a:solidFill>
            </a:endParaRPr>
          </a:p>
        </p:txBody>
      </p:sp>
      <p:grpSp>
        <p:nvGrpSpPr>
          <p:cNvPr id="8" name="Group 7"/>
          <p:cNvGrpSpPr/>
          <p:nvPr userDrawn="1"/>
        </p:nvGrpSpPr>
        <p:grpSpPr>
          <a:xfrm>
            <a:off x="457200" y="3573016"/>
            <a:ext cx="8254800" cy="1584176"/>
            <a:chOff x="457200" y="836712"/>
            <a:chExt cx="8254460" cy="288032"/>
          </a:xfrm>
        </p:grpSpPr>
        <p:sp>
          <p:nvSpPr>
            <p:cNvPr id="9" name="Rectangle 8"/>
            <p:cNvSpPr/>
            <p:nvPr/>
          </p:nvSpPr>
          <p:spPr>
            <a:xfrm>
              <a:off x="457200" y="836712"/>
              <a:ext cx="576000" cy="288032"/>
            </a:xfrm>
            <a:prstGeom prst="rect">
              <a:avLst/>
            </a:prstGeom>
            <a:solidFill>
              <a:srgbClr val="DD2E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solidFill>
                  <a:prstClr val="white"/>
                </a:solidFill>
              </a:endParaRPr>
            </a:p>
          </p:txBody>
        </p:sp>
        <p:sp>
          <p:nvSpPr>
            <p:cNvPr id="10" name="Rectangle 9"/>
            <p:cNvSpPr/>
            <p:nvPr/>
          </p:nvSpPr>
          <p:spPr>
            <a:xfrm>
              <a:off x="1033200" y="836712"/>
              <a:ext cx="7200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solidFill>
                  <a:prstClr val="white"/>
                </a:solidFill>
              </a:endParaRPr>
            </a:p>
          </p:txBody>
        </p:sp>
        <p:sp>
          <p:nvSpPr>
            <p:cNvPr id="11" name="Rectangle 10"/>
            <p:cNvSpPr/>
            <p:nvPr/>
          </p:nvSpPr>
          <p:spPr>
            <a:xfrm>
              <a:off x="1105200" y="836712"/>
              <a:ext cx="7606460" cy="28803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solidFill>
                  <a:prstClr val="white"/>
                </a:solidFill>
              </a:endParaRPr>
            </a:p>
          </p:txBody>
        </p:sp>
      </p:grpSp>
      <p:sp>
        <p:nvSpPr>
          <p:cNvPr id="3" name="Subtitle 2"/>
          <p:cNvSpPr>
            <a:spLocks noGrp="1"/>
          </p:cNvSpPr>
          <p:nvPr>
            <p:ph type="subTitle" idx="1"/>
          </p:nvPr>
        </p:nvSpPr>
        <p:spPr>
          <a:xfrm>
            <a:off x="1187625" y="3573016"/>
            <a:ext cx="7416824" cy="1584176"/>
          </a:xfrm>
        </p:spPr>
        <p:txBody>
          <a:bodyPr anchor="ctr">
            <a:normAutofit/>
          </a:bodyPr>
          <a:lstStyle>
            <a:lvl1pPr marL="0" indent="0" algn="ctr">
              <a:buNone/>
              <a:defRPr sz="2250" b="1">
                <a:solidFill>
                  <a:schemeClr val="bg1"/>
                </a:solidFill>
                <a:effectLst>
                  <a:outerShdw blurRad="38100" dist="38100" dir="2700000" algn="tl">
                    <a:srgbClr val="000000">
                      <a:alpha val="43137"/>
                    </a:srgbClr>
                  </a:outerShdw>
                </a:effectLst>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lick to edit Master subtitle style</a:t>
            </a:r>
            <a:endParaRPr lang="en-GB" dirty="0"/>
          </a:p>
        </p:txBody>
      </p:sp>
      <p:pic>
        <p:nvPicPr>
          <p:cNvPr id="2" name="Picture 1"/>
          <p:cNvPicPr>
            <a:picLocks noChangeAspect="1"/>
          </p:cNvPicPr>
          <p:nvPr userDrawn="1"/>
        </p:nvPicPr>
        <p:blipFill>
          <a:blip r:embed="rId2" cstate="print"/>
          <a:stretch>
            <a:fillRect/>
          </a:stretch>
        </p:blipFill>
        <p:spPr>
          <a:xfrm>
            <a:off x="2903220" y="2077943"/>
            <a:ext cx="3337560" cy="1134811"/>
          </a:xfrm>
          <a:prstGeom prst="rect">
            <a:avLst/>
          </a:prstGeom>
        </p:spPr>
      </p:pic>
    </p:spTree>
    <p:extLst>
      <p:ext uri="{BB962C8B-B14F-4D97-AF65-F5344CB8AC3E}">
        <p14:creationId xmlns:p14="http://schemas.microsoft.com/office/powerpoint/2010/main" xmlns="" val="23500192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08A2593-67FF-45BB-81F3-CD0A99BCE378}" type="datetime1">
              <a:rPr lang="en-GB" smtClean="0">
                <a:solidFill>
                  <a:prstClr val="black">
                    <a:tint val="75000"/>
                  </a:prstClr>
                </a:solidFill>
              </a:rPr>
              <a:pPr/>
              <a:t>18/08/2017</a:t>
            </a:fld>
            <a:endParaRPr lang="en-GB"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GB"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8DE9EFF3-1512-4B0B-A303-06EB8BB7A730}" type="slidenum">
              <a:rPr lang="en-GB" smtClean="0">
                <a:solidFill>
                  <a:prstClr val="black">
                    <a:tint val="75000"/>
                  </a:prstClr>
                </a:solidFill>
              </a:rPr>
              <a:pPr/>
              <a:t>‹#›</a:t>
            </a:fld>
            <a:endParaRPr lang="en-GB" dirty="0">
              <a:solidFill>
                <a:prstClr val="black">
                  <a:tint val="75000"/>
                </a:prstClr>
              </a:solidFill>
            </a:endParaRPr>
          </a:p>
        </p:txBody>
      </p:sp>
      <p:sp>
        <p:nvSpPr>
          <p:cNvPr id="7" name="Picture Placeholder 6"/>
          <p:cNvSpPr>
            <a:spLocks noGrp="1"/>
          </p:cNvSpPr>
          <p:nvPr>
            <p:ph type="pic" sz="quarter" idx="13"/>
          </p:nvPr>
        </p:nvSpPr>
        <p:spPr>
          <a:xfrm>
            <a:off x="0" y="0"/>
            <a:ext cx="9144000" cy="6858000"/>
          </a:xfrm>
        </p:spPr>
        <p:txBody>
          <a:bodyPr/>
          <a:lstStyle/>
          <a:p>
            <a:endParaRPr lang="en-US"/>
          </a:p>
        </p:txBody>
      </p:sp>
      <p:pic>
        <p:nvPicPr>
          <p:cNvPr id="8" name="Picture 7"/>
          <p:cNvPicPr>
            <a:picLocks noChangeAspect="1"/>
          </p:cNvPicPr>
          <p:nvPr userDrawn="1"/>
        </p:nvPicPr>
        <p:blipFill>
          <a:blip r:embed="rId2" cstate="print"/>
          <a:stretch>
            <a:fillRect/>
          </a:stretch>
        </p:blipFill>
        <p:spPr>
          <a:xfrm>
            <a:off x="6675120" y="5605919"/>
            <a:ext cx="2011680" cy="682796"/>
          </a:xfrm>
          <a:prstGeom prst="rect">
            <a:avLst/>
          </a:prstGeom>
        </p:spPr>
      </p:pic>
    </p:spTree>
    <p:extLst>
      <p:ext uri="{BB962C8B-B14F-4D97-AF65-F5344CB8AC3E}">
        <p14:creationId xmlns:p14="http://schemas.microsoft.com/office/powerpoint/2010/main" xmlns="" val="32615780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123729" y="116632"/>
            <a:ext cx="6840760" cy="720080"/>
          </a:xfrm>
        </p:spPr>
        <p:txBody>
          <a:bodyPr>
            <a:normAutofit/>
          </a:bodyPr>
          <a:lstStyle>
            <a:lvl1pPr>
              <a:defRPr sz="1500" b="1">
                <a:solidFill>
                  <a:schemeClr val="tx1">
                    <a:lumMod val="85000"/>
                    <a:lumOff val="15000"/>
                  </a:schemeClr>
                </a:solidFill>
                <a:latin typeface="Century Gothic" panose="020B0502020202020204" pitchFamily="34" charset="0"/>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3E217FFC-6A28-42A8-9B06-94C4DC870E88}" type="datetime1">
              <a:rPr lang="en-GB" smtClean="0">
                <a:solidFill>
                  <a:prstClr val="black">
                    <a:tint val="75000"/>
                  </a:prstClr>
                </a:solidFill>
              </a:rPr>
              <a:pPr/>
              <a:t>18/08/2017</a:t>
            </a:fld>
            <a:endParaRPr lang="en-GB"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GB"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8DE9EFF3-1512-4B0B-A303-06EB8BB7A730}" type="slidenum">
              <a:rPr lang="en-GB" smtClean="0">
                <a:solidFill>
                  <a:prstClr val="black">
                    <a:tint val="75000"/>
                  </a:prstClr>
                </a:solidFill>
              </a:rPr>
              <a:pPr/>
              <a:t>‹#›</a:t>
            </a:fld>
            <a:endParaRPr lang="en-GB" dirty="0">
              <a:solidFill>
                <a:prstClr val="black">
                  <a:tint val="75000"/>
                </a:prstClr>
              </a:solidFill>
            </a:endParaRPr>
          </a:p>
        </p:txBody>
      </p:sp>
      <p:cxnSp>
        <p:nvCxnSpPr>
          <p:cNvPr id="8" name="Straight Connector 7"/>
          <p:cNvCxnSpPr/>
          <p:nvPr userDrawn="1"/>
        </p:nvCxnSpPr>
        <p:spPr>
          <a:xfrm>
            <a:off x="-13136" y="908720"/>
            <a:ext cx="9180000" cy="0"/>
          </a:xfrm>
          <a:prstGeom prst="line">
            <a:avLst/>
          </a:prstGeom>
          <a:ln w="381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13136" y="944724"/>
            <a:ext cx="9180000" cy="0"/>
          </a:xfrm>
          <a:prstGeom prst="line">
            <a:avLst/>
          </a:prstGeom>
          <a:ln>
            <a:solidFill>
              <a:srgbClr val="DD2E1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512" y="6354032"/>
            <a:ext cx="9180000" cy="0"/>
          </a:xfrm>
          <a:prstGeom prst="lin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2" cstate="print"/>
          <a:stretch>
            <a:fillRect/>
          </a:stretch>
        </p:blipFill>
        <p:spPr>
          <a:xfrm>
            <a:off x="79775" y="135274"/>
            <a:ext cx="2011680" cy="682796"/>
          </a:xfrm>
          <a:prstGeom prst="rect">
            <a:avLst/>
          </a:prstGeom>
        </p:spPr>
      </p:pic>
    </p:spTree>
    <p:extLst>
      <p:ext uri="{BB962C8B-B14F-4D97-AF65-F5344CB8AC3E}">
        <p14:creationId xmlns:p14="http://schemas.microsoft.com/office/powerpoint/2010/main" xmlns="" val="17049464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3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p:spPr>
        <p:txBody>
          <a:bodyPr anchor="t"/>
          <a:lstStyle>
            <a:lvl1pPr algn="l">
              <a:defRPr sz="3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1500">
                <a:solidFill>
                  <a:schemeClr val="tx1">
                    <a:tint val="7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xmlns="" val="38478982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1500" b="1"/>
            </a:lvl1pPr>
          </a:lstStyle>
          <a:p>
            <a:r>
              <a:rPr lang="en-US"/>
              <a:t>Click to edit Master title style</a:t>
            </a:r>
            <a:endParaRPr lang="en-GB"/>
          </a:p>
        </p:txBody>
      </p:sp>
      <p:sp>
        <p:nvSpPr>
          <p:cNvPr id="3" name="Content Placeholder 2"/>
          <p:cNvSpPr>
            <a:spLocks noGrp="1"/>
          </p:cNvSpPr>
          <p:nvPr>
            <p:ph idx="1"/>
          </p:nvPr>
        </p:nvSpPr>
        <p:spPr>
          <a:xfrm>
            <a:off x="3575050" y="273052"/>
            <a:ext cx="5111750"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1" y="1435102"/>
            <a:ext cx="3008313" cy="46910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Date Placeholder 4"/>
          <p:cNvSpPr>
            <a:spLocks noGrp="1"/>
          </p:cNvSpPr>
          <p:nvPr>
            <p:ph type="dt" sz="half" idx="10"/>
          </p:nvPr>
        </p:nvSpPr>
        <p:spPr/>
        <p:txBody>
          <a:bodyPr/>
          <a:lstStyle/>
          <a:p>
            <a:fld id="{543C933D-7433-40C4-AC84-501B60B0802F}" type="datetime1">
              <a:rPr lang="en-GB" smtClean="0">
                <a:solidFill>
                  <a:prstClr val="black">
                    <a:tint val="75000"/>
                  </a:prstClr>
                </a:solidFill>
              </a:rPr>
              <a:pPr/>
              <a:t>18/08/2017</a:t>
            </a:fld>
            <a:endParaRPr lang="en-GB"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GB"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8DE9EFF3-1512-4B0B-A303-06EB8BB7A730}"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xmlns="" val="26407667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1" y="3635377"/>
            <a:ext cx="7280564" cy="1470025"/>
          </a:xfrm>
          <a:prstGeom prst="rect">
            <a:avLst/>
          </a:prstGeom>
        </p:spPr>
        <p:txBody>
          <a:bodyPr/>
          <a:lstStyle/>
          <a:p>
            <a:r>
              <a:rPr lang="en-US" dirty="0"/>
              <a:t>Click to edit Master title style</a:t>
            </a:r>
          </a:p>
        </p:txBody>
      </p:sp>
      <p:sp>
        <p:nvSpPr>
          <p:cNvPr id="4" name="Date Placeholder 3"/>
          <p:cNvSpPr>
            <a:spLocks noGrp="1"/>
          </p:cNvSpPr>
          <p:nvPr>
            <p:ph type="dt" sz="half" idx="10"/>
          </p:nvPr>
        </p:nvSpPr>
        <p:spPr/>
        <p:txBody>
          <a:bodyPr/>
          <a:lstStyle/>
          <a:p>
            <a:fld id="{13B7E348-C86F-4773-8440-5EDDE4FBC6CC}" type="datetime1">
              <a:rPr lang="en-GB" smtClean="0">
                <a:solidFill>
                  <a:prstClr val="black">
                    <a:tint val="75000"/>
                  </a:prstClr>
                </a:solidFill>
              </a:rPr>
              <a:pPr/>
              <a:t>18/08/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B0FF7CF-E33E-4049-90E1-9B1F10407CD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xmlns="" val="210794247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371599"/>
            <a:ext cx="8229600" cy="533694"/>
          </a:xfrm>
          <a:prstGeom prst="rect">
            <a:avLst/>
          </a:prstGeom>
        </p:spPr>
        <p:txBody>
          <a:bodyPr/>
          <a:lstStyle/>
          <a:p>
            <a:r>
              <a:rPr lang="en-US" dirty="0"/>
              <a:t>Click to edit Master title style</a:t>
            </a:r>
          </a:p>
        </p:txBody>
      </p:sp>
      <p:sp>
        <p:nvSpPr>
          <p:cNvPr id="3" name="Content Placeholder 2"/>
          <p:cNvSpPr>
            <a:spLocks noGrp="1"/>
          </p:cNvSpPr>
          <p:nvPr>
            <p:ph idx="1"/>
          </p:nvPr>
        </p:nvSpPr>
        <p:spPr>
          <a:xfrm>
            <a:off x="457200" y="2286000"/>
            <a:ext cx="8229600" cy="3962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19AAB5E0-33CE-429A-9737-F801A477D305}" type="datetime1">
              <a:rPr lang="en-GB" smtClean="0">
                <a:solidFill>
                  <a:prstClr val="black">
                    <a:tint val="75000"/>
                  </a:prstClr>
                </a:solidFill>
              </a:rPr>
              <a:pPr/>
              <a:t>18/08/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B0FF7CF-E33E-4049-90E1-9B1F10407CD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xmlns="" val="22645811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1" y="3635377"/>
            <a:ext cx="7280564" cy="1470025"/>
          </a:xfrm>
          <a:prstGeom prst="rect">
            <a:avLst/>
          </a:prstGeom>
        </p:spPr>
        <p:txBody>
          <a:bodyPr/>
          <a:lstStyle/>
          <a:p>
            <a:r>
              <a:rPr lang="en-US" dirty="0"/>
              <a:t>Click to edit Master title style</a:t>
            </a:r>
          </a:p>
        </p:txBody>
      </p:sp>
      <p:sp>
        <p:nvSpPr>
          <p:cNvPr id="4" name="Date Placeholder 3"/>
          <p:cNvSpPr>
            <a:spLocks noGrp="1"/>
          </p:cNvSpPr>
          <p:nvPr>
            <p:ph type="dt" sz="half" idx="10"/>
          </p:nvPr>
        </p:nvSpPr>
        <p:spPr/>
        <p:txBody>
          <a:bodyPr/>
          <a:lstStyle/>
          <a:p>
            <a:fld id="{7B3EE98C-E629-40B4-B150-81B68EF0A085}" type="datetime1">
              <a:rPr lang="en-GB" smtClean="0">
                <a:solidFill>
                  <a:prstClr val="black">
                    <a:tint val="75000"/>
                  </a:prstClr>
                </a:solidFill>
              </a:rPr>
              <a:pPr/>
              <a:t>18/08/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B0FF7CF-E33E-4049-90E1-9B1F10407CD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xmlns="" val="4840014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latin typeface="Century Gothic" panose="020B0502020202020204" pitchFamily="34" charset="0"/>
              </a:defRPr>
            </a:lvl1pPr>
          </a:lstStyle>
          <a:p>
            <a:fld id="{C5CBDE0B-78AD-4AA4-B485-15101583202B}" type="datetime1">
              <a:rPr lang="en-GB" smtClean="0">
                <a:solidFill>
                  <a:prstClr val="black">
                    <a:tint val="75000"/>
                  </a:prstClr>
                </a:solidFill>
              </a:rPr>
              <a:pPr/>
              <a:t>18/08/2017</a:t>
            </a:fld>
            <a:endParaRPr lang="en-GB" dirty="0">
              <a:solidFill>
                <a:prstClr val="black">
                  <a:tint val="75000"/>
                </a:prstClr>
              </a:solidFill>
            </a:endParaRPr>
          </a:p>
        </p:txBody>
      </p:sp>
      <p:sp>
        <p:nvSpPr>
          <p:cNvPr id="5" name="Footer Placeholder 4"/>
          <p:cNvSpPr>
            <a:spLocks noGrp="1"/>
          </p:cNvSpPr>
          <p:nvPr>
            <p:ph type="ftr" sz="quarter" idx="11"/>
          </p:nvPr>
        </p:nvSpPr>
        <p:spPr/>
        <p:txBody>
          <a:bodyPr/>
          <a:lstStyle>
            <a:lvl1pPr>
              <a:defRPr>
                <a:latin typeface="Century Gothic" panose="020B0502020202020204" pitchFamily="34" charset="0"/>
              </a:defRPr>
            </a:lvl1pPr>
          </a:lstStyle>
          <a:p>
            <a:endParaRPr lang="en-GB" dirty="0">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atin typeface="Century Gothic" panose="020B0502020202020204" pitchFamily="34" charset="0"/>
              </a:defRPr>
            </a:lvl1pPr>
          </a:lstStyle>
          <a:p>
            <a:fld id="{8DE9EFF3-1512-4B0B-A303-06EB8BB7A730}" type="slidenum">
              <a:rPr lang="en-GB" smtClean="0">
                <a:solidFill>
                  <a:prstClr val="black">
                    <a:tint val="75000"/>
                  </a:prstClr>
                </a:solidFill>
              </a:rPr>
              <a:pPr/>
              <a:t>‹#›</a:t>
            </a:fld>
            <a:endParaRPr lang="en-GB" dirty="0">
              <a:solidFill>
                <a:prstClr val="black">
                  <a:tint val="75000"/>
                </a:prstClr>
              </a:solidFill>
            </a:endParaRPr>
          </a:p>
        </p:txBody>
      </p:sp>
      <p:grpSp>
        <p:nvGrpSpPr>
          <p:cNvPr id="8" name="Group 7"/>
          <p:cNvGrpSpPr/>
          <p:nvPr userDrawn="1"/>
        </p:nvGrpSpPr>
        <p:grpSpPr>
          <a:xfrm>
            <a:off x="457200" y="2708920"/>
            <a:ext cx="8257032" cy="1188720"/>
            <a:chOff x="457200" y="836712"/>
            <a:chExt cx="8254460" cy="288032"/>
          </a:xfrm>
        </p:grpSpPr>
        <p:sp>
          <p:nvSpPr>
            <p:cNvPr id="9" name="Rectangle 8"/>
            <p:cNvSpPr/>
            <p:nvPr/>
          </p:nvSpPr>
          <p:spPr>
            <a:xfrm>
              <a:off x="457200" y="836712"/>
              <a:ext cx="576000" cy="265876"/>
            </a:xfrm>
            <a:prstGeom prst="rect">
              <a:avLst/>
            </a:prstGeom>
            <a:solidFill>
              <a:srgbClr val="DD2E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solidFill>
                  <a:prstClr val="white"/>
                </a:solidFill>
              </a:endParaRPr>
            </a:p>
          </p:txBody>
        </p:sp>
        <p:sp>
          <p:nvSpPr>
            <p:cNvPr id="10" name="Rectangle 9"/>
            <p:cNvSpPr/>
            <p:nvPr/>
          </p:nvSpPr>
          <p:spPr>
            <a:xfrm>
              <a:off x="1033200" y="836712"/>
              <a:ext cx="7200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solidFill>
                  <a:prstClr val="white"/>
                </a:solidFill>
              </a:endParaRPr>
            </a:p>
          </p:txBody>
        </p:sp>
        <p:sp>
          <p:nvSpPr>
            <p:cNvPr id="11" name="Rectangle 10"/>
            <p:cNvSpPr/>
            <p:nvPr/>
          </p:nvSpPr>
          <p:spPr>
            <a:xfrm>
              <a:off x="1105200" y="836712"/>
              <a:ext cx="7606460" cy="265876"/>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solidFill>
                  <a:prstClr val="white"/>
                </a:solidFill>
              </a:endParaRPr>
            </a:p>
          </p:txBody>
        </p:sp>
      </p:grpSp>
      <p:sp>
        <p:nvSpPr>
          <p:cNvPr id="3" name="Subtitle 2"/>
          <p:cNvSpPr>
            <a:spLocks noGrp="1"/>
          </p:cNvSpPr>
          <p:nvPr>
            <p:ph type="subTitle" idx="1"/>
          </p:nvPr>
        </p:nvSpPr>
        <p:spPr>
          <a:xfrm>
            <a:off x="1187625" y="2708920"/>
            <a:ext cx="7416824" cy="1097280"/>
          </a:xfrm>
        </p:spPr>
        <p:txBody>
          <a:bodyPr anchor="ctr">
            <a:normAutofit/>
          </a:bodyPr>
          <a:lstStyle>
            <a:lvl1pPr marL="0" indent="0" algn="ctr">
              <a:buNone/>
              <a:defRPr sz="2250" b="1">
                <a:solidFill>
                  <a:schemeClr val="bg1"/>
                </a:solidFill>
                <a:effectLst>
                  <a:outerShdw blurRad="38100" dist="38100" dir="2700000" algn="tl">
                    <a:srgbClr val="000000">
                      <a:alpha val="43137"/>
                    </a:srgbClr>
                  </a:outerShdw>
                </a:effectLst>
                <a:latin typeface="Century Gothic" panose="020B0502020202020204"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GB"/>
          </a:p>
        </p:txBody>
      </p:sp>
      <p:pic>
        <p:nvPicPr>
          <p:cNvPr id="12" name="Picture 11"/>
          <p:cNvPicPr>
            <a:picLocks noChangeAspect="1"/>
          </p:cNvPicPr>
          <p:nvPr userDrawn="1"/>
        </p:nvPicPr>
        <p:blipFill>
          <a:blip r:embed="rId2" cstate="print"/>
          <a:stretch>
            <a:fillRect/>
          </a:stretch>
        </p:blipFill>
        <p:spPr>
          <a:xfrm>
            <a:off x="7159752" y="5735543"/>
            <a:ext cx="1554480" cy="528542"/>
          </a:xfrm>
          <a:prstGeom prst="rect">
            <a:avLst/>
          </a:prstGeom>
        </p:spPr>
      </p:pic>
    </p:spTree>
    <p:extLst>
      <p:ext uri="{BB962C8B-B14F-4D97-AF65-F5344CB8AC3E}">
        <p14:creationId xmlns:p14="http://schemas.microsoft.com/office/powerpoint/2010/main" xmlns="" val="25157399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438C27AD-FD31-4088-923E-EC31E5CC9A1D}" type="datetime1">
              <a:rPr lang="en-GB" smtClean="0">
                <a:solidFill>
                  <a:prstClr val="black">
                    <a:tint val="75000"/>
                  </a:prstClr>
                </a:solidFill>
              </a:rPr>
              <a:pPr/>
              <a:t>18/08/2017</a:t>
            </a:fld>
            <a:endParaRPr lang="en-GB"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GB"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8DE9EFF3-1512-4B0B-A303-06EB8BB7A730}" type="slidenum">
              <a:rPr lang="en-GB" smtClean="0">
                <a:solidFill>
                  <a:prstClr val="black">
                    <a:tint val="75000"/>
                  </a:prstClr>
                </a:solidFill>
              </a:rPr>
              <a:pPr/>
              <a:t>‹#›</a:t>
            </a:fld>
            <a:endParaRPr lang="en-GB" dirty="0">
              <a:solidFill>
                <a:prstClr val="black">
                  <a:tint val="75000"/>
                </a:prstClr>
              </a:solidFill>
            </a:endParaRPr>
          </a:p>
        </p:txBody>
      </p:sp>
      <p:cxnSp>
        <p:nvCxnSpPr>
          <p:cNvPr id="8" name="Straight Connector 7"/>
          <p:cNvCxnSpPr/>
          <p:nvPr userDrawn="1"/>
        </p:nvCxnSpPr>
        <p:spPr>
          <a:xfrm>
            <a:off x="-13136" y="6381328"/>
            <a:ext cx="9180000" cy="0"/>
          </a:xfrm>
          <a:prstGeom prst="line">
            <a:avLst/>
          </a:prstGeom>
          <a:ln w="381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13136" y="6417332"/>
            <a:ext cx="9180000" cy="0"/>
          </a:xfrm>
          <a:prstGeom prst="line">
            <a:avLst/>
          </a:prstGeom>
          <a:ln>
            <a:solidFill>
              <a:srgbClr val="DD2E12"/>
            </a:solidFill>
          </a:ln>
        </p:spPr>
        <p:style>
          <a:lnRef idx="1">
            <a:schemeClr val="accent1"/>
          </a:lnRef>
          <a:fillRef idx="0">
            <a:schemeClr val="accent1"/>
          </a:fillRef>
          <a:effectRef idx="0">
            <a:schemeClr val="accent1"/>
          </a:effectRef>
          <a:fontRef idx="minor">
            <a:schemeClr val="tx1"/>
          </a:fontRef>
        </p:style>
      </p:cxnSp>
      <p:pic>
        <p:nvPicPr>
          <p:cNvPr id="10" name="Picture 10"/>
          <p:cNvPicPr>
            <a:picLocks noChangeAspect="1" noChangeArrowheads="1"/>
          </p:cNvPicPr>
          <p:nvPr userDrawn="1"/>
        </p:nvPicPr>
        <p:blipFill rotWithShape="1">
          <a:blip r:embed="rId2" cstate="print"/>
          <a:srcRect l="21739" b="2801"/>
          <a:stretch/>
        </p:blipFill>
        <p:spPr bwMode="auto">
          <a:xfrm>
            <a:off x="2140772" y="124926"/>
            <a:ext cx="7026092" cy="801795"/>
          </a:xfrm>
          <a:prstGeom prst="rect">
            <a:avLst/>
          </a:prstGeom>
          <a:noFill/>
          <a:ln w="9525">
            <a:noFill/>
            <a:miter lim="800000"/>
            <a:headEnd/>
            <a:tailEnd/>
          </a:ln>
        </p:spPr>
      </p:pic>
      <p:pic>
        <p:nvPicPr>
          <p:cNvPr id="7" name="Picture 6"/>
          <p:cNvPicPr>
            <a:picLocks noChangeAspect="1"/>
          </p:cNvPicPr>
          <p:nvPr userDrawn="1"/>
        </p:nvPicPr>
        <p:blipFill>
          <a:blip r:embed="rId3" cstate="print"/>
          <a:stretch>
            <a:fillRect/>
          </a:stretch>
        </p:blipFill>
        <p:spPr>
          <a:xfrm>
            <a:off x="64544" y="184425"/>
            <a:ext cx="2011680" cy="682796"/>
          </a:xfrm>
          <a:prstGeom prst="rect">
            <a:avLst/>
          </a:prstGeom>
        </p:spPr>
      </p:pic>
    </p:spTree>
    <p:extLst>
      <p:ext uri="{BB962C8B-B14F-4D97-AF65-F5344CB8AC3E}">
        <p14:creationId xmlns:p14="http://schemas.microsoft.com/office/powerpoint/2010/main" xmlns="" val="20395348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C6009CD7-652F-4648-B8E7-F3E017DC2BC6}" type="datetime1">
              <a:rPr lang="en-GB" smtClean="0">
                <a:solidFill>
                  <a:prstClr val="black">
                    <a:tint val="75000"/>
                  </a:prstClr>
                </a:solidFill>
              </a:rPr>
              <a:pPr/>
              <a:t>18/08/2017</a:t>
            </a:fld>
            <a:endParaRPr lang="en-GB"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GB"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8DE9EFF3-1512-4B0B-A303-06EB8BB7A730}" type="slidenum">
              <a:rPr lang="en-GB" smtClean="0">
                <a:solidFill>
                  <a:prstClr val="black">
                    <a:tint val="75000"/>
                  </a:prstClr>
                </a:solidFill>
              </a:rPr>
              <a:pPr/>
              <a:t>‹#›</a:t>
            </a:fld>
            <a:endParaRPr lang="en-GB" dirty="0">
              <a:solidFill>
                <a:prstClr val="black">
                  <a:tint val="75000"/>
                </a:prstClr>
              </a:solidFill>
            </a:endParaRPr>
          </a:p>
        </p:txBody>
      </p:sp>
      <p:cxnSp>
        <p:nvCxnSpPr>
          <p:cNvPr id="8" name="Straight Connector 7"/>
          <p:cNvCxnSpPr/>
          <p:nvPr userDrawn="1"/>
        </p:nvCxnSpPr>
        <p:spPr>
          <a:xfrm>
            <a:off x="-13136" y="6381328"/>
            <a:ext cx="9180000" cy="0"/>
          </a:xfrm>
          <a:prstGeom prst="line">
            <a:avLst/>
          </a:prstGeom>
          <a:ln w="381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13136" y="6417332"/>
            <a:ext cx="9180000" cy="0"/>
          </a:xfrm>
          <a:prstGeom prst="line">
            <a:avLst/>
          </a:prstGeom>
          <a:ln>
            <a:solidFill>
              <a:srgbClr val="DD2E12"/>
            </a:solidFill>
          </a:ln>
        </p:spPr>
        <p:style>
          <a:lnRef idx="1">
            <a:schemeClr val="accent1"/>
          </a:lnRef>
          <a:fillRef idx="0">
            <a:schemeClr val="accent1"/>
          </a:fillRef>
          <a:effectRef idx="0">
            <a:schemeClr val="accent1"/>
          </a:effectRef>
          <a:fontRef idx="minor">
            <a:schemeClr val="tx1"/>
          </a:fontRef>
        </p:style>
      </p:cxnSp>
      <p:pic>
        <p:nvPicPr>
          <p:cNvPr id="11" name="Picture 8"/>
          <p:cNvPicPr>
            <a:picLocks noChangeAspect="1" noChangeArrowheads="1"/>
          </p:cNvPicPr>
          <p:nvPr/>
        </p:nvPicPr>
        <p:blipFill>
          <a:blip r:embed="rId2" cstate="print"/>
          <a:srcRect t="9408" b="12033"/>
          <a:stretch>
            <a:fillRect/>
          </a:stretch>
        </p:blipFill>
        <p:spPr bwMode="auto">
          <a:xfrm>
            <a:off x="104274" y="135401"/>
            <a:ext cx="9072000" cy="722214"/>
          </a:xfrm>
          <a:prstGeom prst="rect">
            <a:avLst/>
          </a:prstGeom>
          <a:noFill/>
          <a:ln w="9525">
            <a:noFill/>
            <a:miter lim="800000"/>
            <a:headEnd/>
            <a:tailEnd/>
          </a:ln>
        </p:spPr>
      </p:pic>
      <p:pic>
        <p:nvPicPr>
          <p:cNvPr id="10" name="Picture 9"/>
          <p:cNvPicPr>
            <a:picLocks noChangeAspect="1"/>
          </p:cNvPicPr>
          <p:nvPr userDrawn="1"/>
        </p:nvPicPr>
        <p:blipFill>
          <a:blip r:embed="rId3" cstate="print"/>
          <a:stretch>
            <a:fillRect/>
          </a:stretch>
        </p:blipFill>
        <p:spPr>
          <a:xfrm>
            <a:off x="93516" y="169331"/>
            <a:ext cx="2011680" cy="682796"/>
          </a:xfrm>
          <a:prstGeom prst="rect">
            <a:avLst/>
          </a:prstGeom>
        </p:spPr>
      </p:pic>
    </p:spTree>
    <p:extLst>
      <p:ext uri="{BB962C8B-B14F-4D97-AF65-F5344CB8AC3E}">
        <p14:creationId xmlns:p14="http://schemas.microsoft.com/office/powerpoint/2010/main" xmlns="" val="2025074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12" name="Rectangle 11"/>
          <p:cNvSpPr/>
          <p:nvPr userDrawn="1"/>
        </p:nvSpPr>
        <p:spPr>
          <a:xfrm>
            <a:off x="2134758" y="120400"/>
            <a:ext cx="7020000" cy="720000"/>
          </a:xfrm>
          <a:prstGeom prst="rect">
            <a:avLst/>
          </a:prstGeom>
          <a:gradFill>
            <a:gsLst>
              <a:gs pos="0">
                <a:srgbClr val="960000"/>
              </a:gs>
              <a:gs pos="39999">
                <a:srgbClr val="B40000">
                  <a:alpha val="89804"/>
                </a:srgbClr>
              </a:gs>
              <a:gs pos="70000">
                <a:srgbClr val="BC0000"/>
              </a:gs>
              <a:gs pos="100000">
                <a:srgbClr val="F20000"/>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prstClr val="white"/>
              </a:solidFill>
            </a:endParaRPr>
          </a:p>
        </p:txBody>
      </p:sp>
      <p:sp>
        <p:nvSpPr>
          <p:cNvPr id="2" name="Title 1"/>
          <p:cNvSpPr>
            <a:spLocks noGrp="1"/>
          </p:cNvSpPr>
          <p:nvPr>
            <p:ph type="title"/>
          </p:nvPr>
        </p:nvSpPr>
        <p:spPr>
          <a:xfrm>
            <a:off x="2134487" y="116632"/>
            <a:ext cx="6840760" cy="720080"/>
          </a:xfrm>
        </p:spPr>
        <p:txBody>
          <a:bodyPr>
            <a:normAutofit/>
          </a:bodyPr>
          <a:lstStyle>
            <a:lvl1pPr>
              <a:defRPr sz="1500" b="1">
                <a:solidFill>
                  <a:schemeClr val="bg1"/>
                </a:solidFill>
              </a:defRPr>
            </a:lvl1pPr>
          </a:lstStyle>
          <a:p>
            <a:r>
              <a:rPr lang="en-US"/>
              <a:t>Click to edit Master title style</a:t>
            </a:r>
            <a:endParaRPr lang="en-GB"/>
          </a:p>
        </p:txBody>
      </p:sp>
      <p:sp>
        <p:nvSpPr>
          <p:cNvPr id="3" name="Date Placeholder 2"/>
          <p:cNvSpPr>
            <a:spLocks noGrp="1"/>
          </p:cNvSpPr>
          <p:nvPr>
            <p:ph type="dt" sz="half" idx="10"/>
          </p:nvPr>
        </p:nvSpPr>
        <p:spPr/>
        <p:txBody>
          <a:bodyPr/>
          <a:lstStyle/>
          <a:p>
            <a:fld id="{1C98AD86-8239-4EAB-AC4C-9E1CE24B66E1}" type="datetime1">
              <a:rPr lang="en-GB" smtClean="0">
                <a:solidFill>
                  <a:prstClr val="black">
                    <a:tint val="75000"/>
                  </a:prstClr>
                </a:solidFill>
              </a:rPr>
              <a:pPr/>
              <a:t>18/08/2017</a:t>
            </a:fld>
            <a:endParaRPr lang="en-GB"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GB"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8DE9EFF3-1512-4B0B-A303-06EB8BB7A730}" type="slidenum">
              <a:rPr lang="en-GB" smtClean="0">
                <a:solidFill>
                  <a:prstClr val="black">
                    <a:tint val="75000"/>
                  </a:prstClr>
                </a:solidFill>
              </a:rPr>
              <a:pPr/>
              <a:t>‹#›</a:t>
            </a:fld>
            <a:endParaRPr lang="en-GB" dirty="0">
              <a:solidFill>
                <a:prstClr val="black">
                  <a:tint val="75000"/>
                </a:prstClr>
              </a:solidFill>
            </a:endParaRPr>
          </a:p>
        </p:txBody>
      </p:sp>
      <p:cxnSp>
        <p:nvCxnSpPr>
          <p:cNvPr id="8" name="Straight Connector 7"/>
          <p:cNvCxnSpPr/>
          <p:nvPr userDrawn="1"/>
        </p:nvCxnSpPr>
        <p:spPr>
          <a:xfrm>
            <a:off x="-13136" y="6345324"/>
            <a:ext cx="9180000" cy="0"/>
          </a:xfrm>
          <a:prstGeom prst="line">
            <a:avLst/>
          </a:prstGeom>
          <a:ln w="381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13136" y="6381328"/>
            <a:ext cx="9180000" cy="0"/>
          </a:xfrm>
          <a:prstGeom prst="line">
            <a:avLst/>
          </a:prstGeom>
          <a:ln>
            <a:solidFill>
              <a:srgbClr val="DD2E12"/>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2" cstate="print"/>
          <a:stretch>
            <a:fillRect/>
          </a:stretch>
        </p:blipFill>
        <p:spPr>
          <a:xfrm>
            <a:off x="68882" y="135274"/>
            <a:ext cx="2011680" cy="682796"/>
          </a:xfrm>
          <a:prstGeom prst="rect">
            <a:avLst/>
          </a:prstGeom>
        </p:spPr>
      </p:pic>
    </p:spTree>
    <p:extLst>
      <p:ext uri="{BB962C8B-B14F-4D97-AF65-F5344CB8AC3E}">
        <p14:creationId xmlns:p14="http://schemas.microsoft.com/office/powerpoint/2010/main" xmlns="" val="41554800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10" name="Group 9"/>
          <p:cNvGrpSpPr/>
          <p:nvPr userDrawn="1"/>
        </p:nvGrpSpPr>
        <p:grpSpPr>
          <a:xfrm>
            <a:off x="2124000" y="109810"/>
            <a:ext cx="7020000" cy="720000"/>
            <a:chOff x="1331640" y="3068960"/>
            <a:chExt cx="7020000" cy="720000"/>
          </a:xfrm>
        </p:grpSpPr>
        <p:sp>
          <p:nvSpPr>
            <p:cNvPr id="11" name="Rectangle 10"/>
            <p:cNvSpPr/>
            <p:nvPr/>
          </p:nvSpPr>
          <p:spPr>
            <a:xfrm>
              <a:off x="1331640" y="3068960"/>
              <a:ext cx="7020000" cy="720000"/>
            </a:xfrm>
            <a:prstGeom prst="rect">
              <a:avLst/>
            </a:prstGeom>
            <a:gradFill>
              <a:gsLst>
                <a:gs pos="0">
                  <a:srgbClr val="960000"/>
                </a:gs>
                <a:gs pos="39999">
                  <a:srgbClr val="B40000">
                    <a:alpha val="89804"/>
                  </a:srgbClr>
                </a:gs>
                <a:gs pos="70000">
                  <a:srgbClr val="BC0000"/>
                </a:gs>
                <a:gs pos="100000">
                  <a:srgbClr val="F20000"/>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prstClr val="white"/>
                </a:solidFill>
              </a:endParaRPr>
            </a:p>
          </p:txBody>
        </p:sp>
        <p:sp>
          <p:nvSpPr>
            <p:cNvPr id="13" name="Right Triangle 12"/>
            <p:cNvSpPr>
              <a:spLocks noChangeAspect="1"/>
            </p:cNvSpPr>
            <p:nvPr/>
          </p:nvSpPr>
          <p:spPr>
            <a:xfrm>
              <a:off x="1331640" y="3068960"/>
              <a:ext cx="565116" cy="720000"/>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prstClr val="white"/>
                </a:solidFill>
              </a:endParaRPr>
            </a:p>
          </p:txBody>
        </p:sp>
      </p:grpSp>
      <p:sp>
        <p:nvSpPr>
          <p:cNvPr id="2" name="Title 1"/>
          <p:cNvSpPr>
            <a:spLocks noGrp="1"/>
          </p:cNvSpPr>
          <p:nvPr>
            <p:ph type="title"/>
          </p:nvPr>
        </p:nvSpPr>
        <p:spPr>
          <a:xfrm>
            <a:off x="2267745" y="116632"/>
            <a:ext cx="6840760" cy="720080"/>
          </a:xfrm>
        </p:spPr>
        <p:txBody>
          <a:bodyPr>
            <a:normAutofit/>
          </a:bodyPr>
          <a:lstStyle>
            <a:lvl1pPr>
              <a:defRPr sz="1500" b="1">
                <a:solidFill>
                  <a:schemeClr val="bg1"/>
                </a:solidFill>
              </a:defRPr>
            </a:lvl1pPr>
          </a:lstStyle>
          <a:p>
            <a:r>
              <a:rPr lang="en-US"/>
              <a:t>Click to edit Master title style</a:t>
            </a:r>
            <a:endParaRPr lang="en-GB"/>
          </a:p>
        </p:txBody>
      </p:sp>
      <p:sp>
        <p:nvSpPr>
          <p:cNvPr id="3" name="Date Placeholder 2"/>
          <p:cNvSpPr>
            <a:spLocks noGrp="1"/>
          </p:cNvSpPr>
          <p:nvPr>
            <p:ph type="dt" sz="half" idx="10"/>
          </p:nvPr>
        </p:nvSpPr>
        <p:spPr/>
        <p:txBody>
          <a:bodyPr/>
          <a:lstStyle/>
          <a:p>
            <a:fld id="{B73CDD7B-8795-4A80-B434-BC525C02A8AE}" type="datetime1">
              <a:rPr lang="en-GB" smtClean="0">
                <a:solidFill>
                  <a:prstClr val="black">
                    <a:tint val="75000"/>
                  </a:prstClr>
                </a:solidFill>
              </a:rPr>
              <a:pPr/>
              <a:t>18/08/2017</a:t>
            </a:fld>
            <a:endParaRPr lang="en-GB"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GB"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8DE9EFF3-1512-4B0B-A303-06EB8BB7A730}" type="slidenum">
              <a:rPr lang="en-GB" smtClean="0">
                <a:solidFill>
                  <a:prstClr val="black">
                    <a:tint val="75000"/>
                  </a:prstClr>
                </a:solidFill>
              </a:rPr>
              <a:pPr/>
              <a:t>‹#›</a:t>
            </a:fld>
            <a:endParaRPr lang="en-GB" dirty="0">
              <a:solidFill>
                <a:prstClr val="black">
                  <a:tint val="75000"/>
                </a:prstClr>
              </a:solidFill>
            </a:endParaRPr>
          </a:p>
        </p:txBody>
      </p:sp>
      <p:cxnSp>
        <p:nvCxnSpPr>
          <p:cNvPr id="8" name="Straight Connector 7"/>
          <p:cNvCxnSpPr/>
          <p:nvPr userDrawn="1"/>
        </p:nvCxnSpPr>
        <p:spPr>
          <a:xfrm>
            <a:off x="-13136" y="6345324"/>
            <a:ext cx="9180000" cy="0"/>
          </a:xfrm>
          <a:prstGeom prst="line">
            <a:avLst/>
          </a:prstGeom>
          <a:ln w="381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13136" y="6381328"/>
            <a:ext cx="9180000" cy="0"/>
          </a:xfrm>
          <a:prstGeom prst="line">
            <a:avLst/>
          </a:prstGeom>
          <a:ln>
            <a:solidFill>
              <a:srgbClr val="DD2E12"/>
            </a:solidFill>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userDrawn="1"/>
        </p:nvPicPr>
        <p:blipFill>
          <a:blip r:embed="rId2" cstate="print"/>
          <a:stretch>
            <a:fillRect/>
          </a:stretch>
        </p:blipFill>
        <p:spPr>
          <a:xfrm>
            <a:off x="76825" y="128412"/>
            <a:ext cx="2011680" cy="682796"/>
          </a:xfrm>
          <a:prstGeom prst="rect">
            <a:avLst/>
          </a:prstGeom>
        </p:spPr>
      </p:pic>
    </p:spTree>
    <p:extLst>
      <p:ext uri="{BB962C8B-B14F-4D97-AF65-F5344CB8AC3E}">
        <p14:creationId xmlns:p14="http://schemas.microsoft.com/office/powerpoint/2010/main" xmlns="" val="25547616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8" name="Rectangle 7"/>
          <p:cNvSpPr/>
          <p:nvPr userDrawn="1"/>
        </p:nvSpPr>
        <p:spPr>
          <a:xfrm>
            <a:off x="0" y="0"/>
            <a:ext cx="3658552" cy="6858000"/>
          </a:xfrm>
          <a:prstGeom prst="rect">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350" dirty="0">
              <a:solidFill>
                <a:prstClr val="black"/>
              </a:solidFill>
            </a:endParaRPr>
          </a:p>
        </p:txBody>
      </p:sp>
      <p:sp>
        <p:nvSpPr>
          <p:cNvPr id="7" name="Picture Placeholder 6"/>
          <p:cNvSpPr>
            <a:spLocks noGrp="1"/>
          </p:cNvSpPr>
          <p:nvPr>
            <p:ph type="pic" sz="quarter" idx="13"/>
          </p:nvPr>
        </p:nvSpPr>
        <p:spPr>
          <a:xfrm>
            <a:off x="3658552" y="0"/>
            <a:ext cx="5486400" cy="6858000"/>
          </a:xfrm>
        </p:spPr>
        <p:txBody>
          <a:bodyPr/>
          <a:lstStyle/>
          <a:p>
            <a:endParaRPr lang="en-US" dirty="0"/>
          </a:p>
        </p:txBody>
      </p:sp>
      <p:grpSp>
        <p:nvGrpSpPr>
          <p:cNvPr id="11" name="Group 10"/>
          <p:cNvGrpSpPr/>
          <p:nvPr/>
        </p:nvGrpSpPr>
        <p:grpSpPr>
          <a:xfrm>
            <a:off x="251520" y="1412778"/>
            <a:ext cx="2808312" cy="23021"/>
            <a:chOff x="251520" y="1412776"/>
            <a:chExt cx="2808312" cy="23021"/>
          </a:xfrm>
        </p:grpSpPr>
        <p:cxnSp>
          <p:nvCxnSpPr>
            <p:cNvPr id="12" name="Straight Connector 11"/>
            <p:cNvCxnSpPr/>
            <p:nvPr/>
          </p:nvCxnSpPr>
          <p:spPr>
            <a:xfrm>
              <a:off x="251520" y="1412776"/>
              <a:ext cx="2808312" cy="0"/>
            </a:xfrm>
            <a:prstGeom prst="line">
              <a:avLst/>
            </a:prstGeom>
            <a:ln w="3175"/>
          </p:spPr>
          <p:style>
            <a:lnRef idx="1">
              <a:schemeClr val="accent2"/>
            </a:lnRef>
            <a:fillRef idx="0">
              <a:schemeClr val="accent2"/>
            </a:fillRef>
            <a:effectRef idx="0">
              <a:schemeClr val="accent2"/>
            </a:effectRef>
            <a:fontRef idx="minor">
              <a:schemeClr val="tx1"/>
            </a:fontRef>
          </p:style>
        </p:cxnSp>
        <p:cxnSp>
          <p:nvCxnSpPr>
            <p:cNvPr id="13" name="Straight Connector 12"/>
            <p:cNvCxnSpPr/>
            <p:nvPr/>
          </p:nvCxnSpPr>
          <p:spPr>
            <a:xfrm>
              <a:off x="251520" y="1435797"/>
              <a:ext cx="2808312" cy="0"/>
            </a:xfrm>
            <a:prstGeom prst="line">
              <a:avLst/>
            </a:prstGeom>
            <a:ln w="9525">
              <a:solidFill>
                <a:schemeClr val="tx1">
                  <a:lumMod val="65000"/>
                  <a:lumOff val="35000"/>
                </a:schemeClr>
              </a:solidFill>
            </a:ln>
          </p:spPr>
          <p:style>
            <a:lnRef idx="1">
              <a:schemeClr val="accent2"/>
            </a:lnRef>
            <a:fillRef idx="0">
              <a:schemeClr val="accent2"/>
            </a:fillRef>
            <a:effectRef idx="0">
              <a:schemeClr val="accent2"/>
            </a:effectRef>
            <a:fontRef idx="minor">
              <a:schemeClr val="tx1"/>
            </a:fontRef>
          </p:style>
        </p:cxnSp>
      </p:grpSp>
      <p:pic>
        <p:nvPicPr>
          <p:cNvPr id="2" name="Picture 1"/>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251520" y="6179658"/>
            <a:ext cx="1097280" cy="373087"/>
          </a:xfrm>
          <a:prstGeom prst="rect">
            <a:avLst/>
          </a:prstGeom>
        </p:spPr>
      </p:pic>
    </p:spTree>
    <p:extLst>
      <p:ext uri="{BB962C8B-B14F-4D97-AF65-F5344CB8AC3E}">
        <p14:creationId xmlns:p14="http://schemas.microsoft.com/office/powerpoint/2010/main" xmlns="" val="3800379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8" name="Rectangle 7"/>
          <p:cNvSpPr/>
          <p:nvPr userDrawn="1"/>
        </p:nvSpPr>
        <p:spPr>
          <a:xfrm>
            <a:off x="4572001" y="0"/>
            <a:ext cx="4568552" cy="6858000"/>
          </a:xfrm>
          <a:prstGeom prst="rect">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350" dirty="0">
              <a:solidFill>
                <a:prstClr val="black"/>
              </a:solidFill>
            </a:endParaRPr>
          </a:p>
        </p:txBody>
      </p:sp>
      <p:sp>
        <p:nvSpPr>
          <p:cNvPr id="7" name="Picture Placeholder 6"/>
          <p:cNvSpPr>
            <a:spLocks noGrp="1"/>
          </p:cNvSpPr>
          <p:nvPr>
            <p:ph type="pic" sz="quarter" idx="13"/>
          </p:nvPr>
        </p:nvSpPr>
        <p:spPr>
          <a:xfrm>
            <a:off x="-64" y="0"/>
            <a:ext cx="4572064" cy="6858000"/>
          </a:xfrm>
        </p:spPr>
        <p:txBody>
          <a:bodyPr/>
          <a:lstStyle/>
          <a:p>
            <a:endParaRPr lang="en-US" dirty="0"/>
          </a:p>
        </p:txBody>
      </p:sp>
      <p:grpSp>
        <p:nvGrpSpPr>
          <p:cNvPr id="11" name="Group 10"/>
          <p:cNvGrpSpPr/>
          <p:nvPr/>
        </p:nvGrpSpPr>
        <p:grpSpPr>
          <a:xfrm>
            <a:off x="4788025" y="908738"/>
            <a:ext cx="3960440" cy="35559"/>
            <a:chOff x="251520" y="1412776"/>
            <a:chExt cx="2808312" cy="17905"/>
          </a:xfrm>
        </p:grpSpPr>
        <p:cxnSp>
          <p:nvCxnSpPr>
            <p:cNvPr id="12" name="Straight Connector 11"/>
            <p:cNvCxnSpPr/>
            <p:nvPr/>
          </p:nvCxnSpPr>
          <p:spPr>
            <a:xfrm>
              <a:off x="251520" y="1412776"/>
              <a:ext cx="2808312" cy="0"/>
            </a:xfrm>
            <a:prstGeom prst="line">
              <a:avLst/>
            </a:prstGeom>
            <a:ln w="3175"/>
          </p:spPr>
          <p:style>
            <a:lnRef idx="1">
              <a:schemeClr val="accent2"/>
            </a:lnRef>
            <a:fillRef idx="0">
              <a:schemeClr val="accent2"/>
            </a:fillRef>
            <a:effectRef idx="0">
              <a:schemeClr val="accent2"/>
            </a:effectRef>
            <a:fontRef idx="minor">
              <a:schemeClr val="tx1"/>
            </a:fontRef>
          </p:style>
        </p:cxnSp>
        <p:cxnSp>
          <p:nvCxnSpPr>
            <p:cNvPr id="13" name="Straight Connector 12"/>
            <p:cNvCxnSpPr/>
            <p:nvPr/>
          </p:nvCxnSpPr>
          <p:spPr>
            <a:xfrm>
              <a:off x="251520" y="1430681"/>
              <a:ext cx="2808312" cy="0"/>
            </a:xfrm>
            <a:prstGeom prst="line">
              <a:avLst/>
            </a:prstGeom>
            <a:ln w="9525">
              <a:solidFill>
                <a:schemeClr val="tx1">
                  <a:lumMod val="65000"/>
                  <a:lumOff val="35000"/>
                </a:schemeClr>
              </a:solidFill>
            </a:ln>
          </p:spPr>
          <p:style>
            <a:lnRef idx="1">
              <a:schemeClr val="accent2"/>
            </a:lnRef>
            <a:fillRef idx="0">
              <a:schemeClr val="accent2"/>
            </a:fillRef>
            <a:effectRef idx="0">
              <a:schemeClr val="accent2"/>
            </a:effectRef>
            <a:fontRef idx="minor">
              <a:schemeClr val="tx1"/>
            </a:fontRef>
          </p:style>
        </p:cxnSp>
      </p:grpSp>
      <p:pic>
        <p:nvPicPr>
          <p:cNvPr id="9" name="Picture 8"/>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7745818" y="6168809"/>
            <a:ext cx="1097280" cy="373087"/>
          </a:xfrm>
          <a:prstGeom prst="rect">
            <a:avLst/>
          </a:prstGeom>
        </p:spPr>
      </p:pic>
    </p:spTree>
    <p:extLst>
      <p:ext uri="{BB962C8B-B14F-4D97-AF65-F5344CB8AC3E}">
        <p14:creationId xmlns:p14="http://schemas.microsoft.com/office/powerpoint/2010/main" xmlns="" val="24474147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8" name="Rectangle 7"/>
          <p:cNvSpPr/>
          <p:nvPr userDrawn="1"/>
        </p:nvSpPr>
        <p:spPr>
          <a:xfrm>
            <a:off x="3448" y="0"/>
            <a:ext cx="4568552" cy="6858000"/>
          </a:xfrm>
          <a:prstGeom prst="rect">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350" dirty="0">
              <a:solidFill>
                <a:prstClr val="black"/>
              </a:solidFill>
            </a:endParaRPr>
          </a:p>
        </p:txBody>
      </p:sp>
      <p:sp>
        <p:nvSpPr>
          <p:cNvPr id="7" name="Picture Placeholder 6"/>
          <p:cNvSpPr>
            <a:spLocks noGrp="1"/>
          </p:cNvSpPr>
          <p:nvPr>
            <p:ph type="pic" sz="quarter" idx="13"/>
          </p:nvPr>
        </p:nvSpPr>
        <p:spPr>
          <a:xfrm>
            <a:off x="4572000" y="0"/>
            <a:ext cx="4572064" cy="6858000"/>
          </a:xfrm>
        </p:spPr>
        <p:txBody>
          <a:bodyPr/>
          <a:lstStyle/>
          <a:p>
            <a:endParaRPr lang="en-US" dirty="0"/>
          </a:p>
        </p:txBody>
      </p:sp>
      <p:grpSp>
        <p:nvGrpSpPr>
          <p:cNvPr id="11" name="Group 10"/>
          <p:cNvGrpSpPr/>
          <p:nvPr/>
        </p:nvGrpSpPr>
        <p:grpSpPr>
          <a:xfrm>
            <a:off x="219472" y="908738"/>
            <a:ext cx="3960440" cy="35559"/>
            <a:chOff x="251520" y="1412776"/>
            <a:chExt cx="2808312" cy="17905"/>
          </a:xfrm>
        </p:grpSpPr>
        <p:cxnSp>
          <p:nvCxnSpPr>
            <p:cNvPr id="12" name="Straight Connector 11"/>
            <p:cNvCxnSpPr/>
            <p:nvPr/>
          </p:nvCxnSpPr>
          <p:spPr>
            <a:xfrm>
              <a:off x="251520" y="1412776"/>
              <a:ext cx="2808312" cy="0"/>
            </a:xfrm>
            <a:prstGeom prst="line">
              <a:avLst/>
            </a:prstGeom>
            <a:ln w="3175"/>
          </p:spPr>
          <p:style>
            <a:lnRef idx="1">
              <a:schemeClr val="accent2"/>
            </a:lnRef>
            <a:fillRef idx="0">
              <a:schemeClr val="accent2"/>
            </a:fillRef>
            <a:effectRef idx="0">
              <a:schemeClr val="accent2"/>
            </a:effectRef>
            <a:fontRef idx="minor">
              <a:schemeClr val="tx1"/>
            </a:fontRef>
          </p:style>
        </p:cxnSp>
        <p:cxnSp>
          <p:nvCxnSpPr>
            <p:cNvPr id="13" name="Straight Connector 12"/>
            <p:cNvCxnSpPr/>
            <p:nvPr/>
          </p:nvCxnSpPr>
          <p:spPr>
            <a:xfrm>
              <a:off x="251520" y="1430681"/>
              <a:ext cx="2808312" cy="0"/>
            </a:xfrm>
            <a:prstGeom prst="line">
              <a:avLst/>
            </a:prstGeom>
            <a:ln w="9525">
              <a:solidFill>
                <a:schemeClr val="tx1">
                  <a:lumMod val="65000"/>
                  <a:lumOff val="35000"/>
                </a:schemeClr>
              </a:solidFill>
            </a:ln>
          </p:spPr>
          <p:style>
            <a:lnRef idx="1">
              <a:schemeClr val="accent2"/>
            </a:lnRef>
            <a:fillRef idx="0">
              <a:schemeClr val="accent2"/>
            </a:fillRef>
            <a:effectRef idx="0">
              <a:schemeClr val="accent2"/>
            </a:effectRef>
            <a:fontRef idx="minor">
              <a:schemeClr val="tx1"/>
            </a:fontRef>
          </p:style>
        </p:cxnSp>
      </p:grpSp>
      <p:pic>
        <p:nvPicPr>
          <p:cNvPr id="9" name="Picture 8"/>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251520" y="6179658"/>
            <a:ext cx="1097280" cy="373087"/>
          </a:xfrm>
          <a:prstGeom prst="rect">
            <a:avLst/>
          </a:prstGeom>
        </p:spPr>
      </p:pic>
    </p:spTree>
    <p:extLst>
      <p:ext uri="{BB962C8B-B14F-4D97-AF65-F5344CB8AC3E}">
        <p14:creationId xmlns:p14="http://schemas.microsoft.com/office/powerpoint/2010/main" xmlns="" val="3066501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457200" y="1600202"/>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a:defRPr sz="900">
                <a:solidFill>
                  <a:schemeClr val="tx1">
                    <a:tint val="75000"/>
                  </a:schemeClr>
                </a:solidFill>
                <a:latin typeface="Century Gothic" panose="020B0502020202020204" pitchFamily="34" charset="0"/>
              </a:defRPr>
            </a:lvl1pPr>
          </a:lstStyle>
          <a:p>
            <a:fld id="{E08A2593-67FF-45BB-81F3-CD0A99BCE378}" type="datetime1">
              <a:rPr lang="en-GB" smtClean="0">
                <a:solidFill>
                  <a:prstClr val="black">
                    <a:tint val="75000"/>
                  </a:prstClr>
                </a:solidFill>
              </a:rPr>
              <a:pPr/>
              <a:t>18/08/2017</a:t>
            </a:fld>
            <a:endParaRPr lang="en-GB" dirty="0">
              <a:solidFill>
                <a:prstClr val="black">
                  <a:tint val="75000"/>
                </a:prstClr>
              </a:solidFill>
            </a:endParaRPr>
          </a:p>
        </p:txBody>
      </p:sp>
      <p:sp>
        <p:nvSpPr>
          <p:cNvPr id="5" name="Footer Placeholder 4"/>
          <p:cNvSpPr>
            <a:spLocks noGrp="1"/>
          </p:cNvSpPr>
          <p:nvPr>
            <p:ph type="ftr" sz="quarter" idx="3"/>
          </p:nvPr>
        </p:nvSpPr>
        <p:spPr>
          <a:xfrm>
            <a:off x="3124200" y="6356352"/>
            <a:ext cx="2895600" cy="365125"/>
          </a:xfrm>
          <a:prstGeom prst="rect">
            <a:avLst/>
          </a:prstGeom>
        </p:spPr>
        <p:txBody>
          <a:bodyPr vert="horz" lIns="91440" tIns="45720" rIns="91440" bIns="45720" rtlCol="0" anchor="ctr"/>
          <a:lstStyle>
            <a:lvl1pPr algn="ctr">
              <a:defRPr sz="900">
                <a:solidFill>
                  <a:schemeClr val="tx1">
                    <a:tint val="75000"/>
                  </a:schemeClr>
                </a:solidFill>
                <a:latin typeface="Century Gothic" panose="020B0502020202020204" pitchFamily="34" charset="0"/>
              </a:defRPr>
            </a:lvl1pPr>
          </a:lstStyle>
          <a:p>
            <a:endParaRPr lang="en-GB" dirty="0">
              <a:solidFill>
                <a:prstClr val="black">
                  <a:tint val="75000"/>
                </a:prstClr>
              </a:solidFill>
            </a:endParaRPr>
          </a:p>
        </p:txBody>
      </p:sp>
      <p:sp>
        <p:nvSpPr>
          <p:cNvPr id="6" name="Slide Number Placeholder 5"/>
          <p:cNvSpPr>
            <a:spLocks noGrp="1"/>
          </p:cNvSpPr>
          <p:nvPr>
            <p:ph type="sldNum" sz="quarter" idx="4"/>
          </p:nvPr>
        </p:nvSpPr>
        <p:spPr>
          <a:xfrm>
            <a:off x="6553200" y="6356352"/>
            <a:ext cx="2133600" cy="365125"/>
          </a:xfrm>
          <a:prstGeom prst="rect">
            <a:avLst/>
          </a:prstGeom>
        </p:spPr>
        <p:txBody>
          <a:bodyPr vert="horz" lIns="91440" tIns="45720" rIns="91440" bIns="45720" rtlCol="0" anchor="ctr"/>
          <a:lstStyle>
            <a:lvl1pPr algn="r">
              <a:defRPr sz="900">
                <a:solidFill>
                  <a:schemeClr val="tx1">
                    <a:tint val="75000"/>
                  </a:schemeClr>
                </a:solidFill>
                <a:latin typeface="Century Gothic" panose="020B0502020202020204" pitchFamily="34" charset="0"/>
              </a:defRPr>
            </a:lvl1pPr>
          </a:lstStyle>
          <a:p>
            <a:fld id="{8DE9EFF3-1512-4B0B-A303-06EB8BB7A730}"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xmlns="" val="343684457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6" r:id="rId10"/>
    <p:sldLayoutId id="2147483670" r:id="rId11"/>
    <p:sldLayoutId id="2147483671" r:id="rId12"/>
    <p:sldLayoutId id="2147483672" r:id="rId13"/>
    <p:sldLayoutId id="2147483673" r:id="rId14"/>
    <p:sldLayoutId id="2147483674" r:id="rId15"/>
    <p:sldLayoutId id="2147483675" r:id="rId16"/>
  </p:sldLayoutIdLst>
  <p:hf hdr="0" ftr="0" dt="0"/>
  <p:txStyles>
    <p:titleStyle>
      <a:lvl1pPr algn="ctr" defTabSz="685800" rtl="0" eaLnBrk="1" latinLnBrk="0" hangingPunct="1">
        <a:spcBef>
          <a:spcPct val="0"/>
        </a:spcBef>
        <a:buNone/>
        <a:defRPr sz="3300" kern="1200">
          <a:solidFill>
            <a:schemeClr val="tx1"/>
          </a:solidFill>
          <a:latin typeface="Century Gothic" panose="020B0502020202020204" pitchFamily="34" charset="0"/>
          <a:ea typeface="+mj-ea"/>
          <a:cs typeface="+mj-cs"/>
        </a:defRPr>
      </a:lvl1pPr>
    </p:titleStyle>
    <p:bodyStyle>
      <a:lvl1pPr marL="257175" indent="-257175" algn="l" defTabSz="685800" rtl="0" eaLnBrk="1" latinLnBrk="0" hangingPunct="1">
        <a:spcBef>
          <a:spcPct val="20000"/>
        </a:spcBef>
        <a:buFont typeface="Arial" pitchFamily="34" charset="0"/>
        <a:buChar char="•"/>
        <a:defRPr sz="2400" kern="1200">
          <a:solidFill>
            <a:schemeClr val="tx1"/>
          </a:solidFill>
          <a:latin typeface="Century Gothic" panose="020B0502020202020204" pitchFamily="34" charset="0"/>
          <a:ea typeface="+mn-ea"/>
          <a:cs typeface="+mn-cs"/>
        </a:defRPr>
      </a:lvl1pPr>
      <a:lvl2pPr marL="557213" indent="-214313" algn="l" defTabSz="685800" rtl="0" eaLnBrk="1" latinLnBrk="0" hangingPunct="1">
        <a:spcBef>
          <a:spcPct val="20000"/>
        </a:spcBef>
        <a:buFont typeface="Arial" pitchFamily="34" charset="0"/>
        <a:buChar char="–"/>
        <a:defRPr sz="2100" kern="1200">
          <a:solidFill>
            <a:schemeClr val="tx1"/>
          </a:solidFill>
          <a:latin typeface="Century Gothic" panose="020B0502020202020204" pitchFamily="34" charset="0"/>
          <a:ea typeface="+mn-ea"/>
          <a:cs typeface="+mn-cs"/>
        </a:defRPr>
      </a:lvl2pPr>
      <a:lvl3pPr marL="857250" indent="-171450" algn="l" defTabSz="685800" rtl="0" eaLnBrk="1" latinLnBrk="0" hangingPunct="1">
        <a:spcBef>
          <a:spcPct val="20000"/>
        </a:spcBef>
        <a:buFont typeface="Arial" pitchFamily="34" charset="0"/>
        <a:buChar char="•"/>
        <a:defRPr sz="1800" kern="1200">
          <a:solidFill>
            <a:schemeClr val="tx1"/>
          </a:solidFill>
          <a:latin typeface="Century Gothic" panose="020B0502020202020204" pitchFamily="34" charset="0"/>
          <a:ea typeface="+mn-ea"/>
          <a:cs typeface="+mn-cs"/>
        </a:defRPr>
      </a:lvl3pPr>
      <a:lvl4pPr marL="1200150" indent="-171450" algn="l" defTabSz="685800" rtl="0" eaLnBrk="1" latinLnBrk="0" hangingPunct="1">
        <a:spcBef>
          <a:spcPct val="20000"/>
        </a:spcBef>
        <a:buFont typeface="Arial" pitchFamily="34" charset="0"/>
        <a:buChar char="–"/>
        <a:defRPr sz="1500" kern="1200">
          <a:solidFill>
            <a:schemeClr val="tx1"/>
          </a:solidFill>
          <a:latin typeface="Century Gothic" panose="020B0502020202020204" pitchFamily="34" charset="0"/>
          <a:ea typeface="+mn-ea"/>
          <a:cs typeface="+mn-cs"/>
        </a:defRPr>
      </a:lvl4pPr>
      <a:lvl5pPr marL="1543050" indent="-171450" algn="l" defTabSz="685800" rtl="0" eaLnBrk="1" latinLnBrk="0" hangingPunct="1">
        <a:spcBef>
          <a:spcPct val="20000"/>
        </a:spcBef>
        <a:buFont typeface="Arial" pitchFamily="34" charset="0"/>
        <a:buChar char="»"/>
        <a:defRPr sz="1500" kern="1200">
          <a:solidFill>
            <a:schemeClr val="tx1"/>
          </a:solidFill>
          <a:latin typeface="Century Gothic" panose="020B0502020202020204" pitchFamily="34" charset="0"/>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4.xml"/><Relationship Id="rId5" Type="http://schemas.openxmlformats.org/officeDocument/2006/relationships/chart" Target="../charts/chart4.xml"/><Relationship Id="rId4" Type="http://schemas.openxmlformats.org/officeDocument/2006/relationships/chart" Target="../charts/chart3.xml"/></Relationships>
</file>

<file path=ppt/slides/_rels/slide3.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tags" Target="../tags/tag39.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tags" Target="../tags/tag42.xml"/><Relationship Id="rId47" Type="http://schemas.openxmlformats.org/officeDocument/2006/relationships/tags" Target="../tags/tag47.xml"/><Relationship Id="rId50" Type="http://schemas.openxmlformats.org/officeDocument/2006/relationships/tags" Target="../tags/tag50.xml"/><Relationship Id="rId55" Type="http://schemas.openxmlformats.org/officeDocument/2006/relationships/tags" Target="../tags/tag55.xml"/><Relationship Id="rId63" Type="http://schemas.openxmlformats.org/officeDocument/2006/relationships/tags" Target="../tags/tag63.xml"/><Relationship Id="rId68" Type="http://schemas.openxmlformats.org/officeDocument/2006/relationships/slideLayout" Target="../slideLayouts/slideLayout4.xml"/><Relationship Id="rId7" Type="http://schemas.openxmlformats.org/officeDocument/2006/relationships/tags" Target="../tags/tag7.xml"/><Relationship Id="rId2" Type="http://schemas.openxmlformats.org/officeDocument/2006/relationships/tags" Target="../tags/tag2.xml"/><Relationship Id="rId16" Type="http://schemas.openxmlformats.org/officeDocument/2006/relationships/tags" Target="../tags/tag16.xml"/><Relationship Id="rId29" Type="http://schemas.openxmlformats.org/officeDocument/2006/relationships/tags" Target="../tags/tag29.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45" Type="http://schemas.openxmlformats.org/officeDocument/2006/relationships/tags" Target="../tags/tag45.xml"/><Relationship Id="rId53" Type="http://schemas.openxmlformats.org/officeDocument/2006/relationships/tags" Target="../tags/tag53.xml"/><Relationship Id="rId58" Type="http://schemas.openxmlformats.org/officeDocument/2006/relationships/tags" Target="../tags/tag58.xml"/><Relationship Id="rId66" Type="http://schemas.openxmlformats.org/officeDocument/2006/relationships/tags" Target="../tags/tag66.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tags" Target="../tags/tag49.xml"/><Relationship Id="rId57" Type="http://schemas.openxmlformats.org/officeDocument/2006/relationships/tags" Target="../tags/tag57.xml"/><Relationship Id="rId61" Type="http://schemas.openxmlformats.org/officeDocument/2006/relationships/tags" Target="../tags/tag61.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4" Type="http://schemas.openxmlformats.org/officeDocument/2006/relationships/tags" Target="../tags/tag44.xml"/><Relationship Id="rId52" Type="http://schemas.openxmlformats.org/officeDocument/2006/relationships/tags" Target="../tags/tag52.xml"/><Relationship Id="rId60" Type="http://schemas.openxmlformats.org/officeDocument/2006/relationships/tags" Target="../tags/tag60.xml"/><Relationship Id="rId65" Type="http://schemas.openxmlformats.org/officeDocument/2006/relationships/tags" Target="../tags/tag65.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tags" Target="../tags/tag43.xml"/><Relationship Id="rId48" Type="http://schemas.openxmlformats.org/officeDocument/2006/relationships/tags" Target="../tags/tag48.xml"/><Relationship Id="rId56" Type="http://schemas.openxmlformats.org/officeDocument/2006/relationships/tags" Target="../tags/tag56.xml"/><Relationship Id="rId64" Type="http://schemas.openxmlformats.org/officeDocument/2006/relationships/tags" Target="../tags/tag64.xml"/><Relationship Id="rId8" Type="http://schemas.openxmlformats.org/officeDocument/2006/relationships/tags" Target="../tags/tag8.xml"/><Relationship Id="rId51" Type="http://schemas.openxmlformats.org/officeDocument/2006/relationships/tags" Target="../tags/tag51.xml"/><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59" Type="http://schemas.openxmlformats.org/officeDocument/2006/relationships/tags" Target="../tags/tag59.xml"/><Relationship Id="rId67" Type="http://schemas.openxmlformats.org/officeDocument/2006/relationships/tags" Target="../tags/tag67.xml"/><Relationship Id="rId20" Type="http://schemas.openxmlformats.org/officeDocument/2006/relationships/tags" Target="../tags/tag20.xml"/><Relationship Id="rId41" Type="http://schemas.openxmlformats.org/officeDocument/2006/relationships/tags" Target="../tags/tag41.xml"/><Relationship Id="rId54" Type="http://schemas.openxmlformats.org/officeDocument/2006/relationships/tags" Target="../tags/tag54.xml"/><Relationship Id="rId62" Type="http://schemas.openxmlformats.org/officeDocument/2006/relationships/tags" Target="../tags/tag62.xml"/></Relationships>
</file>

<file path=ppt/slides/_rels/slide6.xml.rels><?xml version="1.0" encoding="UTF-8" standalone="yes"?>
<Relationships xmlns="http://schemas.openxmlformats.org/package/2006/relationships"><Relationship Id="rId8" Type="http://schemas.openxmlformats.org/officeDocument/2006/relationships/tags" Target="../tags/tag75.xml"/><Relationship Id="rId13" Type="http://schemas.openxmlformats.org/officeDocument/2006/relationships/tags" Target="../tags/tag80.xml"/><Relationship Id="rId18" Type="http://schemas.openxmlformats.org/officeDocument/2006/relationships/tags" Target="../tags/tag85.xml"/><Relationship Id="rId26" Type="http://schemas.openxmlformats.org/officeDocument/2006/relationships/tags" Target="../tags/tag93.xml"/><Relationship Id="rId39" Type="http://schemas.openxmlformats.org/officeDocument/2006/relationships/tags" Target="../tags/tag106.xml"/><Relationship Id="rId3" Type="http://schemas.openxmlformats.org/officeDocument/2006/relationships/tags" Target="../tags/tag70.xml"/><Relationship Id="rId21" Type="http://schemas.openxmlformats.org/officeDocument/2006/relationships/tags" Target="../tags/tag88.xml"/><Relationship Id="rId34" Type="http://schemas.openxmlformats.org/officeDocument/2006/relationships/tags" Target="../tags/tag101.xml"/><Relationship Id="rId42" Type="http://schemas.openxmlformats.org/officeDocument/2006/relationships/tags" Target="../tags/tag109.xml"/><Relationship Id="rId47" Type="http://schemas.openxmlformats.org/officeDocument/2006/relationships/slideLayout" Target="../slideLayouts/slideLayout4.xml"/><Relationship Id="rId7" Type="http://schemas.openxmlformats.org/officeDocument/2006/relationships/tags" Target="../tags/tag74.xml"/><Relationship Id="rId12" Type="http://schemas.openxmlformats.org/officeDocument/2006/relationships/tags" Target="../tags/tag79.xml"/><Relationship Id="rId17" Type="http://schemas.openxmlformats.org/officeDocument/2006/relationships/tags" Target="../tags/tag84.xml"/><Relationship Id="rId25" Type="http://schemas.openxmlformats.org/officeDocument/2006/relationships/tags" Target="../tags/tag92.xml"/><Relationship Id="rId33" Type="http://schemas.openxmlformats.org/officeDocument/2006/relationships/tags" Target="../tags/tag100.xml"/><Relationship Id="rId38" Type="http://schemas.openxmlformats.org/officeDocument/2006/relationships/tags" Target="../tags/tag105.xml"/><Relationship Id="rId46" Type="http://schemas.openxmlformats.org/officeDocument/2006/relationships/tags" Target="../tags/tag113.xml"/><Relationship Id="rId2" Type="http://schemas.openxmlformats.org/officeDocument/2006/relationships/tags" Target="../tags/tag69.xml"/><Relationship Id="rId16" Type="http://schemas.openxmlformats.org/officeDocument/2006/relationships/tags" Target="../tags/tag83.xml"/><Relationship Id="rId20" Type="http://schemas.openxmlformats.org/officeDocument/2006/relationships/tags" Target="../tags/tag87.xml"/><Relationship Id="rId29" Type="http://schemas.openxmlformats.org/officeDocument/2006/relationships/tags" Target="../tags/tag96.xml"/><Relationship Id="rId41" Type="http://schemas.openxmlformats.org/officeDocument/2006/relationships/tags" Target="../tags/tag108.xml"/><Relationship Id="rId1" Type="http://schemas.openxmlformats.org/officeDocument/2006/relationships/tags" Target="../tags/tag68.xml"/><Relationship Id="rId6" Type="http://schemas.openxmlformats.org/officeDocument/2006/relationships/tags" Target="../tags/tag73.xml"/><Relationship Id="rId11" Type="http://schemas.openxmlformats.org/officeDocument/2006/relationships/tags" Target="../tags/tag78.xml"/><Relationship Id="rId24" Type="http://schemas.openxmlformats.org/officeDocument/2006/relationships/tags" Target="../tags/tag91.xml"/><Relationship Id="rId32" Type="http://schemas.openxmlformats.org/officeDocument/2006/relationships/tags" Target="../tags/tag99.xml"/><Relationship Id="rId37" Type="http://schemas.openxmlformats.org/officeDocument/2006/relationships/tags" Target="../tags/tag104.xml"/><Relationship Id="rId40" Type="http://schemas.openxmlformats.org/officeDocument/2006/relationships/tags" Target="../tags/tag107.xml"/><Relationship Id="rId45" Type="http://schemas.openxmlformats.org/officeDocument/2006/relationships/tags" Target="../tags/tag112.xml"/><Relationship Id="rId5" Type="http://schemas.openxmlformats.org/officeDocument/2006/relationships/tags" Target="../tags/tag72.xml"/><Relationship Id="rId15" Type="http://schemas.openxmlformats.org/officeDocument/2006/relationships/tags" Target="../tags/tag82.xml"/><Relationship Id="rId23" Type="http://schemas.openxmlformats.org/officeDocument/2006/relationships/tags" Target="../tags/tag90.xml"/><Relationship Id="rId28" Type="http://schemas.openxmlformats.org/officeDocument/2006/relationships/tags" Target="../tags/tag95.xml"/><Relationship Id="rId36" Type="http://schemas.openxmlformats.org/officeDocument/2006/relationships/tags" Target="../tags/tag103.xml"/><Relationship Id="rId10" Type="http://schemas.openxmlformats.org/officeDocument/2006/relationships/tags" Target="../tags/tag77.xml"/><Relationship Id="rId19" Type="http://schemas.openxmlformats.org/officeDocument/2006/relationships/tags" Target="../tags/tag86.xml"/><Relationship Id="rId31" Type="http://schemas.openxmlformats.org/officeDocument/2006/relationships/tags" Target="../tags/tag98.xml"/><Relationship Id="rId44" Type="http://schemas.openxmlformats.org/officeDocument/2006/relationships/tags" Target="../tags/tag111.xml"/><Relationship Id="rId4" Type="http://schemas.openxmlformats.org/officeDocument/2006/relationships/tags" Target="../tags/tag71.xml"/><Relationship Id="rId9" Type="http://schemas.openxmlformats.org/officeDocument/2006/relationships/tags" Target="../tags/tag76.xml"/><Relationship Id="rId14" Type="http://schemas.openxmlformats.org/officeDocument/2006/relationships/tags" Target="../tags/tag81.xml"/><Relationship Id="rId22" Type="http://schemas.openxmlformats.org/officeDocument/2006/relationships/tags" Target="../tags/tag89.xml"/><Relationship Id="rId27" Type="http://schemas.openxmlformats.org/officeDocument/2006/relationships/tags" Target="../tags/tag94.xml"/><Relationship Id="rId30" Type="http://schemas.openxmlformats.org/officeDocument/2006/relationships/tags" Target="../tags/tag97.xml"/><Relationship Id="rId35" Type="http://schemas.openxmlformats.org/officeDocument/2006/relationships/tags" Target="../tags/tag102.xml"/><Relationship Id="rId43" Type="http://schemas.openxmlformats.org/officeDocument/2006/relationships/tags" Target="../tags/tag110.xml"/></Relationships>
</file>

<file path=ppt/slides/_rels/slide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image" Target="../media/image9.png"/><Relationship Id="rId1" Type="http://schemas.openxmlformats.org/officeDocument/2006/relationships/slideLayout" Target="../slideLayouts/slideLayout4.xml"/><Relationship Id="rId6" Type="http://schemas.openxmlformats.org/officeDocument/2006/relationships/image" Target="../media/image13.jpeg"/><Relationship Id="rId5" Type="http://schemas.openxmlformats.org/officeDocument/2006/relationships/image" Target="../media/image12.jpeg"/><Relationship Id="rId4" Type="http://schemas.openxmlformats.org/officeDocument/2006/relationships/image" Target="../media/image11.png"/></Relationships>
</file>

<file path=ppt/slides/_rels/slide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p:txBody>
          <a:bodyPr>
            <a:normAutofit/>
          </a:bodyPr>
          <a:lstStyle/>
          <a:p>
            <a:pPr lvl="0" fontAlgn="base">
              <a:spcBef>
                <a:spcPct val="0"/>
              </a:spcBef>
              <a:spcAft>
                <a:spcPct val="0"/>
              </a:spcAft>
            </a:pPr>
            <a:r>
              <a:rPr lang="en-GB" sz="3200" dirty="0"/>
              <a:t>AFEX Commodities Exchange</a:t>
            </a:r>
          </a:p>
          <a:p>
            <a:pPr lvl="0" fontAlgn="base">
              <a:spcBef>
                <a:spcPct val="0"/>
              </a:spcBef>
              <a:spcAft>
                <a:spcPct val="0"/>
              </a:spcAft>
            </a:pPr>
            <a:r>
              <a:rPr lang="en-GB" sz="3200" dirty="0"/>
              <a:t>CMC Meeting Report</a:t>
            </a:r>
          </a:p>
        </p:txBody>
      </p:sp>
      <p:sp>
        <p:nvSpPr>
          <p:cNvPr id="2" name="Slide Number Placeholder 1"/>
          <p:cNvSpPr>
            <a:spLocks noGrp="1"/>
          </p:cNvSpPr>
          <p:nvPr>
            <p:ph type="sldNum" sz="quarter" idx="12"/>
          </p:nvPr>
        </p:nvSpPr>
        <p:spPr/>
        <p:txBody>
          <a:bodyPr/>
          <a:lstStyle/>
          <a:p>
            <a:fld id="{8DE9EFF3-1512-4B0B-A303-06EB8BB7A730}" type="slidenum">
              <a:rPr lang="en-GB" smtClean="0">
                <a:solidFill>
                  <a:prstClr val="black">
                    <a:tint val="75000"/>
                  </a:prstClr>
                </a:solidFill>
              </a:rPr>
              <a:pPr/>
              <a:t>1</a:t>
            </a:fld>
            <a:endParaRPr lang="en-GB" dirty="0">
              <a:solidFill>
                <a:prstClr val="black">
                  <a:tint val="75000"/>
                </a:prstClr>
              </a:solidFill>
            </a:endParaRPr>
          </a:p>
        </p:txBody>
      </p:sp>
      <p:sp>
        <p:nvSpPr>
          <p:cNvPr id="3" name="TextBox 2"/>
          <p:cNvSpPr txBox="1"/>
          <p:nvPr/>
        </p:nvSpPr>
        <p:spPr>
          <a:xfrm>
            <a:off x="2735796" y="5751258"/>
            <a:ext cx="3834426" cy="196208"/>
          </a:xfrm>
          <a:prstGeom prst="rect">
            <a:avLst/>
          </a:prstGeom>
          <a:noFill/>
        </p:spPr>
        <p:txBody>
          <a:bodyPr wrap="square" rtlCol="0">
            <a:spAutoFit/>
          </a:bodyPr>
          <a:lstStyle/>
          <a:p>
            <a:pPr algn="ctr"/>
            <a:r>
              <a:rPr lang="en-US" sz="675" dirty="0">
                <a:solidFill>
                  <a:prstClr val="white">
                    <a:lumMod val="65000"/>
                  </a:prstClr>
                </a:solidFill>
              </a:rPr>
              <a:t>Private and </a:t>
            </a:r>
            <a:r>
              <a:rPr lang="en-US" sz="675" dirty="0" smtClean="0">
                <a:solidFill>
                  <a:prstClr val="white">
                    <a:lumMod val="65000"/>
                  </a:prstClr>
                </a:solidFill>
              </a:rPr>
              <a:t>confidential</a:t>
            </a:r>
            <a:endParaRPr lang="en-US" sz="675" dirty="0">
              <a:solidFill>
                <a:prstClr val="white">
                  <a:lumMod val="65000"/>
                </a:prstClr>
              </a:solidFill>
            </a:endParaRPr>
          </a:p>
        </p:txBody>
      </p:sp>
    </p:spTree>
    <p:extLst>
      <p:ext uri="{BB962C8B-B14F-4D97-AF65-F5344CB8AC3E}">
        <p14:creationId xmlns:p14="http://schemas.microsoft.com/office/powerpoint/2010/main" xmlns="" val="408976501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8DE9EFF3-1512-4B0B-A303-06EB8BB7A730}" type="slidenum">
              <a:rPr lang="en-GB" smtClean="0">
                <a:solidFill>
                  <a:prstClr val="black">
                    <a:tint val="75000"/>
                  </a:prstClr>
                </a:solidFill>
              </a:rPr>
              <a:pPr/>
              <a:t>2</a:t>
            </a:fld>
            <a:endParaRPr lang="en-GB" dirty="0">
              <a:solidFill>
                <a:prstClr val="black">
                  <a:tint val="75000"/>
                </a:prstClr>
              </a:solidFill>
            </a:endParaRPr>
          </a:p>
        </p:txBody>
      </p:sp>
      <p:sp>
        <p:nvSpPr>
          <p:cNvPr id="3" name="Rectangle 2"/>
          <p:cNvSpPr/>
          <p:nvPr/>
        </p:nvSpPr>
        <p:spPr>
          <a:xfrm>
            <a:off x="2724422" y="254950"/>
            <a:ext cx="4398961" cy="461665"/>
          </a:xfrm>
          <a:prstGeom prst="rect">
            <a:avLst/>
          </a:prstGeom>
        </p:spPr>
        <p:txBody>
          <a:bodyPr wrap="none">
            <a:spAutoFit/>
          </a:bodyPr>
          <a:lstStyle/>
          <a:p>
            <a:r>
              <a:rPr lang="en-US" sz="2400" b="1" dirty="0" smtClean="0">
                <a:solidFill>
                  <a:schemeClr val="bg1"/>
                </a:solidFill>
              </a:rPr>
              <a:t>2017: Year </a:t>
            </a:r>
            <a:r>
              <a:rPr lang="en-US" sz="2400" b="1" dirty="0">
                <a:solidFill>
                  <a:schemeClr val="bg1"/>
                </a:solidFill>
              </a:rPr>
              <a:t>to Date Summary</a:t>
            </a:r>
            <a:endParaRPr lang="en-GB" sz="2400" b="1" dirty="0">
              <a:solidFill>
                <a:schemeClr val="bg1"/>
              </a:solidFill>
            </a:endParaRPr>
          </a:p>
        </p:txBody>
      </p:sp>
      <p:graphicFrame>
        <p:nvGraphicFramePr>
          <p:cNvPr id="5" name="Chart 4"/>
          <p:cNvGraphicFramePr>
            <a:graphicFrameLocks/>
          </p:cNvGraphicFramePr>
          <p:nvPr>
            <p:extLst>
              <p:ext uri="{D42A27DB-BD31-4B8C-83A1-F6EECF244321}">
                <p14:modId xmlns:p14="http://schemas.microsoft.com/office/powerpoint/2010/main" xmlns="" val="3390083351"/>
              </p:ext>
            </p:extLst>
          </p:nvPr>
        </p:nvGraphicFramePr>
        <p:xfrm>
          <a:off x="4451684" y="3459244"/>
          <a:ext cx="4235116" cy="289710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p:cNvGraphicFramePr>
            <a:graphicFrameLocks/>
          </p:cNvGraphicFramePr>
          <p:nvPr>
            <p:extLst>
              <p:ext uri="{D42A27DB-BD31-4B8C-83A1-F6EECF244321}">
                <p14:modId xmlns:p14="http://schemas.microsoft.com/office/powerpoint/2010/main" xmlns="" val="2304513066"/>
              </p:ext>
            </p:extLst>
          </p:nvPr>
        </p:nvGraphicFramePr>
        <p:xfrm>
          <a:off x="265556" y="3459242"/>
          <a:ext cx="4057651" cy="289710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p:cNvGraphicFramePr>
            <a:graphicFrameLocks/>
          </p:cNvGraphicFramePr>
          <p:nvPr>
            <p:extLst>
              <p:ext uri="{D42A27DB-BD31-4B8C-83A1-F6EECF244321}">
                <p14:modId xmlns:p14="http://schemas.microsoft.com/office/powerpoint/2010/main" xmlns="" val="2022017175"/>
              </p:ext>
            </p:extLst>
          </p:nvPr>
        </p:nvGraphicFramePr>
        <p:xfrm>
          <a:off x="152330" y="874306"/>
          <a:ext cx="4170877" cy="248435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 name="Chart 7"/>
          <p:cNvGraphicFramePr>
            <a:graphicFrameLocks/>
          </p:cNvGraphicFramePr>
          <p:nvPr>
            <p:extLst>
              <p:ext uri="{D42A27DB-BD31-4B8C-83A1-F6EECF244321}">
                <p14:modId xmlns:p14="http://schemas.microsoft.com/office/powerpoint/2010/main" xmlns="" val="3585747254"/>
              </p:ext>
            </p:extLst>
          </p:nvPr>
        </p:nvGraphicFramePr>
        <p:xfrm>
          <a:off x="4483803" y="874306"/>
          <a:ext cx="4170877" cy="2484356"/>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xmlns="" val="176581930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8DE9EFF3-1512-4B0B-A303-06EB8BB7A730}" type="slidenum">
              <a:rPr lang="en-GB" smtClean="0">
                <a:solidFill>
                  <a:prstClr val="black">
                    <a:tint val="75000"/>
                  </a:prstClr>
                </a:solidFill>
              </a:rPr>
              <a:pPr/>
              <a:t>3</a:t>
            </a:fld>
            <a:endParaRPr lang="en-GB" dirty="0">
              <a:solidFill>
                <a:prstClr val="black">
                  <a:tint val="75000"/>
                </a:prstClr>
              </a:solidFill>
            </a:endParaRPr>
          </a:p>
        </p:txBody>
      </p:sp>
      <p:graphicFrame>
        <p:nvGraphicFramePr>
          <p:cNvPr id="4" name="Chart 3"/>
          <p:cNvGraphicFramePr>
            <a:graphicFrameLocks/>
          </p:cNvGraphicFramePr>
          <p:nvPr>
            <p:extLst>
              <p:ext uri="{D42A27DB-BD31-4B8C-83A1-F6EECF244321}">
                <p14:modId xmlns:p14="http://schemas.microsoft.com/office/powerpoint/2010/main" xmlns="" val="4266903689"/>
              </p:ext>
            </p:extLst>
          </p:nvPr>
        </p:nvGraphicFramePr>
        <p:xfrm>
          <a:off x="194570" y="1240325"/>
          <a:ext cx="8492230" cy="3277354"/>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p:cNvSpPr txBox="1"/>
          <p:nvPr/>
        </p:nvSpPr>
        <p:spPr>
          <a:xfrm>
            <a:off x="3248809" y="258186"/>
            <a:ext cx="5456943" cy="400110"/>
          </a:xfrm>
          <a:prstGeom prst="rect">
            <a:avLst/>
          </a:prstGeom>
        </p:spPr>
        <p:txBody>
          <a:bodyPr wrap="none">
            <a:spAutoFit/>
          </a:bodyPr>
          <a:lstStyle>
            <a:defPPr>
              <a:defRPr lang="en-US"/>
            </a:defPPr>
            <a:lvl1pPr>
              <a:defRPr sz="2400" b="1">
                <a:solidFill>
                  <a:schemeClr val="bg1"/>
                </a:solidFill>
              </a:defRPr>
            </a:lvl1pPr>
          </a:lstStyle>
          <a:p>
            <a:r>
              <a:rPr lang="en-US" sz="2000" dirty="0"/>
              <a:t>Price Trends &amp; Opportunities for Investment</a:t>
            </a:r>
          </a:p>
        </p:txBody>
      </p:sp>
      <p:sp>
        <p:nvSpPr>
          <p:cNvPr id="7" name="TextBox 6"/>
          <p:cNvSpPr txBox="1"/>
          <p:nvPr/>
        </p:nvSpPr>
        <p:spPr>
          <a:xfrm>
            <a:off x="597529" y="4590107"/>
            <a:ext cx="8265814" cy="1754326"/>
          </a:xfrm>
          <a:prstGeom prst="rect">
            <a:avLst/>
          </a:prstGeom>
          <a:noFill/>
        </p:spPr>
        <p:txBody>
          <a:bodyPr wrap="square" rtlCol="0">
            <a:spAutoFit/>
          </a:bodyPr>
          <a:lstStyle/>
          <a:p>
            <a:pPr marL="285750" indent="-285750" algn="just">
              <a:buFont typeface="Wingdings" panose="05000000000000000000" pitchFamily="2" charset="2"/>
              <a:buChar char="ü"/>
            </a:pPr>
            <a:r>
              <a:rPr lang="en-US" dirty="0" smtClean="0"/>
              <a:t>It is off importance to study the spread in the price positions as highlighted in structured trade presented by AFEX.</a:t>
            </a:r>
          </a:p>
          <a:p>
            <a:pPr algn="just"/>
            <a:endParaRPr lang="en-US" dirty="0" smtClean="0"/>
          </a:p>
          <a:p>
            <a:pPr marL="285750" indent="-285750" algn="just">
              <a:buFont typeface="Wingdings" panose="05000000000000000000" pitchFamily="2" charset="2"/>
              <a:buChar char="ü"/>
            </a:pPr>
            <a:r>
              <a:rPr lang="en-US" dirty="0" smtClean="0"/>
              <a:t>The Commodity Indices presently in development by AFEX along with other sector professionals will provide robust information which will attract more investment for the sector development.</a:t>
            </a:r>
            <a:endParaRPr lang="en-US" dirty="0"/>
          </a:p>
        </p:txBody>
      </p:sp>
    </p:spTree>
    <p:extLst>
      <p:ext uri="{BB962C8B-B14F-4D97-AF65-F5344CB8AC3E}">
        <p14:creationId xmlns:p14="http://schemas.microsoft.com/office/powerpoint/2010/main" xmlns="" val="304472015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8DE9EFF3-1512-4B0B-A303-06EB8BB7A730}" type="slidenum">
              <a:rPr lang="en-GB" smtClean="0">
                <a:solidFill>
                  <a:prstClr val="black">
                    <a:tint val="75000"/>
                  </a:prstClr>
                </a:solidFill>
              </a:rPr>
              <a:pPr/>
              <a:t>4</a:t>
            </a:fld>
            <a:endParaRPr lang="en-GB" dirty="0">
              <a:solidFill>
                <a:prstClr val="black">
                  <a:tint val="75000"/>
                </a:prstClr>
              </a:solidFill>
            </a:endParaRPr>
          </a:p>
        </p:txBody>
      </p:sp>
      <p:sp>
        <p:nvSpPr>
          <p:cNvPr id="14" name="Title 13"/>
          <p:cNvSpPr>
            <a:spLocks noGrp="1"/>
          </p:cNvSpPr>
          <p:nvPr>
            <p:ph type="title" idx="4294967295"/>
          </p:nvPr>
        </p:nvSpPr>
        <p:spPr>
          <a:xfrm>
            <a:off x="3378762" y="224780"/>
            <a:ext cx="4514377" cy="461665"/>
          </a:xfrm>
        </p:spPr>
        <p:txBody>
          <a:bodyPr wrap="none">
            <a:spAutoFit/>
          </a:bodyPr>
          <a:lstStyle/>
          <a:p>
            <a:pPr algn="l" defTabSz="914400"/>
            <a:r>
              <a:rPr lang="en-US" sz="2400" b="1" dirty="0">
                <a:solidFill>
                  <a:schemeClr val="bg1"/>
                </a:solidFill>
                <a:latin typeface="+mn-lt"/>
                <a:ea typeface="+mn-ea"/>
                <a:cs typeface="+mn-cs"/>
              </a:rPr>
              <a:t>Nasdaq OMX Trading System</a:t>
            </a:r>
          </a:p>
        </p:txBody>
      </p:sp>
      <p:sp>
        <p:nvSpPr>
          <p:cNvPr id="7" name="Title 1"/>
          <p:cNvSpPr txBox="1">
            <a:spLocks/>
          </p:cNvSpPr>
          <p:nvPr/>
        </p:nvSpPr>
        <p:spPr>
          <a:xfrm>
            <a:off x="835804" y="565386"/>
            <a:ext cx="7858911" cy="589839"/>
          </a:xfrm>
          <a:prstGeom prst="rect">
            <a:avLst/>
          </a:prstGeom>
        </p:spPr>
        <p:txBody>
          <a:bodyPr vert="horz" lIns="91440" tIns="45720" rIns="91440" bIns="45720" rtlCol="0" anchor="ctr">
            <a:normAutofit lnSpcReduction="10000"/>
          </a:bodyPr>
          <a:lstStyle>
            <a:lvl1pPr algn="ctr" defTabSz="514350" rtl="0" eaLnBrk="1" latinLnBrk="0" hangingPunct="1">
              <a:spcBef>
                <a:spcPct val="0"/>
              </a:spcBef>
              <a:buNone/>
              <a:defRPr sz="1125" b="1" kern="1200">
                <a:solidFill>
                  <a:schemeClr val="tx1">
                    <a:lumMod val="85000"/>
                    <a:lumOff val="15000"/>
                  </a:schemeClr>
                </a:solidFill>
                <a:latin typeface="Century Gothic" panose="020B0502020202020204" pitchFamily="34" charset="0"/>
                <a:ea typeface="+mj-ea"/>
                <a:cs typeface="+mj-cs"/>
              </a:defRPr>
            </a:lvl1pPr>
          </a:lstStyle>
          <a:p>
            <a:endParaRPr lang="en-US" sz="3600" dirty="0">
              <a:solidFill>
                <a:schemeClr val="tx1">
                  <a:lumMod val="75000"/>
                  <a:lumOff val="25000"/>
                </a:schemeClr>
              </a:solidFill>
            </a:endParaRPr>
          </a:p>
        </p:txBody>
      </p:sp>
      <p:pic>
        <p:nvPicPr>
          <p:cNvPr id="8" name="Picture 7"/>
          <p:cNvPicPr>
            <a:picLocks noChangeAspect="1"/>
          </p:cNvPicPr>
          <p:nvPr/>
        </p:nvPicPr>
        <p:blipFill rotWithShape="1">
          <a:blip r:embed="rId2"/>
          <a:srcRect l="24393" t="8769" r="54642" b="24165"/>
          <a:stretch/>
        </p:blipFill>
        <p:spPr>
          <a:xfrm>
            <a:off x="7301620" y="984290"/>
            <a:ext cx="1711601" cy="3307054"/>
          </a:xfrm>
          <a:prstGeom prst="rect">
            <a:avLst/>
          </a:prstGeom>
        </p:spPr>
      </p:pic>
      <p:pic>
        <p:nvPicPr>
          <p:cNvPr id="5" name="Picture 4"/>
          <p:cNvPicPr>
            <a:picLocks noChangeAspect="1"/>
          </p:cNvPicPr>
          <p:nvPr/>
        </p:nvPicPr>
        <p:blipFill rotWithShape="1">
          <a:blip r:embed="rId3">
            <a:extLst>
              <a:ext uri="{28A0092B-C50C-407E-A947-70E740481C1C}">
                <a14:useLocalDpi xmlns:a14="http://schemas.microsoft.com/office/drawing/2010/main" xmlns="" val="0"/>
              </a:ext>
            </a:extLst>
          </a:blip>
          <a:srcRect t="12731" b="1728"/>
          <a:stretch/>
        </p:blipFill>
        <p:spPr>
          <a:xfrm>
            <a:off x="48604" y="984290"/>
            <a:ext cx="7211076" cy="3307054"/>
          </a:xfrm>
          <a:prstGeom prst="rect">
            <a:avLst/>
          </a:prstGeom>
        </p:spPr>
      </p:pic>
      <p:sp>
        <p:nvSpPr>
          <p:cNvPr id="6" name="TextBox 5"/>
          <p:cNvSpPr txBox="1"/>
          <p:nvPr/>
        </p:nvSpPr>
        <p:spPr>
          <a:xfrm>
            <a:off x="208230" y="4389666"/>
            <a:ext cx="8686862" cy="2031325"/>
          </a:xfrm>
          <a:prstGeom prst="rect">
            <a:avLst/>
          </a:prstGeom>
          <a:noFill/>
        </p:spPr>
        <p:txBody>
          <a:bodyPr wrap="square" rtlCol="0">
            <a:spAutoFit/>
          </a:bodyPr>
          <a:lstStyle/>
          <a:p>
            <a:pPr marL="285750" indent="-285750" algn="just">
              <a:buFont typeface="Wingdings" panose="05000000000000000000" pitchFamily="2" charset="2"/>
              <a:buChar char="ü"/>
            </a:pPr>
            <a:r>
              <a:rPr lang="en-US" dirty="0" smtClean="0"/>
              <a:t>In June 2017, </a:t>
            </a:r>
            <a:r>
              <a:rPr lang="en-US" dirty="0"/>
              <a:t>AFEX Completed the deployment of the Nasdaq trading system. </a:t>
            </a:r>
            <a:r>
              <a:rPr lang="en-US" dirty="0" smtClean="0"/>
              <a:t>User Acceptance Testing </a:t>
            </a:r>
            <a:r>
              <a:rPr lang="en-US" dirty="0"/>
              <a:t>is currently ongoing as well as the design of the market structure. We hope to go live in 2017 Q4</a:t>
            </a:r>
          </a:p>
          <a:p>
            <a:pPr marL="285750" indent="-285750" algn="just">
              <a:buFont typeface="Wingdings" panose="05000000000000000000" pitchFamily="2" charset="2"/>
              <a:buChar char="ü"/>
            </a:pPr>
            <a:r>
              <a:rPr lang="en-US" dirty="0" smtClean="0"/>
              <a:t>We have developed trade-able securities and contracts to match the Nigerian environment and its dynamics, with the realities of the physicals markets adapted to meet the needs of the developing commodities and financial sector.</a:t>
            </a:r>
          </a:p>
        </p:txBody>
      </p:sp>
    </p:spTree>
    <p:extLst>
      <p:ext uri="{BB962C8B-B14F-4D97-AF65-F5344CB8AC3E}">
        <p14:creationId xmlns:p14="http://schemas.microsoft.com/office/powerpoint/2010/main" xmlns="" val="913363960"/>
      </p:ext>
    </p:extLst>
  </p:cSld>
  <p:clrMapOvr>
    <a:masterClrMapping/>
  </p:clrMapOvr>
  <p:transition spd="slow">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8DE9EFF3-1512-4B0B-A303-06EB8BB7A730}" type="slidenum">
              <a:rPr lang="en-GB" smtClean="0">
                <a:solidFill>
                  <a:prstClr val="black">
                    <a:tint val="75000"/>
                  </a:prstClr>
                </a:solidFill>
              </a:rPr>
              <a:pPr/>
              <a:t>5</a:t>
            </a:fld>
            <a:endParaRPr lang="en-GB" dirty="0">
              <a:solidFill>
                <a:prstClr val="black">
                  <a:tint val="75000"/>
                </a:prstClr>
              </a:solidFill>
            </a:endParaRPr>
          </a:p>
        </p:txBody>
      </p:sp>
      <p:sp>
        <p:nvSpPr>
          <p:cNvPr id="3" name="Title 13"/>
          <p:cNvSpPr txBox="1">
            <a:spLocks/>
          </p:cNvSpPr>
          <p:nvPr/>
        </p:nvSpPr>
        <p:spPr>
          <a:xfrm>
            <a:off x="2633721" y="201083"/>
            <a:ext cx="6379926" cy="572611"/>
          </a:xfrm>
          <a:prstGeom prst="rect">
            <a:avLst/>
          </a:prstGeom>
        </p:spPr>
        <p:txBody>
          <a:bodyPr>
            <a:noAutofit/>
          </a:bodyPr>
          <a:lstStyle>
            <a:lvl1pPr algn="ctr" defTabSz="685800" rtl="0" eaLnBrk="1" latinLnBrk="0" hangingPunct="1">
              <a:spcBef>
                <a:spcPct val="0"/>
              </a:spcBef>
              <a:buNone/>
              <a:defRPr sz="3300" kern="1200">
                <a:solidFill>
                  <a:schemeClr val="tx1"/>
                </a:solidFill>
                <a:latin typeface="Century Gothic" panose="020B0502020202020204" pitchFamily="34" charset="0"/>
                <a:ea typeface="+mj-ea"/>
                <a:cs typeface="+mj-cs"/>
              </a:defRPr>
            </a:lvl1pPr>
          </a:lstStyle>
          <a:p>
            <a:pPr algn="l"/>
            <a:endParaRPr lang="en-US" sz="1200" b="1" dirty="0">
              <a:solidFill>
                <a:schemeClr val="bg1"/>
              </a:solidFill>
            </a:endParaRPr>
          </a:p>
        </p:txBody>
      </p:sp>
      <p:grpSp>
        <p:nvGrpSpPr>
          <p:cNvPr id="5" name="Group 4"/>
          <p:cNvGrpSpPr/>
          <p:nvPr/>
        </p:nvGrpSpPr>
        <p:grpSpPr>
          <a:xfrm>
            <a:off x="352375" y="3502444"/>
            <a:ext cx="8607275" cy="2664745"/>
            <a:chOff x="103652" y="3655976"/>
            <a:chExt cx="8607275" cy="2664745"/>
          </a:xfrm>
        </p:grpSpPr>
        <p:grpSp>
          <p:nvGrpSpPr>
            <p:cNvPr id="6" name="Group 5"/>
            <p:cNvGrpSpPr/>
            <p:nvPr/>
          </p:nvGrpSpPr>
          <p:grpSpPr>
            <a:xfrm>
              <a:off x="2030478" y="4111821"/>
              <a:ext cx="1815190" cy="248538"/>
              <a:chOff x="1818340" y="4294706"/>
              <a:chExt cx="1815190" cy="248538"/>
            </a:xfrm>
          </p:grpSpPr>
          <p:sp>
            <p:nvSpPr>
              <p:cNvPr id="35" name="OTLSHAPE_T_7c518fb37f2142bb8e0445920d0403b5_StartDate"/>
              <p:cNvSpPr txBox="1"/>
              <p:nvPr>
                <p:custDataLst>
                  <p:tags r:id="rId66"/>
                </p:custDataLst>
              </p:nvPr>
            </p:nvSpPr>
            <p:spPr>
              <a:xfrm>
                <a:off x="1818340" y="4294706"/>
                <a:ext cx="660400" cy="246221"/>
              </a:xfrm>
              <a:prstGeom prst="rect">
                <a:avLst/>
              </a:prstGeom>
              <a:noFill/>
            </p:spPr>
            <p:txBody>
              <a:bodyPr vert="horz" wrap="square" lIns="0" tIns="0" rIns="0" bIns="0" rtlCol="0" anchor="ctr" anchorCtr="0">
                <a:spAutoFit/>
              </a:bodyPr>
              <a:lstStyle/>
              <a:p>
                <a:pPr algn="ctr"/>
                <a:r>
                  <a:rPr lang="en-US" sz="800" b="1" spc="-8" dirty="0">
                    <a:solidFill>
                      <a:srgbClr val="378891"/>
                    </a:solidFill>
                    <a:latin typeface="Century Gothic" panose="020B0502020202020204" pitchFamily="34" charset="0"/>
                  </a:rPr>
                  <a:t>Monday</a:t>
                </a:r>
              </a:p>
              <a:p>
                <a:pPr algn="ctr"/>
                <a:r>
                  <a:rPr lang="en-US" sz="800" b="1" spc="-8" dirty="0">
                    <a:solidFill>
                      <a:srgbClr val="378891"/>
                    </a:solidFill>
                    <a:latin typeface="Century Gothic" panose="020B0502020202020204" pitchFamily="34" charset="0"/>
                  </a:rPr>
                  <a:t>14/08/17</a:t>
                </a:r>
              </a:p>
            </p:txBody>
          </p:sp>
          <p:sp>
            <p:nvSpPr>
              <p:cNvPr id="36" name="OTLSHAPE_T_7c518fb37f2142bb8e0445920d0403b5_EndDate"/>
              <p:cNvSpPr txBox="1"/>
              <p:nvPr>
                <p:custDataLst>
                  <p:tags r:id="rId67"/>
                </p:custDataLst>
              </p:nvPr>
            </p:nvSpPr>
            <p:spPr>
              <a:xfrm>
                <a:off x="2973130" y="4297023"/>
                <a:ext cx="660400" cy="246221"/>
              </a:xfrm>
              <a:prstGeom prst="rect">
                <a:avLst/>
              </a:prstGeom>
              <a:noFill/>
            </p:spPr>
            <p:txBody>
              <a:bodyPr vert="horz" wrap="square" lIns="0" tIns="0" rIns="0" bIns="0" rtlCol="0" anchor="ctr" anchorCtr="0">
                <a:spAutoFit/>
              </a:bodyPr>
              <a:lstStyle/>
              <a:p>
                <a:pPr algn="ctr"/>
                <a:r>
                  <a:rPr lang="en-US" sz="800" b="1" spc="-6" dirty="0">
                    <a:solidFill>
                      <a:srgbClr val="378891"/>
                    </a:solidFill>
                    <a:latin typeface="Century Gothic" panose="020B0502020202020204" pitchFamily="34" charset="0"/>
                  </a:rPr>
                  <a:t>Friday</a:t>
                </a:r>
              </a:p>
              <a:p>
                <a:pPr algn="ctr"/>
                <a:r>
                  <a:rPr lang="en-US" sz="800" b="1" spc="-6" dirty="0" smtClean="0">
                    <a:solidFill>
                      <a:srgbClr val="378891"/>
                    </a:solidFill>
                    <a:latin typeface="Century Gothic" panose="020B0502020202020204" pitchFamily="34" charset="0"/>
                  </a:rPr>
                  <a:t>25/08/17</a:t>
                </a:r>
                <a:endParaRPr lang="en-US" sz="800" b="1" spc="-6" dirty="0">
                  <a:solidFill>
                    <a:srgbClr val="378891"/>
                  </a:solidFill>
                  <a:latin typeface="Century Gothic" panose="020B0502020202020204" pitchFamily="34" charset="0"/>
                </a:endParaRPr>
              </a:p>
            </p:txBody>
          </p:sp>
        </p:grpSp>
        <p:sp>
          <p:nvSpPr>
            <p:cNvPr id="7" name="OTLSHAPE_T_7c518fb37f2142bb8e0445920d0403b5_Title"/>
            <p:cNvSpPr txBox="1"/>
            <p:nvPr>
              <p:custDataLst>
                <p:tags r:id="rId40"/>
              </p:custDataLst>
            </p:nvPr>
          </p:nvSpPr>
          <p:spPr>
            <a:xfrm>
              <a:off x="115420" y="4225336"/>
              <a:ext cx="682501" cy="138499"/>
            </a:xfrm>
            <a:prstGeom prst="rect">
              <a:avLst/>
            </a:prstGeom>
            <a:noFill/>
          </p:spPr>
          <p:txBody>
            <a:bodyPr vert="horz" wrap="square" lIns="0" tIns="0" rIns="0" bIns="0" rtlCol="0" anchor="ctr" anchorCtr="0">
              <a:spAutoFit/>
            </a:bodyPr>
            <a:lstStyle/>
            <a:p>
              <a:r>
                <a:rPr lang="en-US" sz="900" b="1" spc="-8" dirty="0">
                  <a:solidFill>
                    <a:schemeClr val="dk1"/>
                  </a:solidFill>
                  <a:latin typeface="Century Gothic" panose="020B0502020202020204" pitchFamily="34" charset="0"/>
                </a:rPr>
                <a:t>UAT: Brokers</a:t>
              </a:r>
            </a:p>
          </p:txBody>
        </p:sp>
        <p:sp>
          <p:nvSpPr>
            <p:cNvPr id="8" name="OTLSHAPE_T_be3ae38f60b3402d8a13f1e91eec41f5_Shape"/>
            <p:cNvSpPr/>
            <p:nvPr>
              <p:custDataLst>
                <p:tags r:id="rId41"/>
              </p:custDataLst>
            </p:nvPr>
          </p:nvSpPr>
          <p:spPr>
            <a:xfrm>
              <a:off x="3717172" y="4602698"/>
              <a:ext cx="461847" cy="223520"/>
            </a:xfrm>
            <a:prstGeom prst="roundRect">
              <a:avLst/>
            </a:prstGeom>
            <a:solidFill>
              <a:srgbClr val="FFC000"/>
            </a:solidFill>
            <a:ln w="12700" cap="flat" cmpd="sng" algn="ctr">
              <a:noFill/>
              <a:prstDash val="solid"/>
              <a:miter lim="800000"/>
            </a:ln>
            <a:effectLst/>
            <a:scene3d>
              <a:camera prst="orthographicFront"/>
              <a:lightRig rig="balanced" dir="t">
                <a:rot lat="0" lon="0" rev="8700000"/>
              </a:lightRig>
            </a:scene3d>
            <a:sp3d>
              <a:bevelT w="165100" h="12700"/>
            </a:sp3d>
            <a:extLst>
              <a:ext uri="{53640926-AAD7-44D8-BBD7-CCE9431645EC}">
                <a14:shadowObscured xmlns:a14="http://schemas.microsoft.com/office/drawing/2010/main" xmlns=""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TLSHAPE_T_be3ae38f60b3402d8a13f1e91eec41f5_StartDate"/>
            <p:cNvSpPr txBox="1"/>
            <p:nvPr>
              <p:custDataLst>
                <p:tags r:id="rId42"/>
              </p:custDataLst>
            </p:nvPr>
          </p:nvSpPr>
          <p:spPr>
            <a:xfrm>
              <a:off x="3004059" y="4597534"/>
              <a:ext cx="660400" cy="246221"/>
            </a:xfrm>
            <a:prstGeom prst="rect">
              <a:avLst/>
            </a:prstGeom>
            <a:noFill/>
          </p:spPr>
          <p:txBody>
            <a:bodyPr vert="horz" wrap="square" lIns="0" tIns="0" rIns="0" bIns="0" rtlCol="0" anchor="ctr" anchorCtr="0">
              <a:spAutoFit/>
            </a:bodyPr>
            <a:lstStyle/>
            <a:p>
              <a:pPr algn="ctr"/>
              <a:r>
                <a:rPr lang="en-US" sz="800" b="1" spc="-8" dirty="0">
                  <a:solidFill>
                    <a:srgbClr val="378891"/>
                  </a:solidFill>
                  <a:latin typeface="Century Gothic" panose="020B0502020202020204" pitchFamily="34" charset="0"/>
                </a:rPr>
                <a:t>Monday</a:t>
              </a:r>
            </a:p>
            <a:p>
              <a:pPr algn="ctr"/>
              <a:r>
                <a:rPr lang="en-US" sz="800" b="1" spc="-8" dirty="0">
                  <a:solidFill>
                    <a:srgbClr val="378891"/>
                  </a:solidFill>
                  <a:latin typeface="Century Gothic" panose="020B0502020202020204" pitchFamily="34" charset="0"/>
                </a:rPr>
                <a:t>21/08/17</a:t>
              </a:r>
            </a:p>
          </p:txBody>
        </p:sp>
        <p:sp>
          <p:nvSpPr>
            <p:cNvPr id="10" name="OTLSHAPE_T_be3ae38f60b3402d8a13f1e91eec41f5_EndDate"/>
            <p:cNvSpPr txBox="1"/>
            <p:nvPr>
              <p:custDataLst>
                <p:tags r:id="rId43"/>
              </p:custDataLst>
            </p:nvPr>
          </p:nvSpPr>
          <p:spPr>
            <a:xfrm>
              <a:off x="4231732" y="4594213"/>
              <a:ext cx="596900" cy="246221"/>
            </a:xfrm>
            <a:prstGeom prst="rect">
              <a:avLst/>
            </a:prstGeom>
            <a:noFill/>
          </p:spPr>
          <p:txBody>
            <a:bodyPr vert="horz" wrap="square" lIns="0" tIns="0" rIns="0" bIns="0" rtlCol="0" anchor="ctr" anchorCtr="0">
              <a:spAutoFit/>
            </a:bodyPr>
            <a:lstStyle/>
            <a:p>
              <a:pPr algn="ctr"/>
              <a:r>
                <a:rPr lang="en-US" sz="800" b="1" spc="-4" dirty="0">
                  <a:solidFill>
                    <a:srgbClr val="378891"/>
                  </a:solidFill>
                  <a:latin typeface="Century Gothic" panose="020B0502020202020204" pitchFamily="34" charset="0"/>
                </a:rPr>
                <a:t>Wednesday</a:t>
              </a:r>
            </a:p>
            <a:p>
              <a:pPr algn="ctr"/>
              <a:r>
                <a:rPr lang="en-US" sz="800" b="1" spc="-4" dirty="0">
                  <a:solidFill>
                    <a:srgbClr val="378891"/>
                  </a:solidFill>
                  <a:latin typeface="Century Gothic" panose="020B0502020202020204" pitchFamily="34" charset="0"/>
                </a:rPr>
                <a:t>23/08/17</a:t>
              </a:r>
            </a:p>
          </p:txBody>
        </p:sp>
        <p:sp>
          <p:nvSpPr>
            <p:cNvPr id="11" name="OTLSHAPE_T_06a6a20021ea4acdac20b41f7b37b0dd_Shape"/>
            <p:cNvSpPr/>
            <p:nvPr>
              <p:custDataLst>
                <p:tags r:id="rId44"/>
              </p:custDataLst>
            </p:nvPr>
          </p:nvSpPr>
          <p:spPr>
            <a:xfrm>
              <a:off x="6228578" y="5552452"/>
              <a:ext cx="584200" cy="203200"/>
            </a:xfrm>
            <a:prstGeom prst="roundRect">
              <a:avLst/>
            </a:prstGeom>
            <a:solidFill>
              <a:srgbClr val="FFC000"/>
            </a:solidFill>
            <a:ln w="12700" cap="flat" cmpd="sng" algn="ctr">
              <a:noFill/>
              <a:prstDash val="solid"/>
              <a:miter lim="800000"/>
            </a:ln>
            <a:effectLst/>
            <a:scene3d>
              <a:camera prst="orthographicFront"/>
              <a:lightRig rig="balanced" dir="t">
                <a:rot lat="0" lon="0" rev="8700000"/>
              </a:lightRig>
            </a:scene3d>
            <a:sp3d>
              <a:bevelT w="165100" h="12700"/>
            </a:sp3d>
            <a:extLst>
              <a:ext uri="{53640926-AAD7-44D8-BBD7-CCE9431645EC}">
                <a14:shadowObscured xmlns:a14="http://schemas.microsoft.com/office/drawing/2010/main" xmlns=""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TLSHAPE_T_06a6a20021ea4acdac20b41f7b37b0dd_StartDate"/>
            <p:cNvSpPr txBox="1"/>
            <p:nvPr>
              <p:custDataLst>
                <p:tags r:id="rId45"/>
              </p:custDataLst>
            </p:nvPr>
          </p:nvSpPr>
          <p:spPr>
            <a:xfrm>
              <a:off x="5572284" y="5530942"/>
              <a:ext cx="533400" cy="246221"/>
            </a:xfrm>
            <a:prstGeom prst="rect">
              <a:avLst/>
            </a:prstGeom>
            <a:noFill/>
          </p:spPr>
          <p:txBody>
            <a:bodyPr vert="horz" wrap="square" lIns="0" tIns="0" rIns="0" bIns="0" rtlCol="0" anchor="ctr" anchorCtr="0">
              <a:spAutoFit/>
            </a:bodyPr>
            <a:lstStyle/>
            <a:p>
              <a:pPr algn="ctr"/>
              <a:r>
                <a:rPr lang="en-US" sz="800" b="1" spc="-4" dirty="0">
                  <a:solidFill>
                    <a:srgbClr val="378891"/>
                  </a:solidFill>
                  <a:latin typeface="Century Gothic" panose="020B0502020202020204" pitchFamily="34" charset="0"/>
                </a:rPr>
                <a:t>Monday</a:t>
              </a:r>
            </a:p>
            <a:p>
              <a:pPr algn="ctr"/>
              <a:r>
                <a:rPr lang="en-US" sz="800" b="1" spc="-4" dirty="0">
                  <a:solidFill>
                    <a:srgbClr val="378891"/>
                  </a:solidFill>
                  <a:latin typeface="Century Gothic" panose="020B0502020202020204" pitchFamily="34" charset="0"/>
                </a:rPr>
                <a:t>04/09/17</a:t>
              </a:r>
            </a:p>
          </p:txBody>
        </p:sp>
        <p:sp>
          <p:nvSpPr>
            <p:cNvPr id="13" name="OTLSHAPE_T_06a6a20021ea4acdac20b41f7b37b0dd_EndDate"/>
            <p:cNvSpPr txBox="1"/>
            <p:nvPr>
              <p:custDataLst>
                <p:tags r:id="rId46"/>
              </p:custDataLst>
            </p:nvPr>
          </p:nvSpPr>
          <p:spPr>
            <a:xfrm>
              <a:off x="6792226" y="5500462"/>
              <a:ext cx="635000" cy="246221"/>
            </a:xfrm>
            <a:prstGeom prst="rect">
              <a:avLst/>
            </a:prstGeom>
            <a:noFill/>
          </p:spPr>
          <p:txBody>
            <a:bodyPr vert="horz" wrap="square" lIns="0" tIns="0" rIns="0" bIns="0" rtlCol="0" anchor="ctr" anchorCtr="0">
              <a:spAutoFit/>
            </a:bodyPr>
            <a:lstStyle/>
            <a:p>
              <a:pPr algn="ctr"/>
              <a:r>
                <a:rPr lang="en-US" sz="800" b="1" spc="-6" dirty="0">
                  <a:solidFill>
                    <a:srgbClr val="378891"/>
                  </a:solidFill>
                  <a:latin typeface="Century Gothic" panose="020B0502020202020204" pitchFamily="34" charset="0"/>
                </a:rPr>
                <a:t>Friday</a:t>
              </a:r>
            </a:p>
            <a:p>
              <a:pPr algn="ctr"/>
              <a:r>
                <a:rPr lang="en-US" sz="800" b="1" spc="-6" dirty="0">
                  <a:solidFill>
                    <a:srgbClr val="378891"/>
                  </a:solidFill>
                  <a:latin typeface="Century Gothic" panose="020B0502020202020204" pitchFamily="34" charset="0"/>
                </a:rPr>
                <a:t>29/09/17</a:t>
              </a:r>
            </a:p>
          </p:txBody>
        </p:sp>
        <p:sp>
          <p:nvSpPr>
            <p:cNvPr id="14" name="OTLSHAPE_T_e6f5c918bdd649a1ac919cf22468a23b_EndDate"/>
            <p:cNvSpPr txBox="1"/>
            <p:nvPr>
              <p:custDataLst>
                <p:tags r:id="rId47"/>
              </p:custDataLst>
            </p:nvPr>
          </p:nvSpPr>
          <p:spPr>
            <a:xfrm>
              <a:off x="8050527" y="6136056"/>
              <a:ext cx="660400" cy="123111"/>
            </a:xfrm>
            <a:prstGeom prst="rect">
              <a:avLst/>
            </a:prstGeom>
            <a:noFill/>
          </p:spPr>
          <p:txBody>
            <a:bodyPr vert="horz" wrap="square" lIns="0" tIns="0" rIns="0" bIns="0" rtlCol="0" anchor="ctr" anchorCtr="0">
              <a:spAutoFit/>
            </a:bodyPr>
            <a:lstStyle/>
            <a:p>
              <a:pPr algn="ctr"/>
              <a:r>
                <a:rPr lang="en-US" sz="800" b="1" spc="-8" dirty="0">
                  <a:solidFill>
                    <a:srgbClr val="378891"/>
                  </a:solidFill>
                  <a:latin typeface="Century Gothic" panose="020B0502020202020204" pitchFamily="34" charset="0"/>
                </a:rPr>
                <a:t>2017, Q4</a:t>
              </a:r>
            </a:p>
          </p:txBody>
        </p:sp>
        <p:grpSp>
          <p:nvGrpSpPr>
            <p:cNvPr id="15" name="Group 14"/>
            <p:cNvGrpSpPr/>
            <p:nvPr/>
          </p:nvGrpSpPr>
          <p:grpSpPr>
            <a:xfrm>
              <a:off x="1110424" y="3684972"/>
              <a:ext cx="1660201" cy="266983"/>
              <a:chOff x="1110424" y="3684972"/>
              <a:chExt cx="1660201" cy="266983"/>
            </a:xfrm>
          </p:grpSpPr>
          <p:sp>
            <p:nvSpPr>
              <p:cNvPr id="31" name="OTLSHAPE_T_7c518fb37f2142bb8e0445920d0403b5_Shape"/>
              <p:cNvSpPr/>
              <p:nvPr>
                <p:custDataLst>
                  <p:tags r:id="rId63"/>
                </p:custDataLst>
              </p:nvPr>
            </p:nvSpPr>
            <p:spPr>
              <a:xfrm>
                <a:off x="1751666" y="3716787"/>
                <a:ext cx="377716" cy="194825"/>
              </a:xfrm>
              <a:prstGeom prst="roundRect">
                <a:avLst/>
              </a:prstGeom>
              <a:solidFill>
                <a:srgbClr val="00B050"/>
              </a:solidFill>
              <a:ln w="12700" cap="flat" cmpd="sng" algn="ctr">
                <a:solidFill>
                  <a:schemeClr val="accent1">
                    <a:shade val="50000"/>
                  </a:schemeClr>
                </a:solidFill>
                <a:prstDash val="solid"/>
                <a:miter lim="800000"/>
              </a:ln>
              <a:effectLst/>
              <a:scene3d>
                <a:camera prst="orthographicFront"/>
                <a:lightRig rig="balanced" dir="t">
                  <a:rot lat="0" lon="0" rev="8700000"/>
                </a:lightRig>
              </a:scene3d>
              <a:sp3d>
                <a:bevelT w="165100" h="12700"/>
              </a:sp3d>
              <a:extLst>
                <a:ext uri="{53640926-AAD7-44D8-BBD7-CCE9431645EC}">
                  <a14:shadowObscured xmlns:a14="http://schemas.microsoft.com/office/drawing/2010/main" xmlns=""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TLSHAPE_T_7c518fb37f2142bb8e0445920d0403b5_StartDate"/>
              <p:cNvSpPr txBox="1"/>
              <p:nvPr>
                <p:custDataLst>
                  <p:tags r:id="rId64"/>
                </p:custDataLst>
              </p:nvPr>
            </p:nvSpPr>
            <p:spPr>
              <a:xfrm>
                <a:off x="1110424" y="3684972"/>
                <a:ext cx="660400" cy="246221"/>
              </a:xfrm>
              <a:prstGeom prst="rect">
                <a:avLst/>
              </a:prstGeom>
              <a:noFill/>
            </p:spPr>
            <p:txBody>
              <a:bodyPr vert="horz" wrap="square" lIns="0" tIns="0" rIns="0" bIns="0" rtlCol="0" anchor="ctr" anchorCtr="0">
                <a:spAutoFit/>
              </a:bodyPr>
              <a:lstStyle/>
              <a:p>
                <a:pPr algn="ctr"/>
                <a:r>
                  <a:rPr lang="en-US" sz="800" b="1" spc="-8" dirty="0">
                    <a:solidFill>
                      <a:srgbClr val="378891"/>
                    </a:solidFill>
                    <a:latin typeface="Century Gothic" panose="020B0502020202020204" pitchFamily="34" charset="0"/>
                  </a:rPr>
                  <a:t>Thursday</a:t>
                </a:r>
              </a:p>
              <a:p>
                <a:pPr algn="ctr"/>
                <a:r>
                  <a:rPr lang="en-US" sz="800" b="1" spc="-8" dirty="0">
                    <a:solidFill>
                      <a:srgbClr val="378891"/>
                    </a:solidFill>
                    <a:latin typeface="Century Gothic" panose="020B0502020202020204" pitchFamily="34" charset="0"/>
                  </a:rPr>
                  <a:t>10/08/17</a:t>
                </a:r>
              </a:p>
            </p:txBody>
          </p:sp>
          <p:sp>
            <p:nvSpPr>
              <p:cNvPr id="33" name="OTLSHAPE_T_7c518fb37f2142bb8e0445920d0403b5_EndDate"/>
              <p:cNvSpPr txBox="1"/>
              <p:nvPr>
                <p:custDataLst>
                  <p:tags r:id="rId65"/>
                </p:custDataLst>
              </p:nvPr>
            </p:nvSpPr>
            <p:spPr>
              <a:xfrm>
                <a:off x="2110225" y="3705734"/>
                <a:ext cx="660400" cy="246221"/>
              </a:xfrm>
              <a:prstGeom prst="rect">
                <a:avLst/>
              </a:prstGeom>
              <a:noFill/>
            </p:spPr>
            <p:txBody>
              <a:bodyPr vert="horz" wrap="square" lIns="0" tIns="0" rIns="0" bIns="0" rtlCol="0" anchor="ctr" anchorCtr="0">
                <a:spAutoFit/>
              </a:bodyPr>
              <a:lstStyle/>
              <a:p>
                <a:pPr algn="ctr"/>
                <a:r>
                  <a:rPr lang="en-US" sz="800" b="1" spc="-6" dirty="0">
                    <a:solidFill>
                      <a:srgbClr val="378891"/>
                    </a:solidFill>
                    <a:latin typeface="Century Gothic" panose="020B0502020202020204" pitchFamily="34" charset="0"/>
                  </a:rPr>
                  <a:t>Monday 14/08/17</a:t>
                </a:r>
              </a:p>
            </p:txBody>
          </p:sp>
        </p:grpSp>
        <p:sp>
          <p:nvSpPr>
            <p:cNvPr id="16" name="OTLSHAPE_T_7c518fb37f2142bb8e0445920d0403b5_Title"/>
            <p:cNvSpPr txBox="1"/>
            <p:nvPr>
              <p:custDataLst>
                <p:tags r:id="rId48"/>
              </p:custDataLst>
            </p:nvPr>
          </p:nvSpPr>
          <p:spPr>
            <a:xfrm>
              <a:off x="115420" y="3655976"/>
              <a:ext cx="682501" cy="276999"/>
            </a:xfrm>
            <a:prstGeom prst="rect">
              <a:avLst/>
            </a:prstGeom>
            <a:noFill/>
          </p:spPr>
          <p:txBody>
            <a:bodyPr vert="horz" wrap="square" lIns="0" tIns="0" rIns="0" bIns="0" rtlCol="0" anchor="ctr" anchorCtr="0">
              <a:spAutoFit/>
            </a:bodyPr>
            <a:lstStyle/>
            <a:p>
              <a:r>
                <a:rPr lang="en-US" sz="900" b="1" spc="-8" dirty="0">
                  <a:solidFill>
                    <a:schemeClr val="dk1"/>
                  </a:solidFill>
                  <a:latin typeface="Century Gothic" panose="020B0502020202020204" pitchFamily="34" charset="0"/>
                </a:rPr>
                <a:t>In-house Training</a:t>
              </a:r>
            </a:p>
          </p:txBody>
        </p:sp>
        <p:sp>
          <p:nvSpPr>
            <p:cNvPr id="17" name="OTLSHAPE_T_be3ae38f60b3402d8a13f1e91eec41f5_Title"/>
            <p:cNvSpPr txBox="1"/>
            <p:nvPr>
              <p:custDataLst>
                <p:tags r:id="rId49"/>
              </p:custDataLst>
            </p:nvPr>
          </p:nvSpPr>
          <p:spPr>
            <a:xfrm>
              <a:off x="115420" y="4593964"/>
              <a:ext cx="682501" cy="276999"/>
            </a:xfrm>
            <a:prstGeom prst="rect">
              <a:avLst/>
            </a:prstGeom>
            <a:noFill/>
          </p:spPr>
          <p:txBody>
            <a:bodyPr vert="horz" wrap="square" lIns="0" tIns="0" rIns="0" bIns="0" rtlCol="0" anchor="ctr" anchorCtr="0">
              <a:spAutoFit/>
            </a:bodyPr>
            <a:lstStyle/>
            <a:p>
              <a:r>
                <a:rPr lang="en-US" sz="900" b="1" spc="-8" dirty="0">
                  <a:solidFill>
                    <a:schemeClr val="dk1"/>
                  </a:solidFill>
                  <a:latin typeface="Century Gothic" panose="020B0502020202020204" pitchFamily="34" charset="0"/>
                </a:rPr>
                <a:t>UAT: Regulators</a:t>
              </a:r>
            </a:p>
          </p:txBody>
        </p:sp>
        <p:sp>
          <p:nvSpPr>
            <p:cNvPr id="18" name="OTLSHAPE_T_9aa183d65df24b0c8fecd0a002471583_Title"/>
            <p:cNvSpPr txBox="1"/>
            <p:nvPr>
              <p:custDataLst>
                <p:tags r:id="rId50"/>
              </p:custDataLst>
            </p:nvPr>
          </p:nvSpPr>
          <p:spPr>
            <a:xfrm>
              <a:off x="103652" y="5078674"/>
              <a:ext cx="694269" cy="276999"/>
            </a:xfrm>
            <a:prstGeom prst="rect">
              <a:avLst/>
            </a:prstGeom>
            <a:noFill/>
          </p:spPr>
          <p:txBody>
            <a:bodyPr vert="horz" wrap="square" lIns="0" tIns="0" rIns="0" bIns="0" rtlCol="0" anchor="ctr" anchorCtr="0">
              <a:spAutoFit/>
            </a:bodyPr>
            <a:lstStyle/>
            <a:p>
              <a:r>
                <a:rPr lang="en-US" sz="900" b="1" spc="-8" dirty="0">
                  <a:solidFill>
                    <a:schemeClr val="dk1"/>
                  </a:solidFill>
                  <a:latin typeface="Century Gothic" panose="020B0502020202020204" pitchFamily="34" charset="0"/>
                </a:rPr>
                <a:t>UAT:         Off-takers</a:t>
              </a:r>
            </a:p>
          </p:txBody>
        </p:sp>
        <p:sp>
          <p:nvSpPr>
            <p:cNvPr id="19" name="OTLSHAPE_T_9aa183d65df24b0c8fecd0a002471583_Title"/>
            <p:cNvSpPr txBox="1"/>
            <p:nvPr>
              <p:custDataLst>
                <p:tags r:id="rId51"/>
              </p:custDataLst>
            </p:nvPr>
          </p:nvSpPr>
          <p:spPr>
            <a:xfrm>
              <a:off x="103652" y="5518613"/>
              <a:ext cx="694269" cy="276999"/>
            </a:xfrm>
            <a:prstGeom prst="rect">
              <a:avLst/>
            </a:prstGeom>
            <a:noFill/>
          </p:spPr>
          <p:txBody>
            <a:bodyPr vert="horz" wrap="square" lIns="0" tIns="0" rIns="0" bIns="0" rtlCol="0" anchor="ctr" anchorCtr="0">
              <a:spAutoFit/>
            </a:bodyPr>
            <a:lstStyle/>
            <a:p>
              <a:r>
                <a:rPr lang="en-US" sz="900" b="1" spc="-8" dirty="0">
                  <a:solidFill>
                    <a:schemeClr val="dk1"/>
                  </a:solidFill>
                  <a:latin typeface="Century Gothic" panose="020B0502020202020204" pitchFamily="34" charset="0"/>
                </a:rPr>
                <a:t>Members Registration</a:t>
              </a:r>
            </a:p>
          </p:txBody>
        </p:sp>
        <p:sp>
          <p:nvSpPr>
            <p:cNvPr id="20" name="OTLSHAPE_T_9aa183d65df24b0c8fecd0a002471583_Shape"/>
            <p:cNvSpPr/>
            <p:nvPr>
              <p:custDataLst>
                <p:tags r:id="rId52"/>
              </p:custDataLst>
            </p:nvPr>
          </p:nvSpPr>
          <p:spPr>
            <a:xfrm>
              <a:off x="4748421" y="5051717"/>
              <a:ext cx="425966" cy="204689"/>
            </a:xfrm>
            <a:prstGeom prst="roundRect">
              <a:avLst/>
            </a:prstGeom>
            <a:solidFill>
              <a:srgbClr val="FFC000"/>
            </a:solidFill>
            <a:ln w="12700" cap="flat" cmpd="sng" algn="ctr">
              <a:noFill/>
              <a:prstDash val="solid"/>
              <a:miter lim="800000"/>
            </a:ln>
            <a:effectLst/>
            <a:scene3d>
              <a:camera prst="orthographicFront"/>
              <a:lightRig rig="balanced" dir="t">
                <a:rot lat="0" lon="0" rev="8700000"/>
              </a:lightRig>
            </a:scene3d>
            <a:sp3d>
              <a:bevelT w="165100" h="12700"/>
            </a:sp3d>
            <a:extLst>
              <a:ext uri="{53640926-AAD7-44D8-BBD7-CCE9431645EC}">
                <a14:shadowObscured xmlns:a14="http://schemas.microsoft.com/office/drawing/2010/main" xmlns=""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TLSHAPE_T_9aa183d65df24b0c8fecd0a002471583_EndDate"/>
            <p:cNvSpPr txBox="1"/>
            <p:nvPr>
              <p:custDataLst>
                <p:tags r:id="rId53"/>
              </p:custDataLst>
            </p:nvPr>
          </p:nvSpPr>
          <p:spPr>
            <a:xfrm>
              <a:off x="5184897" y="5028061"/>
              <a:ext cx="660400" cy="246221"/>
            </a:xfrm>
            <a:prstGeom prst="rect">
              <a:avLst/>
            </a:prstGeom>
            <a:noFill/>
          </p:spPr>
          <p:txBody>
            <a:bodyPr vert="horz" wrap="square" lIns="0" tIns="0" rIns="0" bIns="0" rtlCol="0" anchor="ctr" anchorCtr="0">
              <a:spAutoFit/>
            </a:bodyPr>
            <a:lstStyle/>
            <a:p>
              <a:pPr algn="ctr"/>
              <a:r>
                <a:rPr lang="en-US" sz="800" b="1" spc="-4" dirty="0">
                  <a:solidFill>
                    <a:srgbClr val="378891"/>
                  </a:solidFill>
                  <a:latin typeface="Century Gothic" panose="020B0502020202020204" pitchFamily="34" charset="0"/>
                </a:rPr>
                <a:t>Friday</a:t>
              </a:r>
            </a:p>
            <a:p>
              <a:pPr algn="ctr"/>
              <a:r>
                <a:rPr lang="en-US" sz="800" b="1" spc="-4" dirty="0">
                  <a:solidFill>
                    <a:srgbClr val="378891"/>
                  </a:solidFill>
                  <a:latin typeface="Century Gothic" panose="020B0502020202020204" pitchFamily="34" charset="0"/>
                </a:rPr>
                <a:t>01/09/17</a:t>
              </a:r>
            </a:p>
          </p:txBody>
        </p:sp>
        <p:sp>
          <p:nvSpPr>
            <p:cNvPr id="22" name="OTLSHAPE_T_be3ae38f60b3402d8a13f1e91eec41f5_StartDate"/>
            <p:cNvSpPr txBox="1"/>
            <p:nvPr>
              <p:custDataLst>
                <p:tags r:id="rId54"/>
              </p:custDataLst>
            </p:nvPr>
          </p:nvSpPr>
          <p:spPr>
            <a:xfrm>
              <a:off x="4082481" y="5025215"/>
              <a:ext cx="660400" cy="246221"/>
            </a:xfrm>
            <a:prstGeom prst="rect">
              <a:avLst/>
            </a:prstGeom>
            <a:noFill/>
          </p:spPr>
          <p:txBody>
            <a:bodyPr vert="horz" wrap="square" lIns="0" tIns="0" rIns="0" bIns="0" rtlCol="0" anchor="ctr" anchorCtr="0">
              <a:spAutoFit/>
            </a:bodyPr>
            <a:lstStyle/>
            <a:p>
              <a:pPr algn="ctr"/>
              <a:r>
                <a:rPr lang="en-US" sz="800" b="1" spc="-8" dirty="0">
                  <a:solidFill>
                    <a:srgbClr val="378891"/>
                  </a:solidFill>
                  <a:latin typeface="Century Gothic" panose="020B0502020202020204" pitchFamily="34" charset="0"/>
                </a:rPr>
                <a:t>Thursday</a:t>
              </a:r>
            </a:p>
            <a:p>
              <a:pPr algn="ctr"/>
              <a:r>
                <a:rPr lang="en-US" sz="800" b="1" spc="-8" dirty="0">
                  <a:solidFill>
                    <a:srgbClr val="378891"/>
                  </a:solidFill>
                  <a:latin typeface="Century Gothic" panose="020B0502020202020204" pitchFamily="34" charset="0"/>
                </a:rPr>
                <a:t>24/08/17</a:t>
              </a:r>
            </a:p>
          </p:txBody>
        </p:sp>
        <p:sp>
          <p:nvSpPr>
            <p:cNvPr id="23" name="OTLSHAPE_T_e6f5c918bdd649a1ac919cf22468a23b_Shape"/>
            <p:cNvSpPr/>
            <p:nvPr>
              <p:custDataLst>
                <p:tags r:id="rId55"/>
              </p:custDataLst>
            </p:nvPr>
          </p:nvSpPr>
          <p:spPr>
            <a:xfrm>
              <a:off x="6663776" y="6065532"/>
              <a:ext cx="1386751" cy="255189"/>
            </a:xfrm>
            <a:prstGeom prst="roundRect">
              <a:avLst/>
            </a:prstGeom>
            <a:solidFill>
              <a:schemeClr val="accent2"/>
            </a:solidFill>
            <a:ln w="12700" cap="flat" cmpd="sng" algn="ctr">
              <a:noFill/>
              <a:prstDash val="solid"/>
              <a:miter lim="800000"/>
            </a:ln>
            <a:effectLst/>
            <a:scene3d>
              <a:camera prst="orthographicFront"/>
              <a:lightRig rig="balanced" dir="t">
                <a:rot lat="0" lon="0" rev="8700000"/>
              </a:lightRig>
            </a:scene3d>
            <a:sp3d>
              <a:bevelT w="165100" h="12700"/>
            </a:sp3d>
            <a:extLst>
              <a:ext uri="{53640926-AAD7-44D8-BBD7-CCE9431645EC}">
                <a14:shadowObscured xmlns:a14="http://schemas.microsoft.com/office/drawing/2010/main" xmlns=""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TLSHAPE_T_e6f5c918bdd649a1ac919cf22468a23b_Title"/>
            <p:cNvSpPr txBox="1"/>
            <p:nvPr>
              <p:custDataLst>
                <p:tags r:id="rId56"/>
              </p:custDataLst>
            </p:nvPr>
          </p:nvSpPr>
          <p:spPr>
            <a:xfrm>
              <a:off x="103652" y="6097325"/>
              <a:ext cx="617218" cy="138499"/>
            </a:xfrm>
            <a:prstGeom prst="rect">
              <a:avLst/>
            </a:prstGeom>
            <a:noFill/>
          </p:spPr>
          <p:txBody>
            <a:bodyPr vert="horz" wrap="square" lIns="0" tIns="0" rIns="0" bIns="0" rtlCol="0" anchor="ctr" anchorCtr="0">
              <a:spAutoFit/>
            </a:bodyPr>
            <a:lstStyle/>
            <a:p>
              <a:r>
                <a:rPr lang="en-US" sz="900" b="1" spc="-8" dirty="0">
                  <a:solidFill>
                    <a:schemeClr val="dk1"/>
                  </a:solidFill>
                  <a:latin typeface="Century Gothic" panose="020B0502020202020204" pitchFamily="34" charset="0"/>
                </a:rPr>
                <a:t>Go Live</a:t>
              </a:r>
            </a:p>
          </p:txBody>
        </p:sp>
        <p:cxnSp>
          <p:nvCxnSpPr>
            <p:cNvPr id="25" name="OTLSHAPE_T_06a6a20021ea4acdac20b41f7b37b0dd_HorizontalConnector1"/>
            <p:cNvCxnSpPr>
              <a:stCxn id="19" idx="3"/>
              <a:endCxn id="12" idx="1"/>
            </p:cNvCxnSpPr>
            <p:nvPr>
              <p:custDataLst>
                <p:tags r:id="rId57"/>
              </p:custDataLst>
            </p:nvPr>
          </p:nvCxnSpPr>
          <p:spPr>
            <a:xfrm flipV="1">
              <a:off x="797921" y="5654053"/>
              <a:ext cx="4774363" cy="3060"/>
            </a:xfrm>
            <a:prstGeom prst="line">
              <a:avLst/>
            </a:prstGeom>
            <a:ln w="9525" cap="flat" cmpd="sng" algn="ctr">
              <a:solidFill>
                <a:srgbClr val="BBB5B5"/>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OTLSHAPE_T_06a6a20021ea4acdac20b41f7b37b0dd_HorizontalConnector1"/>
            <p:cNvCxnSpPr/>
            <p:nvPr>
              <p:custDataLst>
                <p:tags r:id="rId58"/>
              </p:custDataLst>
            </p:nvPr>
          </p:nvCxnSpPr>
          <p:spPr>
            <a:xfrm flipV="1">
              <a:off x="758530" y="6198159"/>
              <a:ext cx="5867586" cy="10464"/>
            </a:xfrm>
            <a:prstGeom prst="line">
              <a:avLst/>
            </a:prstGeom>
            <a:ln w="9525" cap="flat" cmpd="sng" algn="ctr">
              <a:solidFill>
                <a:srgbClr val="BBB5B5"/>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OTLSHAPE_T_06a6a20021ea4acdac20b41f7b37b0dd_HorizontalConnector1"/>
            <p:cNvCxnSpPr/>
            <p:nvPr>
              <p:custDataLst>
                <p:tags r:id="rId59"/>
              </p:custDataLst>
            </p:nvPr>
          </p:nvCxnSpPr>
          <p:spPr>
            <a:xfrm flipV="1">
              <a:off x="760165" y="5148326"/>
              <a:ext cx="3395886" cy="40368"/>
            </a:xfrm>
            <a:prstGeom prst="line">
              <a:avLst/>
            </a:prstGeom>
            <a:ln w="9525" cap="flat" cmpd="sng" algn="ctr">
              <a:solidFill>
                <a:srgbClr val="BBB5B5"/>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OTLSHAPE_T_06a6a20021ea4acdac20b41f7b37b0dd_HorizontalConnector1"/>
            <p:cNvCxnSpPr/>
            <p:nvPr>
              <p:custDataLst>
                <p:tags r:id="rId60"/>
              </p:custDataLst>
            </p:nvPr>
          </p:nvCxnSpPr>
          <p:spPr>
            <a:xfrm flipV="1">
              <a:off x="741558" y="4777748"/>
              <a:ext cx="2326503" cy="515"/>
            </a:xfrm>
            <a:prstGeom prst="line">
              <a:avLst/>
            </a:prstGeom>
            <a:ln w="9525" cap="flat" cmpd="sng" algn="ctr">
              <a:solidFill>
                <a:srgbClr val="BBB5B5"/>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OTLSHAPE_T_06a6a20021ea4acdac20b41f7b37b0dd_HorizontalConnector1"/>
            <p:cNvCxnSpPr>
              <a:endCxn id="35" idx="1"/>
            </p:cNvCxnSpPr>
            <p:nvPr>
              <p:custDataLst>
                <p:tags r:id="rId61"/>
              </p:custDataLst>
            </p:nvPr>
          </p:nvCxnSpPr>
          <p:spPr>
            <a:xfrm flipV="1">
              <a:off x="769603" y="4234932"/>
              <a:ext cx="1260875" cy="15386"/>
            </a:xfrm>
            <a:prstGeom prst="line">
              <a:avLst/>
            </a:prstGeom>
            <a:ln w="9525" cap="flat" cmpd="sng" algn="ctr">
              <a:solidFill>
                <a:srgbClr val="BBB5B5"/>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 name="OTLSHAPE_T_06a6a20021ea4acdac20b41f7b37b0dd_HorizontalConnector1"/>
            <p:cNvCxnSpPr/>
            <p:nvPr>
              <p:custDataLst>
                <p:tags r:id="rId62"/>
              </p:custDataLst>
            </p:nvPr>
          </p:nvCxnSpPr>
          <p:spPr>
            <a:xfrm>
              <a:off x="782039" y="3825616"/>
              <a:ext cx="385534" cy="0"/>
            </a:xfrm>
            <a:prstGeom prst="line">
              <a:avLst/>
            </a:prstGeom>
            <a:ln w="9525" cap="flat" cmpd="sng" algn="ctr">
              <a:solidFill>
                <a:srgbClr val="BBB5B5"/>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37" name="Group 36"/>
          <p:cNvGrpSpPr/>
          <p:nvPr/>
        </p:nvGrpSpPr>
        <p:grpSpPr>
          <a:xfrm>
            <a:off x="869144" y="1399454"/>
            <a:ext cx="8022847" cy="1640535"/>
            <a:chOff x="869144" y="1483678"/>
            <a:chExt cx="8022847" cy="1640535"/>
          </a:xfrm>
        </p:grpSpPr>
        <p:cxnSp>
          <p:nvCxnSpPr>
            <p:cNvPr id="38" name="OTLSHAPE_TB_00000000000000000000000000000000_Separator7"/>
            <p:cNvCxnSpPr/>
            <p:nvPr>
              <p:custDataLst>
                <p:tags r:id="rId5"/>
              </p:custDataLst>
            </p:nvPr>
          </p:nvCxnSpPr>
          <p:spPr>
            <a:xfrm>
              <a:off x="8301357" y="2817191"/>
              <a:ext cx="0" cy="203200"/>
            </a:xfrm>
            <a:prstGeom prst="line">
              <a:avLst/>
            </a:prstGeom>
            <a:ln w="6350" cap="flat" cmpd="sng" algn="ctr">
              <a:solidFill>
                <a:schemeClr val="lt1">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9" name="OTLSHAPE_TB_00000000000000000000000000000000_TimescaleInterval8"/>
            <p:cNvSpPr txBox="1"/>
            <p:nvPr>
              <p:custDataLst>
                <p:tags r:id="rId6"/>
              </p:custDataLst>
            </p:nvPr>
          </p:nvSpPr>
          <p:spPr>
            <a:xfrm>
              <a:off x="8334377" y="2825764"/>
              <a:ext cx="231858" cy="186055"/>
            </a:xfrm>
            <a:prstGeom prst="rect">
              <a:avLst/>
            </a:prstGeom>
            <a:noFill/>
          </p:spPr>
          <p:txBody>
            <a:bodyPr vert="horz" wrap="none" lIns="0" tIns="0" rIns="0" bIns="0" rtlCol="0" anchor="ctr" anchorCtr="0">
              <a:noAutofit/>
            </a:bodyPr>
            <a:lstStyle/>
            <a:p>
              <a:r>
                <a:rPr lang="en-US" sz="1200" spc="-22" dirty="0">
                  <a:solidFill>
                    <a:schemeClr val="lt1"/>
                  </a:solidFill>
                  <a:latin typeface="Calibri" panose="020F0502020204030204" pitchFamily="34" charset="0"/>
                </a:rPr>
                <a:t>October</a:t>
              </a:r>
            </a:p>
          </p:txBody>
        </p:sp>
        <p:cxnSp>
          <p:nvCxnSpPr>
            <p:cNvPr id="40" name="OTLSHAPE_M_6a283b367375415b92b0e5fc4e16a0cc_Connector1"/>
            <p:cNvCxnSpPr/>
            <p:nvPr>
              <p:custDataLst>
                <p:tags r:id="rId7"/>
              </p:custDataLst>
            </p:nvPr>
          </p:nvCxnSpPr>
          <p:spPr>
            <a:xfrm>
              <a:off x="8280674" y="1855238"/>
              <a:ext cx="0" cy="763833"/>
            </a:xfrm>
            <a:prstGeom prst="line">
              <a:avLst/>
            </a:prstGeom>
            <a:ln w="9525"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1" name="OTLSHAPE_M_6a283b367375415b92b0e5fc4e16a0cc_Title"/>
            <p:cNvSpPr txBox="1"/>
            <p:nvPr>
              <p:custDataLst>
                <p:tags r:id="rId8"/>
              </p:custDataLst>
            </p:nvPr>
          </p:nvSpPr>
          <p:spPr>
            <a:xfrm>
              <a:off x="7907019" y="1483678"/>
              <a:ext cx="749300" cy="186055"/>
            </a:xfrm>
            <a:prstGeom prst="rect">
              <a:avLst/>
            </a:prstGeom>
            <a:noFill/>
          </p:spPr>
          <p:txBody>
            <a:bodyPr vert="horz" wrap="square" lIns="0" tIns="0" rIns="0" bIns="0" rtlCol="0" anchor="ctr" anchorCtr="0">
              <a:spAutoFit/>
            </a:bodyPr>
            <a:lstStyle/>
            <a:p>
              <a:pPr algn="ctr"/>
              <a:r>
                <a:rPr lang="en-US" sz="1200" b="1" spc="-8" dirty="0">
                  <a:solidFill>
                    <a:schemeClr val="dk1"/>
                  </a:solidFill>
                  <a:latin typeface="Calibri" panose="020F0502020204030204" pitchFamily="34" charset="0"/>
                </a:rPr>
                <a:t>Milestone 8</a:t>
              </a:r>
            </a:p>
          </p:txBody>
        </p:sp>
        <p:sp>
          <p:nvSpPr>
            <p:cNvPr id="42" name="OTLSHAPE_M_6a283b367375415b92b0e5fc4e16a0cc_Date"/>
            <p:cNvSpPr txBox="1"/>
            <p:nvPr>
              <p:custDataLst>
                <p:tags r:id="rId9"/>
              </p:custDataLst>
            </p:nvPr>
          </p:nvSpPr>
          <p:spPr>
            <a:xfrm>
              <a:off x="8003729" y="1660445"/>
              <a:ext cx="545909" cy="153888"/>
            </a:xfrm>
            <a:prstGeom prst="rect">
              <a:avLst/>
            </a:prstGeom>
            <a:noFill/>
          </p:spPr>
          <p:txBody>
            <a:bodyPr vert="horz" wrap="square" lIns="0" tIns="0" rIns="0" bIns="0" rtlCol="0" anchor="ctr" anchorCtr="0">
              <a:spAutoFit/>
            </a:bodyPr>
            <a:lstStyle/>
            <a:p>
              <a:pPr algn="ctr"/>
              <a:r>
                <a:rPr lang="en-US" sz="1000" b="1" spc="-6" dirty="0">
                  <a:solidFill>
                    <a:schemeClr val="accent1"/>
                  </a:solidFill>
                  <a:latin typeface="Calibri" panose="020F0502020204030204" pitchFamily="34" charset="0"/>
                </a:rPr>
                <a:t>Q4</a:t>
              </a:r>
            </a:p>
          </p:txBody>
        </p:sp>
        <p:sp>
          <p:nvSpPr>
            <p:cNvPr id="43" name="OTLSHAPE_M_6a283b367375415b92b0e5fc4e16a0cc_Shape"/>
            <p:cNvSpPr/>
            <p:nvPr>
              <p:custDataLst>
                <p:tags r:id="rId10"/>
              </p:custDataLst>
            </p:nvPr>
          </p:nvSpPr>
          <p:spPr>
            <a:xfrm>
              <a:off x="8166374" y="2507311"/>
              <a:ext cx="228600" cy="254000"/>
            </a:xfrm>
            <a:prstGeom prst="diamond">
              <a:avLst/>
            </a:prstGeom>
            <a:solidFill>
              <a:schemeClr val="lt2"/>
            </a:solidFill>
            <a:ln w="12700" cap="flat" cmpd="sng" algn="ctr">
              <a:noFill/>
              <a:prstDash val="solid"/>
              <a:miter lim="800000"/>
            </a:ln>
            <a:effectLst/>
            <a:scene3d>
              <a:camera prst="orthographicFront"/>
              <a:lightRig rig="threePt" dir="t"/>
            </a:scene3d>
            <a:sp3d>
              <a:bevelT h="12700"/>
            </a:sp3d>
            <a:extLst>
              <a:ext uri="{91240B29-F687-4F45-9708-019B960494DF}">
                <a14:hiddenLine xmlns:a14="http://schemas.microsoft.com/office/drawing/2010/main" xmlns="" w="12700" cap="flat" cmpd="sng" algn="ctr">
                  <a:solidFill>
                    <a:schemeClr val="accent1">
                      <a:shade val="50000"/>
                    </a:schemeClr>
                  </a:solidFill>
                  <a:prstDash val="solid"/>
                  <a:miter lim="800000"/>
                </a14:hiddenLine>
              </a:ext>
              <a:ext uri="{AF507438-7753-43E0-B8FC-AC1667EBCBE1}">
                <a14:hiddenEffects xmlns:a14="http://schemas.microsoft.com/office/drawing/2010/main" xmlns="">
                  <a:effectLst>
                    <a:outerShdw>
                      <a:scrgbClr r="0" g="0" b="0">
                        <a:alpha val="50000"/>
                      </a:scrgbClr>
                    </a:outerShdw>
                  </a:effectLst>
                </a14:hiddenEffects>
              </a:ext>
              <a:ext uri="{53640926-AAD7-44D8-BBD7-CCE9431645EC}">
                <a14:shadowObscured xmlns:a14="http://schemas.microsoft.com/office/drawing/2010/main" xmlns=""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OTLSHAPE_TB_00000000000000000000000000000000_ScaleContainer"/>
            <p:cNvSpPr/>
            <p:nvPr>
              <p:custDataLst>
                <p:tags r:id="rId11"/>
              </p:custDataLst>
            </p:nvPr>
          </p:nvSpPr>
          <p:spPr>
            <a:xfrm>
              <a:off x="981116" y="2743213"/>
              <a:ext cx="7910875" cy="381000"/>
            </a:xfrm>
            <a:prstGeom prst="rect">
              <a:avLst/>
            </a:prstGeom>
            <a:gradFill flip="none" rotWithShape="1">
              <a:gsLst>
                <a:gs pos="0">
                  <a:srgbClr val="44546A"/>
                </a:gs>
                <a:gs pos="0">
                  <a:schemeClr val="dk2"/>
                </a:gs>
              </a:gsLst>
              <a:lin ang="5400000" scaled="1"/>
              <a:tileRect/>
            </a:gradFill>
            <a:ln w="12700" cap="flat" cmpd="sng" algn="ctr">
              <a:noFill/>
              <a:prstDash val="solid"/>
              <a:miter lim="800000"/>
            </a:ln>
            <a:effectLst>
              <a:reflection blurRad="6350" stA="50000" endA="300" endPos="55500" dist="50800" dir="5400000" sy="-100000" algn="bl" rotWithShape="0"/>
            </a:effectLst>
            <a:scene3d>
              <a:camera prst="orthographicFront"/>
              <a:lightRig rig="threePt" dir="t">
                <a:rot lat="0" lon="0" rev="8700000"/>
              </a:lightRig>
            </a:scene3d>
            <a:sp3d>
              <a:bevelT w="165100" h="19050"/>
            </a:sp3d>
            <a:extLst>
              <a:ext uri="{91240B29-F687-4F45-9708-019B960494DF}">
                <a14:hiddenLine xmlns:a14="http://schemas.microsoft.com/office/drawing/2010/main" xmlns=""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5" name="Group 44"/>
            <p:cNvGrpSpPr/>
            <p:nvPr/>
          </p:nvGrpSpPr>
          <p:grpSpPr>
            <a:xfrm>
              <a:off x="991611" y="1589561"/>
              <a:ext cx="749300" cy="1437180"/>
              <a:chOff x="859941" y="1589561"/>
              <a:chExt cx="749300" cy="1437180"/>
            </a:xfrm>
          </p:grpSpPr>
          <p:cxnSp>
            <p:nvCxnSpPr>
              <p:cNvPr id="75" name="OTLSHAPE_M_a58f29487c0343c08abcf41913e40cae_Connector1"/>
              <p:cNvCxnSpPr/>
              <p:nvPr>
                <p:custDataLst>
                  <p:tags r:id="rId35"/>
                </p:custDataLst>
              </p:nvPr>
            </p:nvCxnSpPr>
            <p:spPr>
              <a:xfrm>
                <a:off x="1233596" y="1930641"/>
                <a:ext cx="0" cy="749072"/>
              </a:xfrm>
              <a:prstGeom prst="line">
                <a:avLst/>
              </a:prstGeom>
              <a:ln w="9525"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6" name="OTLSHAPE_TB_00000000000000000000000000000000_TimescaleInterval1"/>
              <p:cNvSpPr txBox="1"/>
              <p:nvPr>
                <p:custDataLst>
                  <p:tags r:id="rId36"/>
                </p:custDataLst>
              </p:nvPr>
            </p:nvSpPr>
            <p:spPr>
              <a:xfrm>
                <a:off x="1044617" y="2840686"/>
                <a:ext cx="268150" cy="186055"/>
              </a:xfrm>
              <a:prstGeom prst="rect">
                <a:avLst/>
              </a:prstGeom>
              <a:noFill/>
            </p:spPr>
            <p:txBody>
              <a:bodyPr vert="horz" wrap="none" lIns="0" tIns="0" rIns="0" bIns="0" rtlCol="0" anchor="ctr" anchorCtr="0">
                <a:noAutofit/>
              </a:bodyPr>
              <a:lstStyle/>
              <a:p>
                <a:r>
                  <a:rPr lang="en-US" sz="1200" spc="-18" dirty="0">
                    <a:solidFill>
                      <a:schemeClr val="lt1"/>
                    </a:solidFill>
                    <a:latin typeface="Calibri" panose="020F0502020204030204" pitchFamily="34" charset="0"/>
                  </a:rPr>
                  <a:t>August</a:t>
                </a:r>
              </a:p>
            </p:txBody>
          </p:sp>
          <p:sp>
            <p:nvSpPr>
              <p:cNvPr id="77" name="OTLSHAPE_M_a58f29487c0343c08abcf41913e40cae_Title"/>
              <p:cNvSpPr txBox="1"/>
              <p:nvPr>
                <p:custDataLst>
                  <p:tags r:id="rId37"/>
                </p:custDataLst>
              </p:nvPr>
            </p:nvSpPr>
            <p:spPr>
              <a:xfrm>
                <a:off x="859941" y="1589561"/>
                <a:ext cx="749300" cy="186055"/>
              </a:xfrm>
              <a:prstGeom prst="rect">
                <a:avLst/>
              </a:prstGeom>
              <a:noFill/>
            </p:spPr>
            <p:txBody>
              <a:bodyPr vert="horz" wrap="square" lIns="0" tIns="0" rIns="0" bIns="0" rtlCol="0" anchor="ctr" anchorCtr="0">
                <a:spAutoFit/>
              </a:bodyPr>
              <a:lstStyle/>
              <a:p>
                <a:pPr algn="ctr"/>
                <a:r>
                  <a:rPr lang="en-US" sz="1200" b="1" spc="-8">
                    <a:solidFill>
                      <a:schemeClr val="dk1"/>
                    </a:solidFill>
                    <a:latin typeface="Calibri" panose="020F0502020204030204" pitchFamily="34" charset="0"/>
                  </a:rPr>
                  <a:t>Milestone 1</a:t>
                </a:r>
              </a:p>
            </p:txBody>
          </p:sp>
          <p:sp>
            <p:nvSpPr>
              <p:cNvPr id="78" name="OTLSHAPE_M_a58f29487c0343c08abcf41913e40cae_Date"/>
              <p:cNvSpPr txBox="1"/>
              <p:nvPr>
                <p:custDataLst>
                  <p:tags r:id="rId38"/>
                </p:custDataLst>
              </p:nvPr>
            </p:nvSpPr>
            <p:spPr>
              <a:xfrm>
                <a:off x="1039074" y="1775616"/>
                <a:ext cx="393700" cy="155025"/>
              </a:xfrm>
              <a:prstGeom prst="rect">
                <a:avLst/>
              </a:prstGeom>
              <a:noFill/>
            </p:spPr>
            <p:txBody>
              <a:bodyPr vert="horz" wrap="square" lIns="0" tIns="0" rIns="0" bIns="0" rtlCol="0" anchor="ctr" anchorCtr="0">
                <a:spAutoFit/>
              </a:bodyPr>
              <a:lstStyle/>
              <a:p>
                <a:pPr algn="ctr"/>
                <a:r>
                  <a:rPr lang="en-US" sz="1000" b="1" spc="-8" dirty="0">
                    <a:solidFill>
                      <a:schemeClr val="accent1"/>
                    </a:solidFill>
                    <a:latin typeface="Calibri" panose="020F0502020204030204" pitchFamily="34" charset="0"/>
                  </a:rPr>
                  <a:t>Aug 10</a:t>
                </a:r>
              </a:p>
            </p:txBody>
          </p:sp>
          <p:sp>
            <p:nvSpPr>
              <p:cNvPr id="79" name="OTLSHAPE_M_a58f29487c0343c08abcf41913e40cae_Shape"/>
              <p:cNvSpPr/>
              <p:nvPr>
                <p:custDataLst>
                  <p:tags r:id="rId39"/>
                </p:custDataLst>
              </p:nvPr>
            </p:nvSpPr>
            <p:spPr>
              <a:xfrm>
                <a:off x="1119296" y="2552713"/>
                <a:ext cx="228600" cy="254000"/>
              </a:xfrm>
              <a:prstGeom prst="diamond">
                <a:avLst/>
              </a:prstGeom>
              <a:solidFill>
                <a:schemeClr val="lt2"/>
              </a:solidFill>
              <a:ln w="12700" cap="flat" cmpd="sng" algn="ctr">
                <a:noFill/>
                <a:prstDash val="solid"/>
                <a:miter lim="800000"/>
              </a:ln>
              <a:effectLst/>
              <a:scene3d>
                <a:camera prst="orthographicFront"/>
                <a:lightRig rig="threePt" dir="t"/>
              </a:scene3d>
              <a:sp3d>
                <a:bevelT h="12700"/>
              </a:sp3d>
              <a:extLst>
                <a:ext uri="{91240B29-F687-4F45-9708-019B960494DF}">
                  <a14:hiddenLine xmlns:a14="http://schemas.microsoft.com/office/drawing/2010/main" xmlns="" w="12700" cap="flat" cmpd="sng" algn="ctr">
                    <a:solidFill>
                      <a:schemeClr val="accent1">
                        <a:shade val="50000"/>
                      </a:schemeClr>
                    </a:solidFill>
                    <a:prstDash val="solid"/>
                    <a:miter lim="800000"/>
                  </a14:hiddenLine>
                </a:ext>
                <a:ext uri="{AF507438-7753-43E0-B8FC-AC1667EBCBE1}">
                  <a14:hiddenEffects xmlns:a14="http://schemas.microsoft.com/office/drawing/2010/main" xmlns="">
                    <a:effectLst>
                      <a:outerShdw>
                        <a:scrgbClr r="0" g="0" b="0">
                          <a:alpha val="50000"/>
                        </a:scrgbClr>
                      </a:outerShdw>
                    </a:effectLst>
                  </a14:hiddenEffects>
                </a:ext>
                <a:ext uri="{53640926-AAD7-44D8-BBD7-CCE9431645EC}">
                  <a14:shadowObscured xmlns:a14="http://schemas.microsoft.com/office/drawing/2010/main" xmlns=""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6" name="Group 45"/>
            <p:cNvGrpSpPr/>
            <p:nvPr/>
          </p:nvGrpSpPr>
          <p:grpSpPr>
            <a:xfrm>
              <a:off x="2004577" y="2065259"/>
              <a:ext cx="749300" cy="710974"/>
              <a:chOff x="1719280" y="2065259"/>
              <a:chExt cx="749300" cy="710974"/>
            </a:xfrm>
          </p:grpSpPr>
          <p:cxnSp>
            <p:nvCxnSpPr>
              <p:cNvPr id="71" name="OTLSHAPE_M_52743de8bb6d4044896f473898fe9da7_Connector1"/>
              <p:cNvCxnSpPr/>
              <p:nvPr>
                <p:custDataLst>
                  <p:tags r:id="rId31"/>
                </p:custDataLst>
              </p:nvPr>
            </p:nvCxnSpPr>
            <p:spPr>
              <a:xfrm>
                <a:off x="2108176" y="2360619"/>
                <a:ext cx="0" cy="273374"/>
              </a:xfrm>
              <a:prstGeom prst="line">
                <a:avLst/>
              </a:prstGeom>
              <a:ln w="9525"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2" name="OTLSHAPE_M_52743de8bb6d4044896f473898fe9da7_Title"/>
              <p:cNvSpPr txBox="1"/>
              <p:nvPr>
                <p:custDataLst>
                  <p:tags r:id="rId32"/>
                </p:custDataLst>
              </p:nvPr>
            </p:nvSpPr>
            <p:spPr>
              <a:xfrm>
                <a:off x="1719280" y="2065259"/>
                <a:ext cx="749300" cy="186055"/>
              </a:xfrm>
              <a:prstGeom prst="rect">
                <a:avLst/>
              </a:prstGeom>
              <a:noFill/>
            </p:spPr>
            <p:txBody>
              <a:bodyPr vert="horz" wrap="square" lIns="0" tIns="0" rIns="0" bIns="0" rtlCol="0" anchor="ctr" anchorCtr="0">
                <a:spAutoFit/>
              </a:bodyPr>
              <a:lstStyle/>
              <a:p>
                <a:pPr algn="ctr"/>
                <a:r>
                  <a:rPr lang="en-US" sz="1200" b="1" spc="-8" dirty="0">
                    <a:solidFill>
                      <a:schemeClr val="dk1"/>
                    </a:solidFill>
                    <a:latin typeface="Calibri" panose="020F0502020204030204" pitchFamily="34" charset="0"/>
                  </a:rPr>
                  <a:t>Milestone 2</a:t>
                </a:r>
              </a:p>
            </p:txBody>
          </p:sp>
          <p:sp>
            <p:nvSpPr>
              <p:cNvPr id="73" name="OTLSHAPE_M_52743de8bb6d4044896f473898fe9da7_Date"/>
              <p:cNvSpPr txBox="1"/>
              <p:nvPr>
                <p:custDataLst>
                  <p:tags r:id="rId33"/>
                </p:custDataLst>
              </p:nvPr>
            </p:nvSpPr>
            <p:spPr>
              <a:xfrm>
                <a:off x="1972455" y="2240429"/>
                <a:ext cx="410716" cy="153888"/>
              </a:xfrm>
              <a:prstGeom prst="rect">
                <a:avLst/>
              </a:prstGeom>
              <a:noFill/>
            </p:spPr>
            <p:txBody>
              <a:bodyPr vert="horz" wrap="square" lIns="0" tIns="0" rIns="0" bIns="0" rtlCol="0" anchor="ctr" anchorCtr="0">
                <a:spAutoFit/>
              </a:bodyPr>
              <a:lstStyle/>
              <a:p>
                <a:pPr algn="ctr"/>
                <a:r>
                  <a:rPr lang="en-US" sz="1000" b="1" spc="-6" dirty="0">
                    <a:solidFill>
                      <a:schemeClr val="accent1"/>
                    </a:solidFill>
                    <a:latin typeface="Calibri" panose="020F0502020204030204" pitchFamily="34" charset="0"/>
                  </a:rPr>
                  <a:t>Aug 14</a:t>
                </a:r>
              </a:p>
            </p:txBody>
          </p:sp>
          <p:sp>
            <p:nvSpPr>
              <p:cNvPr id="74" name="OTLSHAPE_M_52743de8bb6d4044896f473898fe9da7_Shape"/>
              <p:cNvSpPr/>
              <p:nvPr>
                <p:custDataLst>
                  <p:tags r:id="rId34"/>
                </p:custDataLst>
              </p:nvPr>
            </p:nvSpPr>
            <p:spPr>
              <a:xfrm>
                <a:off x="2009116" y="2522233"/>
                <a:ext cx="228600" cy="254000"/>
              </a:xfrm>
              <a:prstGeom prst="diamond">
                <a:avLst/>
              </a:prstGeom>
              <a:solidFill>
                <a:schemeClr val="lt2"/>
              </a:solidFill>
              <a:ln w="12700" cap="flat" cmpd="sng" algn="ctr">
                <a:noFill/>
                <a:prstDash val="solid"/>
                <a:miter lim="800000"/>
              </a:ln>
              <a:effectLst/>
              <a:scene3d>
                <a:camera prst="orthographicFront"/>
                <a:lightRig rig="threePt" dir="t"/>
              </a:scene3d>
              <a:sp3d>
                <a:bevelT h="12700"/>
              </a:sp3d>
              <a:extLst>
                <a:ext uri="{91240B29-F687-4F45-9708-019B960494DF}">
                  <a14:hiddenLine xmlns:a14="http://schemas.microsoft.com/office/drawing/2010/main" xmlns="" w="12700" cap="flat" cmpd="sng" algn="ctr">
                    <a:solidFill>
                      <a:schemeClr val="accent1">
                        <a:shade val="50000"/>
                      </a:schemeClr>
                    </a:solidFill>
                    <a:prstDash val="solid"/>
                    <a:miter lim="800000"/>
                  </a14:hiddenLine>
                </a:ext>
                <a:ext uri="{AF507438-7753-43E0-B8FC-AC1667EBCBE1}">
                  <a14:hiddenEffects xmlns:a14="http://schemas.microsoft.com/office/drawing/2010/main" xmlns="">
                    <a:effectLst>
                      <a:outerShdw>
                        <a:scrgbClr r="0" g="0" b="0">
                          <a:alpha val="50000"/>
                        </a:scrgbClr>
                      </a:outerShdw>
                    </a:effectLst>
                  </a14:hiddenEffects>
                </a:ext>
                <a:ext uri="{53640926-AAD7-44D8-BBD7-CCE9431645EC}">
                  <a14:shadowObscured xmlns:a14="http://schemas.microsoft.com/office/drawing/2010/main" xmlns=""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7" name="Group 46"/>
            <p:cNvGrpSpPr/>
            <p:nvPr/>
          </p:nvGrpSpPr>
          <p:grpSpPr>
            <a:xfrm>
              <a:off x="4031707" y="2197752"/>
              <a:ext cx="749300" cy="593721"/>
              <a:chOff x="3607426" y="2197752"/>
              <a:chExt cx="749300" cy="593721"/>
            </a:xfrm>
          </p:grpSpPr>
          <p:sp>
            <p:nvSpPr>
              <p:cNvPr id="68" name="OTLSHAPE_M_a54bc827b05146d18b559f618723e2b4_Title"/>
              <p:cNvSpPr txBox="1"/>
              <p:nvPr>
                <p:custDataLst>
                  <p:tags r:id="rId28"/>
                </p:custDataLst>
              </p:nvPr>
            </p:nvSpPr>
            <p:spPr>
              <a:xfrm>
                <a:off x="3607426" y="2197752"/>
                <a:ext cx="749300" cy="186055"/>
              </a:xfrm>
              <a:prstGeom prst="rect">
                <a:avLst/>
              </a:prstGeom>
              <a:noFill/>
            </p:spPr>
            <p:txBody>
              <a:bodyPr vert="horz" wrap="square" lIns="0" tIns="0" rIns="0" bIns="0" rtlCol="0" anchor="ctr" anchorCtr="0">
                <a:spAutoFit/>
              </a:bodyPr>
              <a:lstStyle/>
              <a:p>
                <a:pPr algn="ctr"/>
                <a:r>
                  <a:rPr lang="en-US" sz="1200" b="1" spc="-8" dirty="0">
                    <a:solidFill>
                      <a:schemeClr val="dk1"/>
                    </a:solidFill>
                    <a:latin typeface="Calibri" panose="020F0502020204030204" pitchFamily="34" charset="0"/>
                  </a:rPr>
                  <a:t>Milestone 4</a:t>
                </a:r>
              </a:p>
            </p:txBody>
          </p:sp>
          <p:sp>
            <p:nvSpPr>
              <p:cNvPr id="69" name="OTLSHAPE_M_a54bc827b05146d18b559f618723e2b4_Date"/>
              <p:cNvSpPr txBox="1"/>
              <p:nvPr>
                <p:custDataLst>
                  <p:tags r:id="rId29"/>
                </p:custDataLst>
              </p:nvPr>
            </p:nvSpPr>
            <p:spPr>
              <a:xfrm>
                <a:off x="3801163" y="2391289"/>
                <a:ext cx="430569" cy="153888"/>
              </a:xfrm>
              <a:prstGeom prst="rect">
                <a:avLst/>
              </a:prstGeom>
              <a:noFill/>
            </p:spPr>
            <p:txBody>
              <a:bodyPr vert="horz" wrap="square" lIns="0" tIns="0" rIns="0" bIns="0" rtlCol="0" anchor="ctr" anchorCtr="0">
                <a:spAutoFit/>
              </a:bodyPr>
              <a:lstStyle/>
              <a:p>
                <a:pPr algn="ctr"/>
                <a:r>
                  <a:rPr lang="en-US" sz="1000" b="1" spc="-6" dirty="0">
                    <a:solidFill>
                      <a:schemeClr val="accent1"/>
                    </a:solidFill>
                    <a:latin typeface="Calibri" panose="020F0502020204030204" pitchFamily="34" charset="0"/>
                  </a:rPr>
                  <a:t>Aug 23</a:t>
                </a:r>
              </a:p>
            </p:txBody>
          </p:sp>
          <p:sp>
            <p:nvSpPr>
              <p:cNvPr id="70" name="OTLSHAPE_M_a54bc827b05146d18b559f618723e2b4_Shape"/>
              <p:cNvSpPr/>
              <p:nvPr>
                <p:custDataLst>
                  <p:tags r:id="rId30"/>
                </p:custDataLst>
              </p:nvPr>
            </p:nvSpPr>
            <p:spPr>
              <a:xfrm>
                <a:off x="3897261" y="2537473"/>
                <a:ext cx="228600" cy="254000"/>
              </a:xfrm>
              <a:prstGeom prst="diamond">
                <a:avLst/>
              </a:prstGeom>
              <a:solidFill>
                <a:schemeClr val="lt2"/>
              </a:solidFill>
              <a:ln w="12700" cap="flat" cmpd="sng" algn="ctr">
                <a:noFill/>
                <a:prstDash val="solid"/>
                <a:miter lim="800000"/>
              </a:ln>
              <a:effectLst/>
              <a:scene3d>
                <a:camera prst="orthographicFront"/>
                <a:lightRig rig="threePt" dir="t"/>
              </a:scene3d>
              <a:sp3d>
                <a:bevelT h="12700"/>
              </a:sp3d>
              <a:extLst>
                <a:ext uri="{91240B29-F687-4F45-9708-019B960494DF}">
                  <a14:hiddenLine xmlns:a14="http://schemas.microsoft.com/office/drawing/2010/main" xmlns="" w="12700" cap="flat" cmpd="sng" algn="ctr">
                    <a:solidFill>
                      <a:schemeClr val="accent1">
                        <a:shade val="50000"/>
                      </a:schemeClr>
                    </a:solidFill>
                    <a:prstDash val="solid"/>
                    <a:miter lim="800000"/>
                  </a14:hiddenLine>
                </a:ext>
                <a:ext uri="{AF507438-7753-43E0-B8FC-AC1667EBCBE1}">
                  <a14:hiddenEffects xmlns:a14="http://schemas.microsoft.com/office/drawing/2010/main" xmlns="">
                    <a:effectLst>
                      <a:outerShdw>
                        <a:scrgbClr r="0" g="0" b="0">
                          <a:alpha val="50000"/>
                        </a:scrgbClr>
                      </a:outerShdw>
                    </a:effectLst>
                  </a14:hiddenEffects>
                </a:ext>
                <a:ext uri="{53640926-AAD7-44D8-BBD7-CCE9431645EC}">
                  <a14:shadowObscured xmlns:a14="http://schemas.microsoft.com/office/drawing/2010/main" xmlns=""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8" name="Group 47"/>
            <p:cNvGrpSpPr/>
            <p:nvPr/>
          </p:nvGrpSpPr>
          <p:grpSpPr>
            <a:xfrm>
              <a:off x="5015093" y="2045766"/>
              <a:ext cx="749300" cy="760947"/>
              <a:chOff x="5015093" y="2045766"/>
              <a:chExt cx="749300" cy="760947"/>
            </a:xfrm>
          </p:grpSpPr>
          <p:cxnSp>
            <p:nvCxnSpPr>
              <p:cNvPr id="64" name="OTLSHAPE_M_93afb554552a4221a5380f7919409aa7_Connector1"/>
              <p:cNvCxnSpPr/>
              <p:nvPr>
                <p:custDataLst>
                  <p:tags r:id="rId24"/>
                </p:custDataLst>
              </p:nvPr>
            </p:nvCxnSpPr>
            <p:spPr>
              <a:xfrm>
                <a:off x="5349839" y="2379436"/>
                <a:ext cx="23671" cy="241757"/>
              </a:xfrm>
              <a:prstGeom prst="line">
                <a:avLst/>
              </a:prstGeom>
              <a:ln w="9525"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5" name="OTLSHAPE_M_93afb554552a4221a5380f7919409aa7_Title"/>
              <p:cNvSpPr txBox="1"/>
              <p:nvPr>
                <p:custDataLst>
                  <p:tags r:id="rId25"/>
                </p:custDataLst>
              </p:nvPr>
            </p:nvSpPr>
            <p:spPr>
              <a:xfrm>
                <a:off x="5015093" y="2045766"/>
                <a:ext cx="749300" cy="186055"/>
              </a:xfrm>
              <a:prstGeom prst="rect">
                <a:avLst/>
              </a:prstGeom>
              <a:noFill/>
            </p:spPr>
            <p:txBody>
              <a:bodyPr vert="horz" wrap="square" lIns="0" tIns="0" rIns="0" bIns="0" rtlCol="0" anchor="ctr" anchorCtr="0">
                <a:spAutoFit/>
              </a:bodyPr>
              <a:lstStyle/>
              <a:p>
                <a:pPr algn="ctr"/>
                <a:r>
                  <a:rPr lang="en-US" sz="1200" b="1" spc="-8" dirty="0">
                    <a:solidFill>
                      <a:schemeClr val="dk1"/>
                    </a:solidFill>
                    <a:latin typeface="Calibri" panose="020F0502020204030204" pitchFamily="34" charset="0"/>
                  </a:rPr>
                  <a:t>Milestone 5</a:t>
                </a:r>
              </a:p>
            </p:txBody>
          </p:sp>
          <p:sp>
            <p:nvSpPr>
              <p:cNvPr id="66" name="OTLSHAPE_M_93afb554552a4221a5380f7919409aa7_Date"/>
              <p:cNvSpPr txBox="1"/>
              <p:nvPr>
                <p:custDataLst>
                  <p:tags r:id="rId26"/>
                </p:custDataLst>
              </p:nvPr>
            </p:nvSpPr>
            <p:spPr>
              <a:xfrm>
                <a:off x="5207350" y="2217149"/>
                <a:ext cx="368300" cy="153888"/>
              </a:xfrm>
              <a:prstGeom prst="rect">
                <a:avLst/>
              </a:prstGeom>
              <a:noFill/>
            </p:spPr>
            <p:txBody>
              <a:bodyPr vert="horz" wrap="square" lIns="0" tIns="0" rIns="0" bIns="0" rtlCol="0" anchor="ctr" anchorCtr="0">
                <a:spAutoFit/>
              </a:bodyPr>
              <a:lstStyle/>
              <a:p>
                <a:pPr algn="ctr"/>
                <a:r>
                  <a:rPr lang="en-US" sz="1000" b="1" spc="-6" dirty="0">
                    <a:solidFill>
                      <a:schemeClr val="accent1"/>
                    </a:solidFill>
                    <a:latin typeface="Calibri" panose="020F0502020204030204" pitchFamily="34" charset="0"/>
                  </a:rPr>
                  <a:t>Sep 1</a:t>
                </a:r>
              </a:p>
            </p:txBody>
          </p:sp>
          <p:sp>
            <p:nvSpPr>
              <p:cNvPr id="67" name="OTLSHAPE_M_93afb554552a4221a5380f7919409aa7_Shape"/>
              <p:cNvSpPr/>
              <p:nvPr>
                <p:custDataLst>
                  <p:tags r:id="rId27"/>
                </p:custDataLst>
              </p:nvPr>
            </p:nvSpPr>
            <p:spPr>
              <a:xfrm>
                <a:off x="5243968" y="2552713"/>
                <a:ext cx="228600" cy="254000"/>
              </a:xfrm>
              <a:prstGeom prst="diamond">
                <a:avLst/>
              </a:prstGeom>
              <a:solidFill>
                <a:schemeClr val="lt2"/>
              </a:solidFill>
              <a:ln w="12700" cap="flat" cmpd="sng" algn="ctr">
                <a:noFill/>
                <a:prstDash val="solid"/>
                <a:miter lim="800000"/>
              </a:ln>
              <a:effectLst/>
              <a:scene3d>
                <a:camera prst="orthographicFront"/>
                <a:lightRig rig="threePt" dir="t"/>
              </a:scene3d>
              <a:sp3d>
                <a:bevelT h="12700"/>
              </a:sp3d>
              <a:extLst>
                <a:ext uri="{91240B29-F687-4F45-9708-019B960494DF}">
                  <a14:hiddenLine xmlns:a14="http://schemas.microsoft.com/office/drawing/2010/main" xmlns="" w="12700" cap="flat" cmpd="sng" algn="ctr">
                    <a:solidFill>
                      <a:schemeClr val="accent1">
                        <a:shade val="50000"/>
                      </a:schemeClr>
                    </a:solidFill>
                    <a:prstDash val="solid"/>
                    <a:miter lim="800000"/>
                  </a14:hiddenLine>
                </a:ext>
                <a:ext uri="{AF507438-7753-43E0-B8FC-AC1667EBCBE1}">
                  <a14:hiddenEffects xmlns:a14="http://schemas.microsoft.com/office/drawing/2010/main" xmlns="">
                    <a:effectLst>
                      <a:outerShdw>
                        <a:scrgbClr r="0" g="0" b="0">
                          <a:alpha val="50000"/>
                        </a:scrgbClr>
                      </a:outerShdw>
                    </a:effectLst>
                  </a14:hiddenEffects>
                </a:ext>
                <a:ext uri="{53640926-AAD7-44D8-BBD7-CCE9431645EC}">
                  <a14:shadowObscured xmlns:a14="http://schemas.microsoft.com/office/drawing/2010/main" xmlns=""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9" name="Group 48"/>
            <p:cNvGrpSpPr/>
            <p:nvPr/>
          </p:nvGrpSpPr>
          <p:grpSpPr>
            <a:xfrm>
              <a:off x="869144" y="2807572"/>
              <a:ext cx="4628368" cy="254418"/>
              <a:chOff x="436317" y="2858100"/>
              <a:chExt cx="4628368" cy="254418"/>
            </a:xfrm>
          </p:grpSpPr>
          <p:cxnSp>
            <p:nvCxnSpPr>
              <p:cNvPr id="61" name="OTLSHAPE_TB_00000000000000000000000000000000_Separator4"/>
              <p:cNvCxnSpPr/>
              <p:nvPr>
                <p:custDataLst>
                  <p:tags r:id="rId21"/>
                </p:custDataLst>
              </p:nvPr>
            </p:nvCxnSpPr>
            <p:spPr>
              <a:xfrm>
                <a:off x="4810370" y="2858100"/>
                <a:ext cx="0" cy="203200"/>
              </a:xfrm>
              <a:prstGeom prst="line">
                <a:avLst/>
              </a:prstGeom>
              <a:ln w="6350" cap="flat" cmpd="sng" algn="ctr">
                <a:solidFill>
                  <a:schemeClr val="lt1">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2" name="OTLSHAPE_TB_00000000000000000000000000000000_TimescaleInterval5"/>
              <p:cNvSpPr txBox="1"/>
              <p:nvPr>
                <p:custDataLst>
                  <p:tags r:id="rId22"/>
                </p:custDataLst>
              </p:nvPr>
            </p:nvSpPr>
            <p:spPr>
              <a:xfrm>
                <a:off x="4836085" y="2858792"/>
                <a:ext cx="228600" cy="186055"/>
              </a:xfrm>
              <a:prstGeom prst="rect">
                <a:avLst/>
              </a:prstGeom>
              <a:noFill/>
            </p:spPr>
            <p:txBody>
              <a:bodyPr vert="horz" wrap="none" lIns="0" tIns="0" rIns="0" bIns="0" rtlCol="0" anchor="ctr" anchorCtr="0">
                <a:noAutofit/>
              </a:bodyPr>
              <a:lstStyle/>
              <a:p>
                <a:r>
                  <a:rPr lang="en-US" sz="1200" spc="-18" dirty="0">
                    <a:solidFill>
                      <a:schemeClr val="lt1"/>
                    </a:solidFill>
                    <a:latin typeface="Calibri" panose="020F0502020204030204" pitchFamily="34" charset="0"/>
                  </a:rPr>
                  <a:t>September</a:t>
                </a:r>
              </a:p>
            </p:txBody>
          </p:sp>
          <p:cxnSp>
            <p:nvCxnSpPr>
              <p:cNvPr id="63" name="OTLSHAPE_TB_00000000000000000000000000000000_Separator4"/>
              <p:cNvCxnSpPr/>
              <p:nvPr>
                <p:custDataLst>
                  <p:tags r:id="rId23"/>
                </p:custDataLst>
              </p:nvPr>
            </p:nvCxnSpPr>
            <p:spPr>
              <a:xfrm>
                <a:off x="436317" y="2909318"/>
                <a:ext cx="0" cy="203200"/>
              </a:xfrm>
              <a:prstGeom prst="line">
                <a:avLst/>
              </a:prstGeom>
              <a:ln w="6350" cap="flat" cmpd="sng" algn="ctr">
                <a:solidFill>
                  <a:schemeClr val="lt1">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0" name="Group 49"/>
            <p:cNvGrpSpPr/>
            <p:nvPr/>
          </p:nvGrpSpPr>
          <p:grpSpPr>
            <a:xfrm>
              <a:off x="3120078" y="2175378"/>
              <a:ext cx="749300" cy="624201"/>
              <a:chOff x="2629955" y="2175378"/>
              <a:chExt cx="749300" cy="624201"/>
            </a:xfrm>
          </p:grpSpPr>
          <p:sp>
            <p:nvSpPr>
              <p:cNvPr id="58" name="OTLSHAPE_M_a54bc827b05146d18b559f618723e2b4_Title"/>
              <p:cNvSpPr txBox="1"/>
              <p:nvPr>
                <p:custDataLst>
                  <p:tags r:id="rId18"/>
                </p:custDataLst>
              </p:nvPr>
            </p:nvSpPr>
            <p:spPr>
              <a:xfrm>
                <a:off x="2629955" y="2175378"/>
                <a:ext cx="749300" cy="186055"/>
              </a:xfrm>
              <a:prstGeom prst="rect">
                <a:avLst/>
              </a:prstGeom>
              <a:noFill/>
            </p:spPr>
            <p:txBody>
              <a:bodyPr vert="horz" wrap="square" lIns="0" tIns="0" rIns="0" bIns="0" rtlCol="0" anchor="ctr" anchorCtr="0">
                <a:spAutoFit/>
              </a:bodyPr>
              <a:lstStyle/>
              <a:p>
                <a:pPr algn="ctr"/>
                <a:r>
                  <a:rPr lang="en-US" sz="1200" b="1" spc="-8" dirty="0">
                    <a:solidFill>
                      <a:schemeClr val="dk1"/>
                    </a:solidFill>
                    <a:latin typeface="Calibri" panose="020F0502020204030204" pitchFamily="34" charset="0"/>
                  </a:rPr>
                  <a:t>Milestone 3</a:t>
                </a:r>
              </a:p>
            </p:txBody>
          </p:sp>
          <p:sp>
            <p:nvSpPr>
              <p:cNvPr id="59" name="OTLSHAPE_M_a54bc827b05146d18b559f618723e2b4_Date"/>
              <p:cNvSpPr txBox="1"/>
              <p:nvPr>
                <p:custDataLst>
                  <p:tags r:id="rId19"/>
                </p:custDataLst>
              </p:nvPr>
            </p:nvSpPr>
            <p:spPr>
              <a:xfrm>
                <a:off x="2717012" y="2350328"/>
                <a:ext cx="544241" cy="153888"/>
              </a:xfrm>
              <a:prstGeom prst="rect">
                <a:avLst/>
              </a:prstGeom>
              <a:noFill/>
            </p:spPr>
            <p:txBody>
              <a:bodyPr vert="horz" wrap="square" lIns="0" tIns="0" rIns="0" bIns="0" rtlCol="0" anchor="ctr" anchorCtr="0">
                <a:spAutoFit/>
              </a:bodyPr>
              <a:lstStyle/>
              <a:p>
                <a:pPr algn="ctr"/>
                <a:r>
                  <a:rPr lang="en-US" sz="1000" b="1" spc="-6" dirty="0">
                    <a:solidFill>
                      <a:schemeClr val="accent1"/>
                    </a:solidFill>
                    <a:latin typeface="Calibri" panose="020F0502020204030204" pitchFamily="34" charset="0"/>
                  </a:rPr>
                  <a:t>Aug 18</a:t>
                </a:r>
              </a:p>
            </p:txBody>
          </p:sp>
          <p:sp>
            <p:nvSpPr>
              <p:cNvPr id="60" name="OTLSHAPE_M_a54bc827b05146d18b559f618723e2b4_Shape"/>
              <p:cNvSpPr/>
              <p:nvPr>
                <p:custDataLst>
                  <p:tags r:id="rId20"/>
                </p:custDataLst>
              </p:nvPr>
            </p:nvSpPr>
            <p:spPr>
              <a:xfrm>
                <a:off x="2858830" y="2545579"/>
                <a:ext cx="228600" cy="254000"/>
              </a:xfrm>
              <a:prstGeom prst="diamond">
                <a:avLst/>
              </a:prstGeom>
              <a:solidFill>
                <a:schemeClr val="lt2"/>
              </a:solidFill>
              <a:ln w="12700" cap="flat" cmpd="sng" algn="ctr">
                <a:noFill/>
                <a:prstDash val="solid"/>
                <a:miter lim="800000"/>
              </a:ln>
              <a:effectLst/>
              <a:scene3d>
                <a:camera prst="orthographicFront"/>
                <a:lightRig rig="threePt" dir="t"/>
              </a:scene3d>
              <a:sp3d>
                <a:bevelT h="12700"/>
              </a:sp3d>
              <a:extLst>
                <a:ext uri="{91240B29-F687-4F45-9708-019B960494DF}">
                  <a14:hiddenLine xmlns:a14="http://schemas.microsoft.com/office/drawing/2010/main" xmlns="" w="12700" cap="flat" cmpd="sng" algn="ctr">
                    <a:solidFill>
                      <a:schemeClr val="accent1">
                        <a:shade val="50000"/>
                      </a:schemeClr>
                    </a:solidFill>
                    <a:prstDash val="solid"/>
                    <a:miter lim="800000"/>
                  </a14:hiddenLine>
                </a:ext>
                <a:ext uri="{AF507438-7753-43E0-B8FC-AC1667EBCBE1}">
                  <a14:hiddenEffects xmlns:a14="http://schemas.microsoft.com/office/drawing/2010/main" xmlns="">
                    <a:effectLst>
                      <a:outerShdw>
                        <a:scrgbClr r="0" g="0" b="0">
                          <a:alpha val="50000"/>
                        </a:scrgbClr>
                      </a:outerShdw>
                    </a:effectLst>
                  </a14:hiddenEffects>
                </a:ext>
                <a:ext uri="{53640926-AAD7-44D8-BBD7-CCE9431645EC}">
                  <a14:shadowObscured xmlns:a14="http://schemas.microsoft.com/office/drawing/2010/main" xmlns=""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1" name="Group 50"/>
            <p:cNvGrpSpPr/>
            <p:nvPr/>
          </p:nvGrpSpPr>
          <p:grpSpPr>
            <a:xfrm>
              <a:off x="6681685" y="2045766"/>
              <a:ext cx="749300" cy="760947"/>
              <a:chOff x="5976438" y="2045766"/>
              <a:chExt cx="749300" cy="760947"/>
            </a:xfrm>
          </p:grpSpPr>
          <p:cxnSp>
            <p:nvCxnSpPr>
              <p:cNvPr id="54" name="OTLSHAPE_M_93afb554552a4221a5380f7919409aa7_Connector1"/>
              <p:cNvCxnSpPr>
                <a:stCxn id="56" idx="2"/>
              </p:cNvCxnSpPr>
              <p:nvPr>
                <p:custDataLst>
                  <p:tags r:id="rId14"/>
                </p:custDataLst>
              </p:nvPr>
            </p:nvCxnSpPr>
            <p:spPr>
              <a:xfrm flipH="1">
                <a:off x="6319615" y="2371037"/>
                <a:ext cx="33230" cy="308676"/>
              </a:xfrm>
              <a:prstGeom prst="line">
                <a:avLst/>
              </a:prstGeom>
              <a:ln w="9525" cap="flat" cmpd="sng" algn="ctr">
                <a:solidFill>
                  <a:schemeClr val="accent3"/>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5" name="OTLSHAPE_M_93afb554552a4221a5380f7919409aa7_Title"/>
              <p:cNvSpPr txBox="1"/>
              <p:nvPr>
                <p:custDataLst>
                  <p:tags r:id="rId15"/>
                </p:custDataLst>
              </p:nvPr>
            </p:nvSpPr>
            <p:spPr>
              <a:xfrm>
                <a:off x="5976438" y="2045766"/>
                <a:ext cx="749300" cy="186055"/>
              </a:xfrm>
              <a:prstGeom prst="rect">
                <a:avLst/>
              </a:prstGeom>
              <a:noFill/>
            </p:spPr>
            <p:txBody>
              <a:bodyPr vert="horz" wrap="square" lIns="0" tIns="0" rIns="0" bIns="0" rtlCol="0" anchor="ctr" anchorCtr="0">
                <a:spAutoFit/>
              </a:bodyPr>
              <a:lstStyle/>
              <a:p>
                <a:pPr algn="ctr"/>
                <a:r>
                  <a:rPr lang="en-US" sz="1200" b="1" spc="-8" dirty="0">
                    <a:solidFill>
                      <a:schemeClr val="dk1"/>
                    </a:solidFill>
                    <a:latin typeface="Calibri" panose="020F0502020204030204" pitchFamily="34" charset="0"/>
                  </a:rPr>
                  <a:t>Milestone 7</a:t>
                </a:r>
              </a:p>
            </p:txBody>
          </p:sp>
          <p:sp>
            <p:nvSpPr>
              <p:cNvPr id="56" name="OTLSHAPE_M_93afb554552a4221a5380f7919409aa7_Date"/>
              <p:cNvSpPr txBox="1"/>
              <p:nvPr>
                <p:custDataLst>
                  <p:tags r:id="rId16"/>
                </p:custDataLst>
              </p:nvPr>
            </p:nvSpPr>
            <p:spPr>
              <a:xfrm>
                <a:off x="6168695" y="2217149"/>
                <a:ext cx="368300" cy="153888"/>
              </a:xfrm>
              <a:prstGeom prst="rect">
                <a:avLst/>
              </a:prstGeom>
              <a:noFill/>
            </p:spPr>
            <p:txBody>
              <a:bodyPr vert="horz" wrap="square" lIns="0" tIns="0" rIns="0" bIns="0" rtlCol="0" anchor="ctr" anchorCtr="0">
                <a:spAutoFit/>
              </a:bodyPr>
              <a:lstStyle/>
              <a:p>
                <a:pPr algn="ctr"/>
                <a:r>
                  <a:rPr lang="en-US" sz="1000" b="1" spc="-6" dirty="0">
                    <a:solidFill>
                      <a:schemeClr val="accent1"/>
                    </a:solidFill>
                    <a:latin typeface="Calibri" panose="020F0502020204030204" pitchFamily="34" charset="0"/>
                  </a:rPr>
                  <a:t>Sep 29  </a:t>
                </a:r>
              </a:p>
            </p:txBody>
          </p:sp>
          <p:sp>
            <p:nvSpPr>
              <p:cNvPr id="57" name="OTLSHAPE_M_93afb554552a4221a5380f7919409aa7_Shape"/>
              <p:cNvSpPr/>
              <p:nvPr>
                <p:custDataLst>
                  <p:tags r:id="rId17"/>
                </p:custDataLst>
              </p:nvPr>
            </p:nvSpPr>
            <p:spPr>
              <a:xfrm>
                <a:off x="6220553" y="2552713"/>
                <a:ext cx="228600" cy="254000"/>
              </a:xfrm>
              <a:prstGeom prst="diamond">
                <a:avLst/>
              </a:prstGeom>
              <a:solidFill>
                <a:schemeClr val="lt2"/>
              </a:solidFill>
              <a:ln w="12700" cap="flat" cmpd="sng" algn="ctr">
                <a:noFill/>
                <a:prstDash val="solid"/>
                <a:miter lim="800000"/>
              </a:ln>
              <a:effectLst/>
              <a:scene3d>
                <a:camera prst="orthographicFront"/>
                <a:lightRig rig="threePt" dir="t"/>
              </a:scene3d>
              <a:sp3d>
                <a:bevelT h="12700"/>
              </a:sp3d>
              <a:extLst>
                <a:ext uri="{91240B29-F687-4F45-9708-019B960494DF}">
                  <a14:hiddenLine xmlns:a14="http://schemas.microsoft.com/office/drawing/2010/main" xmlns="" w="12700" cap="flat" cmpd="sng" algn="ctr">
                    <a:solidFill>
                      <a:schemeClr val="accent1">
                        <a:shade val="50000"/>
                      </a:schemeClr>
                    </a:solidFill>
                    <a:prstDash val="solid"/>
                    <a:miter lim="800000"/>
                  </a14:hiddenLine>
                </a:ext>
                <a:ext uri="{AF507438-7753-43E0-B8FC-AC1667EBCBE1}">
                  <a14:hiddenEffects xmlns:a14="http://schemas.microsoft.com/office/drawing/2010/main" xmlns="">
                    <a:effectLst>
                      <a:outerShdw>
                        <a:scrgbClr r="0" g="0" b="0">
                          <a:alpha val="50000"/>
                        </a:scrgbClr>
                      </a:outerShdw>
                    </a:effectLst>
                  </a14:hiddenEffects>
                </a:ext>
                <a:ext uri="{53640926-AAD7-44D8-BBD7-CCE9431645EC}">
                  <a14:shadowObscured xmlns:a14="http://schemas.microsoft.com/office/drawing/2010/main" xmlns=""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52" name="OTLSHAPE_TB_00000000000000000000000000000000_Separator4"/>
            <p:cNvCxnSpPr/>
            <p:nvPr>
              <p:custDataLst>
                <p:tags r:id="rId12"/>
              </p:custDataLst>
            </p:nvPr>
          </p:nvCxnSpPr>
          <p:spPr>
            <a:xfrm>
              <a:off x="8262029" y="2818074"/>
              <a:ext cx="0" cy="203200"/>
            </a:xfrm>
            <a:prstGeom prst="line">
              <a:avLst/>
            </a:prstGeom>
            <a:ln w="6350" cap="flat" cmpd="sng" algn="ctr">
              <a:solidFill>
                <a:schemeClr val="lt1">
                  <a:alpha val="29804"/>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3" name="OTLSHAPE_TB_00000000000000000000000000000000_TimescaleInterval5"/>
            <p:cNvSpPr txBox="1"/>
            <p:nvPr>
              <p:custDataLst>
                <p:tags r:id="rId13"/>
              </p:custDataLst>
            </p:nvPr>
          </p:nvSpPr>
          <p:spPr>
            <a:xfrm>
              <a:off x="8325529" y="2826647"/>
              <a:ext cx="228600" cy="186055"/>
            </a:xfrm>
            <a:prstGeom prst="rect">
              <a:avLst/>
            </a:prstGeom>
            <a:noFill/>
          </p:spPr>
          <p:txBody>
            <a:bodyPr vert="horz" wrap="none" lIns="0" tIns="0" rIns="0" bIns="0" rtlCol="0" anchor="ctr" anchorCtr="0">
              <a:noAutofit/>
            </a:bodyPr>
            <a:lstStyle/>
            <a:p>
              <a:r>
                <a:rPr lang="en-US" sz="1200" spc="-18" dirty="0">
                  <a:solidFill>
                    <a:schemeClr val="lt1"/>
                  </a:solidFill>
                  <a:latin typeface="Calibri" panose="020F0502020204030204" pitchFamily="34" charset="0"/>
                </a:rPr>
                <a:t>2017, Q4</a:t>
              </a:r>
            </a:p>
          </p:txBody>
        </p:sp>
      </p:grpSp>
      <p:grpSp>
        <p:nvGrpSpPr>
          <p:cNvPr id="80" name="Group 79"/>
          <p:cNvGrpSpPr/>
          <p:nvPr/>
        </p:nvGrpSpPr>
        <p:grpSpPr>
          <a:xfrm>
            <a:off x="1052904" y="6499046"/>
            <a:ext cx="980344" cy="261610"/>
            <a:chOff x="730929" y="6474634"/>
            <a:chExt cx="980344" cy="261610"/>
          </a:xfrm>
        </p:grpSpPr>
        <p:sp>
          <p:nvSpPr>
            <p:cNvPr id="81" name="OTLSHAPE_T_7c518fb37f2142bb8e0445920d0403b5_Shape"/>
            <p:cNvSpPr/>
            <p:nvPr>
              <p:custDataLst>
                <p:tags r:id="rId4"/>
              </p:custDataLst>
            </p:nvPr>
          </p:nvSpPr>
          <p:spPr>
            <a:xfrm>
              <a:off x="730929" y="6514252"/>
              <a:ext cx="302823" cy="206664"/>
            </a:xfrm>
            <a:prstGeom prst="roundRect">
              <a:avLst/>
            </a:prstGeom>
            <a:solidFill>
              <a:srgbClr val="00B050"/>
            </a:solidFill>
            <a:ln w="12700" cap="flat" cmpd="sng" algn="ctr">
              <a:solidFill>
                <a:schemeClr val="accent1">
                  <a:shade val="50000"/>
                </a:schemeClr>
              </a:solidFill>
              <a:prstDash val="solid"/>
              <a:miter lim="800000"/>
            </a:ln>
            <a:effectLst/>
            <a:scene3d>
              <a:camera prst="orthographicFront"/>
              <a:lightRig rig="balanced" dir="t">
                <a:rot lat="0" lon="0" rev="8700000"/>
              </a:lightRig>
            </a:scene3d>
            <a:sp3d>
              <a:bevelT w="165100" h="12700"/>
            </a:sp3d>
            <a:extLst>
              <a:ext uri="{53640926-AAD7-44D8-BBD7-CCE9431645EC}">
                <a14:shadowObscured xmlns:a14="http://schemas.microsoft.com/office/drawing/2010/main" xmlns=""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TextBox 81"/>
            <p:cNvSpPr txBox="1"/>
            <p:nvPr/>
          </p:nvSpPr>
          <p:spPr>
            <a:xfrm>
              <a:off x="971968" y="6474634"/>
              <a:ext cx="739305" cy="261610"/>
            </a:xfrm>
            <a:prstGeom prst="rect">
              <a:avLst/>
            </a:prstGeom>
            <a:noFill/>
          </p:spPr>
          <p:txBody>
            <a:bodyPr wrap="none" rtlCol="0">
              <a:spAutoFit/>
            </a:bodyPr>
            <a:lstStyle/>
            <a:p>
              <a:r>
                <a:rPr lang="en-GB" sz="1100" dirty="0"/>
                <a:t>Progress</a:t>
              </a:r>
            </a:p>
          </p:txBody>
        </p:sp>
      </p:grpSp>
      <p:grpSp>
        <p:nvGrpSpPr>
          <p:cNvPr id="83" name="Group 82"/>
          <p:cNvGrpSpPr/>
          <p:nvPr/>
        </p:nvGrpSpPr>
        <p:grpSpPr>
          <a:xfrm>
            <a:off x="2505016" y="6546014"/>
            <a:ext cx="1413661" cy="261610"/>
            <a:chOff x="1553604" y="6485389"/>
            <a:chExt cx="1413661" cy="261610"/>
          </a:xfrm>
        </p:grpSpPr>
        <p:sp>
          <p:nvSpPr>
            <p:cNvPr id="84" name="OTLSHAPE_T_7c518fb37f2142bb8e0445920d0403b5_Shape"/>
            <p:cNvSpPr/>
            <p:nvPr>
              <p:custDataLst>
                <p:tags r:id="rId3"/>
              </p:custDataLst>
            </p:nvPr>
          </p:nvSpPr>
          <p:spPr>
            <a:xfrm>
              <a:off x="1553604" y="6499249"/>
              <a:ext cx="366416" cy="206664"/>
            </a:xfrm>
            <a:prstGeom prst="roundRect">
              <a:avLst/>
            </a:prstGeom>
            <a:solidFill>
              <a:srgbClr val="FFFF00"/>
            </a:solidFill>
            <a:ln w="12700" cap="flat" cmpd="sng" algn="ctr">
              <a:solidFill>
                <a:schemeClr val="accent1">
                  <a:shade val="50000"/>
                </a:schemeClr>
              </a:solidFill>
              <a:prstDash val="solid"/>
              <a:miter lim="800000"/>
            </a:ln>
            <a:effectLst/>
            <a:scene3d>
              <a:camera prst="orthographicFront"/>
              <a:lightRig rig="balanced" dir="t">
                <a:rot lat="0" lon="0" rev="8700000"/>
              </a:lightRig>
            </a:scene3d>
            <a:sp3d>
              <a:bevelT w="165100" h="12700"/>
            </a:sp3d>
            <a:extLst>
              <a:ext uri="{53640926-AAD7-44D8-BBD7-CCE9431645EC}">
                <a14:shadowObscured xmlns:a14="http://schemas.microsoft.com/office/drawing/2010/main" xmlns=""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TextBox 84"/>
            <p:cNvSpPr txBox="1"/>
            <p:nvPr/>
          </p:nvSpPr>
          <p:spPr>
            <a:xfrm>
              <a:off x="2006746" y="6485389"/>
              <a:ext cx="960519" cy="261610"/>
            </a:xfrm>
            <a:prstGeom prst="rect">
              <a:avLst/>
            </a:prstGeom>
            <a:noFill/>
          </p:spPr>
          <p:txBody>
            <a:bodyPr wrap="none" rtlCol="0">
              <a:spAutoFit/>
            </a:bodyPr>
            <a:lstStyle/>
            <a:p>
              <a:r>
                <a:rPr lang="en-GB" sz="1100" dirty="0"/>
                <a:t>Not Started</a:t>
              </a:r>
            </a:p>
          </p:txBody>
        </p:sp>
      </p:grpSp>
      <p:grpSp>
        <p:nvGrpSpPr>
          <p:cNvPr id="86" name="Group 85"/>
          <p:cNvGrpSpPr/>
          <p:nvPr/>
        </p:nvGrpSpPr>
        <p:grpSpPr>
          <a:xfrm>
            <a:off x="4398844" y="6514593"/>
            <a:ext cx="1078572" cy="261610"/>
            <a:chOff x="7458187" y="6692715"/>
            <a:chExt cx="1078572" cy="261610"/>
          </a:xfrm>
        </p:grpSpPr>
        <p:sp>
          <p:nvSpPr>
            <p:cNvPr id="87" name="OTLSHAPE_T_7c518fb37f2142bb8e0445920d0403b5_Shape"/>
            <p:cNvSpPr/>
            <p:nvPr>
              <p:custDataLst>
                <p:tags r:id="rId2"/>
              </p:custDataLst>
            </p:nvPr>
          </p:nvSpPr>
          <p:spPr>
            <a:xfrm>
              <a:off x="7458187" y="6724591"/>
              <a:ext cx="366416" cy="191653"/>
            </a:xfrm>
            <a:prstGeom prst="roundRect">
              <a:avLst/>
            </a:prstGeom>
            <a:solidFill>
              <a:schemeClr val="accent2"/>
            </a:solidFill>
            <a:ln w="12700" cap="flat" cmpd="sng" algn="ctr">
              <a:solidFill>
                <a:schemeClr val="accent1">
                  <a:shade val="50000"/>
                </a:schemeClr>
              </a:solidFill>
              <a:prstDash val="solid"/>
              <a:miter lim="800000"/>
            </a:ln>
            <a:effectLst/>
            <a:scene3d>
              <a:camera prst="orthographicFront"/>
              <a:lightRig rig="balanced" dir="t">
                <a:rot lat="0" lon="0" rev="8700000"/>
              </a:lightRig>
            </a:scene3d>
            <a:sp3d>
              <a:bevelT w="165100" h="12700"/>
            </a:sp3d>
            <a:extLst>
              <a:ext uri="{53640926-AAD7-44D8-BBD7-CCE9431645EC}">
                <a14:shadowObscured xmlns:a14="http://schemas.microsoft.com/office/drawing/2010/main" xmlns=""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TextBox 87"/>
            <p:cNvSpPr txBox="1"/>
            <p:nvPr/>
          </p:nvSpPr>
          <p:spPr>
            <a:xfrm>
              <a:off x="7832720" y="6692715"/>
              <a:ext cx="704039" cy="261610"/>
            </a:xfrm>
            <a:prstGeom prst="rect">
              <a:avLst/>
            </a:prstGeom>
            <a:noFill/>
          </p:spPr>
          <p:txBody>
            <a:bodyPr wrap="none" rtlCol="0">
              <a:spAutoFit/>
            </a:bodyPr>
            <a:lstStyle/>
            <a:p>
              <a:r>
                <a:rPr lang="en-GB" sz="1100" dirty="0"/>
                <a:t>Go Live</a:t>
              </a:r>
            </a:p>
          </p:txBody>
        </p:sp>
      </p:grpSp>
      <p:sp>
        <p:nvSpPr>
          <p:cNvPr id="4" name="TextBox 3"/>
          <p:cNvSpPr txBox="1"/>
          <p:nvPr/>
        </p:nvSpPr>
        <p:spPr>
          <a:xfrm>
            <a:off x="3120078" y="273509"/>
            <a:ext cx="4044697" cy="461665"/>
          </a:xfrm>
          <a:prstGeom prst="rect">
            <a:avLst/>
          </a:prstGeom>
        </p:spPr>
        <p:txBody>
          <a:bodyPr vert="horz" wrap="none" lIns="91440" tIns="45720" rIns="91440" bIns="45720" rtlCol="0" anchor="ctr">
            <a:spAutoFit/>
          </a:bodyPr>
          <a:lstStyle>
            <a:lvl1pPr>
              <a:spcBef>
                <a:spcPct val="0"/>
              </a:spcBef>
              <a:buNone/>
              <a:defRPr sz="2400" b="1">
                <a:solidFill>
                  <a:schemeClr val="bg1"/>
                </a:solidFill>
              </a:defRPr>
            </a:lvl1pPr>
          </a:lstStyle>
          <a:p>
            <a:r>
              <a:rPr lang="en-US" dirty="0"/>
              <a:t>NASDAQ  Go-live timeline</a:t>
            </a:r>
          </a:p>
        </p:txBody>
      </p:sp>
      <p:sp>
        <p:nvSpPr>
          <p:cNvPr id="92" name="OTLSHAPE_T_7c518fb37f2142bb8e0445920d0403b5_Shape"/>
          <p:cNvSpPr/>
          <p:nvPr>
            <p:custDataLst>
              <p:tags r:id="rId1"/>
            </p:custDataLst>
          </p:nvPr>
        </p:nvSpPr>
        <p:spPr>
          <a:xfrm>
            <a:off x="2997938" y="3989292"/>
            <a:ext cx="377716" cy="194825"/>
          </a:xfrm>
          <a:prstGeom prst="roundRect">
            <a:avLst/>
          </a:prstGeom>
          <a:solidFill>
            <a:srgbClr val="00B050"/>
          </a:solidFill>
          <a:ln w="12700" cap="flat" cmpd="sng" algn="ctr">
            <a:solidFill>
              <a:schemeClr val="accent1">
                <a:shade val="50000"/>
              </a:schemeClr>
            </a:solidFill>
            <a:prstDash val="solid"/>
            <a:miter lim="800000"/>
          </a:ln>
          <a:effectLst/>
          <a:scene3d>
            <a:camera prst="orthographicFront"/>
            <a:lightRig rig="balanced" dir="t">
              <a:rot lat="0" lon="0" rev="8700000"/>
            </a:lightRig>
          </a:scene3d>
          <a:sp3d>
            <a:bevelT w="165100" h="12700"/>
          </a:sp3d>
          <a:extLst>
            <a:ext uri="{53640926-AAD7-44D8-BBD7-CCE9431645EC}">
              <a14:shadowObscured xmlns:a14="http://schemas.microsoft.com/office/drawing/2010/main" xmlns="" val="1"/>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401541223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8DE9EFF3-1512-4B0B-A303-06EB8BB7A730}" type="slidenum">
              <a:rPr lang="en-GB" smtClean="0">
                <a:solidFill>
                  <a:prstClr val="black">
                    <a:tint val="75000"/>
                  </a:prstClr>
                </a:solidFill>
              </a:rPr>
              <a:pPr/>
              <a:t>6</a:t>
            </a:fld>
            <a:endParaRPr lang="en-GB" dirty="0">
              <a:solidFill>
                <a:prstClr val="black">
                  <a:tint val="75000"/>
                </a:prstClr>
              </a:solidFill>
            </a:endParaRPr>
          </a:p>
        </p:txBody>
      </p:sp>
      <p:grpSp>
        <p:nvGrpSpPr>
          <p:cNvPr id="3" name="Group 2"/>
          <p:cNvGrpSpPr/>
          <p:nvPr/>
        </p:nvGrpSpPr>
        <p:grpSpPr>
          <a:xfrm>
            <a:off x="128554" y="1919334"/>
            <a:ext cx="5765252" cy="4162455"/>
            <a:chOff x="181974" y="651649"/>
            <a:chExt cx="5975622" cy="4577552"/>
          </a:xfrm>
        </p:grpSpPr>
        <p:sp>
          <p:nvSpPr>
            <p:cNvPr id="4" name="Freeform 2"/>
            <p:cNvSpPr>
              <a:spLocks/>
            </p:cNvSpPr>
            <p:nvPr/>
          </p:nvSpPr>
          <p:spPr bwMode="gray">
            <a:xfrm>
              <a:off x="4517387" y="2073677"/>
              <a:ext cx="1154321" cy="1649246"/>
            </a:xfrm>
            <a:custGeom>
              <a:avLst/>
              <a:gdLst>
                <a:gd name="T0" fmla="*/ 2147483647 w 822"/>
                <a:gd name="T1" fmla="*/ 2147483647 h 1236"/>
                <a:gd name="T2" fmla="*/ 2147483647 w 822"/>
                <a:gd name="T3" fmla="*/ 2147483647 h 1236"/>
                <a:gd name="T4" fmla="*/ 2147483647 w 822"/>
                <a:gd name="T5" fmla="*/ 2147483647 h 1236"/>
                <a:gd name="T6" fmla="*/ 2147483647 w 822"/>
                <a:gd name="T7" fmla="*/ 2147483647 h 1236"/>
                <a:gd name="T8" fmla="*/ 2147483647 w 822"/>
                <a:gd name="T9" fmla="*/ 2147483647 h 1236"/>
                <a:gd name="T10" fmla="*/ 2147483647 w 822"/>
                <a:gd name="T11" fmla="*/ 2147483647 h 1236"/>
                <a:gd name="T12" fmla="*/ 2147483647 w 822"/>
                <a:gd name="T13" fmla="*/ 2147483647 h 1236"/>
                <a:gd name="T14" fmla="*/ 2147483647 w 822"/>
                <a:gd name="T15" fmla="*/ 2147483647 h 1236"/>
                <a:gd name="T16" fmla="*/ 2147483647 w 822"/>
                <a:gd name="T17" fmla="*/ 2147483647 h 1236"/>
                <a:gd name="T18" fmla="*/ 2147483647 w 822"/>
                <a:gd name="T19" fmla="*/ 2147483647 h 1236"/>
                <a:gd name="T20" fmla="*/ 2147483647 w 822"/>
                <a:gd name="T21" fmla="*/ 2147483647 h 1236"/>
                <a:gd name="T22" fmla="*/ 2147483647 w 822"/>
                <a:gd name="T23" fmla="*/ 2147483647 h 1236"/>
                <a:gd name="T24" fmla="*/ 2147483647 w 822"/>
                <a:gd name="T25" fmla="*/ 2147483647 h 1236"/>
                <a:gd name="T26" fmla="*/ 2147483647 w 822"/>
                <a:gd name="T27" fmla="*/ 2147483647 h 1236"/>
                <a:gd name="T28" fmla="*/ 2147483647 w 822"/>
                <a:gd name="T29" fmla="*/ 2147483647 h 1236"/>
                <a:gd name="T30" fmla="*/ 2147483647 w 822"/>
                <a:gd name="T31" fmla="*/ 2147483647 h 1236"/>
                <a:gd name="T32" fmla="*/ 2147483647 w 822"/>
                <a:gd name="T33" fmla="*/ 2147483647 h 1236"/>
                <a:gd name="T34" fmla="*/ 2147483647 w 822"/>
                <a:gd name="T35" fmla="*/ 2147483647 h 1236"/>
                <a:gd name="T36" fmla="*/ 2147483647 w 822"/>
                <a:gd name="T37" fmla="*/ 2147483647 h 1236"/>
                <a:gd name="T38" fmla="*/ 2147483647 w 822"/>
                <a:gd name="T39" fmla="*/ 2147483647 h 1236"/>
                <a:gd name="T40" fmla="*/ 2147483647 w 822"/>
                <a:gd name="T41" fmla="*/ 2147483647 h 1236"/>
                <a:gd name="T42" fmla="*/ 2147483647 w 822"/>
                <a:gd name="T43" fmla="*/ 2147483647 h 1236"/>
                <a:gd name="T44" fmla="*/ 2147483647 w 822"/>
                <a:gd name="T45" fmla="*/ 2147483647 h 1236"/>
                <a:gd name="T46" fmla="*/ 2147483647 w 822"/>
                <a:gd name="T47" fmla="*/ 2147483647 h 1236"/>
                <a:gd name="T48" fmla="*/ 2147483647 w 822"/>
                <a:gd name="T49" fmla="*/ 2147483647 h 1236"/>
                <a:gd name="T50" fmla="*/ 2147483647 w 822"/>
                <a:gd name="T51" fmla="*/ 2147483647 h 1236"/>
                <a:gd name="T52" fmla="*/ 2147483647 w 822"/>
                <a:gd name="T53" fmla="*/ 2147483647 h 1236"/>
                <a:gd name="T54" fmla="*/ 2147483647 w 822"/>
                <a:gd name="T55" fmla="*/ 2147483647 h 1236"/>
                <a:gd name="T56" fmla="*/ 2147483647 w 822"/>
                <a:gd name="T57" fmla="*/ 2147483647 h 1236"/>
                <a:gd name="T58" fmla="*/ 2147483647 w 822"/>
                <a:gd name="T59" fmla="*/ 2147483647 h 1236"/>
                <a:gd name="T60" fmla="*/ 2147483647 w 822"/>
                <a:gd name="T61" fmla="*/ 2147483647 h 1236"/>
                <a:gd name="T62" fmla="*/ 2147483647 w 822"/>
                <a:gd name="T63" fmla="*/ 2147483647 h 1236"/>
                <a:gd name="T64" fmla="*/ 2147483647 w 822"/>
                <a:gd name="T65" fmla="*/ 2147483647 h 1236"/>
                <a:gd name="T66" fmla="*/ 2147483647 w 822"/>
                <a:gd name="T67" fmla="*/ 2147483647 h 1236"/>
                <a:gd name="T68" fmla="*/ 2147483647 w 822"/>
                <a:gd name="T69" fmla="*/ 2147483647 h 1236"/>
                <a:gd name="T70" fmla="*/ 2147483647 w 822"/>
                <a:gd name="T71" fmla="*/ 2147483647 h 1236"/>
                <a:gd name="T72" fmla="*/ 2147483647 w 822"/>
                <a:gd name="T73" fmla="*/ 2147483647 h 1236"/>
                <a:gd name="T74" fmla="*/ 2147483647 w 822"/>
                <a:gd name="T75" fmla="*/ 2147483647 h 1236"/>
                <a:gd name="T76" fmla="*/ 2147483647 w 822"/>
                <a:gd name="T77" fmla="*/ 2147483647 h 1236"/>
                <a:gd name="T78" fmla="*/ 2147483647 w 822"/>
                <a:gd name="T79" fmla="*/ 2147483647 h 1236"/>
                <a:gd name="T80" fmla="*/ 2147483647 w 822"/>
                <a:gd name="T81" fmla="*/ 2147483647 h 1236"/>
                <a:gd name="T82" fmla="*/ 2147483647 w 822"/>
                <a:gd name="T83" fmla="*/ 2147483647 h 1236"/>
                <a:gd name="T84" fmla="*/ 2147483647 w 822"/>
                <a:gd name="T85" fmla="*/ 2147483647 h 1236"/>
                <a:gd name="T86" fmla="*/ 2147483647 w 822"/>
                <a:gd name="T87" fmla="*/ 2147483647 h 1236"/>
                <a:gd name="T88" fmla="*/ 2147483647 w 822"/>
                <a:gd name="T89" fmla="*/ 2147483647 h 1236"/>
                <a:gd name="T90" fmla="*/ 2147483647 w 822"/>
                <a:gd name="T91" fmla="*/ 2147483647 h 1236"/>
                <a:gd name="T92" fmla="*/ 2147483647 w 822"/>
                <a:gd name="T93" fmla="*/ 2147483647 h 1236"/>
                <a:gd name="T94" fmla="*/ 2147483647 w 822"/>
                <a:gd name="T95" fmla="*/ 2147483647 h 1236"/>
                <a:gd name="T96" fmla="*/ 2147483647 w 822"/>
                <a:gd name="T97" fmla="*/ 2147483647 h 1236"/>
                <a:gd name="T98" fmla="*/ 2147483647 w 822"/>
                <a:gd name="T99" fmla="*/ 2147483647 h 1236"/>
                <a:gd name="T100" fmla="*/ 2147483647 w 822"/>
                <a:gd name="T101" fmla="*/ 2147483647 h 1236"/>
                <a:gd name="T102" fmla="*/ 2147483647 w 822"/>
                <a:gd name="T103" fmla="*/ 2147483647 h 1236"/>
                <a:gd name="T104" fmla="*/ 2147483647 w 822"/>
                <a:gd name="T105" fmla="*/ 2147483647 h 1236"/>
                <a:gd name="T106" fmla="*/ 2147483647 w 822"/>
                <a:gd name="T107" fmla="*/ 2147483647 h 1236"/>
                <a:gd name="T108" fmla="*/ 2147483647 w 822"/>
                <a:gd name="T109" fmla="*/ 2147483647 h 1236"/>
                <a:gd name="T110" fmla="*/ 2147483647 w 822"/>
                <a:gd name="T111" fmla="*/ 2147483647 h 1236"/>
                <a:gd name="T112" fmla="*/ 2147483647 w 822"/>
                <a:gd name="T113" fmla="*/ 2147483647 h 1236"/>
                <a:gd name="T114" fmla="*/ 2147483647 w 822"/>
                <a:gd name="T115" fmla="*/ 2147483647 h 1236"/>
                <a:gd name="T116" fmla="*/ 2147483647 w 822"/>
                <a:gd name="T117" fmla="*/ 2147483647 h 1236"/>
                <a:gd name="T118" fmla="*/ 2147483647 w 822"/>
                <a:gd name="T119" fmla="*/ 2147483647 h 1236"/>
                <a:gd name="T120" fmla="*/ 2147483647 w 822"/>
                <a:gd name="T121" fmla="*/ 2147483647 h 12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22"/>
                <a:gd name="T184" fmla="*/ 0 h 1236"/>
                <a:gd name="T185" fmla="*/ 822 w 822"/>
                <a:gd name="T186" fmla="*/ 1236 h 12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22" h="1236">
                  <a:moveTo>
                    <a:pt x="187" y="1236"/>
                  </a:moveTo>
                  <a:lnTo>
                    <a:pt x="187" y="1230"/>
                  </a:lnTo>
                  <a:lnTo>
                    <a:pt x="182" y="1219"/>
                  </a:lnTo>
                  <a:lnTo>
                    <a:pt x="176" y="1213"/>
                  </a:lnTo>
                  <a:lnTo>
                    <a:pt x="176" y="1202"/>
                  </a:lnTo>
                  <a:lnTo>
                    <a:pt x="176" y="1196"/>
                  </a:lnTo>
                  <a:lnTo>
                    <a:pt x="170" y="1179"/>
                  </a:lnTo>
                  <a:lnTo>
                    <a:pt x="170" y="1173"/>
                  </a:lnTo>
                  <a:lnTo>
                    <a:pt x="170" y="1168"/>
                  </a:lnTo>
                  <a:lnTo>
                    <a:pt x="170" y="1162"/>
                  </a:lnTo>
                  <a:lnTo>
                    <a:pt x="170" y="1156"/>
                  </a:lnTo>
                  <a:lnTo>
                    <a:pt x="170" y="1151"/>
                  </a:lnTo>
                  <a:lnTo>
                    <a:pt x="170" y="1145"/>
                  </a:lnTo>
                  <a:lnTo>
                    <a:pt x="170" y="1139"/>
                  </a:lnTo>
                  <a:lnTo>
                    <a:pt x="170" y="1134"/>
                  </a:lnTo>
                  <a:lnTo>
                    <a:pt x="170" y="1122"/>
                  </a:lnTo>
                  <a:lnTo>
                    <a:pt x="165" y="1122"/>
                  </a:lnTo>
                  <a:lnTo>
                    <a:pt x="159" y="1117"/>
                  </a:lnTo>
                  <a:lnTo>
                    <a:pt x="159" y="1111"/>
                  </a:lnTo>
                  <a:lnTo>
                    <a:pt x="153" y="1111"/>
                  </a:lnTo>
                  <a:lnTo>
                    <a:pt x="153" y="1105"/>
                  </a:lnTo>
                  <a:lnTo>
                    <a:pt x="148" y="1105"/>
                  </a:lnTo>
                  <a:lnTo>
                    <a:pt x="142" y="1105"/>
                  </a:lnTo>
                  <a:lnTo>
                    <a:pt x="136" y="1094"/>
                  </a:lnTo>
                  <a:lnTo>
                    <a:pt x="131" y="1094"/>
                  </a:lnTo>
                  <a:lnTo>
                    <a:pt x="131" y="1082"/>
                  </a:lnTo>
                  <a:lnTo>
                    <a:pt x="125" y="1082"/>
                  </a:lnTo>
                  <a:lnTo>
                    <a:pt x="119" y="1077"/>
                  </a:lnTo>
                  <a:lnTo>
                    <a:pt x="114" y="1071"/>
                  </a:lnTo>
                  <a:lnTo>
                    <a:pt x="114" y="1065"/>
                  </a:lnTo>
                  <a:lnTo>
                    <a:pt x="108" y="1065"/>
                  </a:lnTo>
                  <a:lnTo>
                    <a:pt x="102" y="1060"/>
                  </a:lnTo>
                  <a:lnTo>
                    <a:pt x="97" y="1060"/>
                  </a:lnTo>
                  <a:lnTo>
                    <a:pt x="91" y="1060"/>
                  </a:lnTo>
                  <a:lnTo>
                    <a:pt x="91" y="1065"/>
                  </a:lnTo>
                  <a:lnTo>
                    <a:pt x="85" y="1065"/>
                  </a:lnTo>
                  <a:lnTo>
                    <a:pt x="80" y="1071"/>
                  </a:lnTo>
                  <a:lnTo>
                    <a:pt x="80" y="1077"/>
                  </a:lnTo>
                  <a:lnTo>
                    <a:pt x="80" y="1082"/>
                  </a:lnTo>
                  <a:lnTo>
                    <a:pt x="74" y="1088"/>
                  </a:lnTo>
                  <a:lnTo>
                    <a:pt x="74" y="1094"/>
                  </a:lnTo>
                  <a:lnTo>
                    <a:pt x="68" y="1099"/>
                  </a:lnTo>
                  <a:lnTo>
                    <a:pt x="63" y="1105"/>
                  </a:lnTo>
                  <a:lnTo>
                    <a:pt x="57" y="1099"/>
                  </a:lnTo>
                  <a:lnTo>
                    <a:pt x="51" y="1099"/>
                  </a:lnTo>
                  <a:lnTo>
                    <a:pt x="51" y="1094"/>
                  </a:lnTo>
                  <a:lnTo>
                    <a:pt x="46" y="1094"/>
                  </a:lnTo>
                  <a:lnTo>
                    <a:pt x="46" y="1082"/>
                  </a:lnTo>
                  <a:lnTo>
                    <a:pt x="40" y="1077"/>
                  </a:lnTo>
                  <a:lnTo>
                    <a:pt x="40" y="1071"/>
                  </a:lnTo>
                  <a:lnTo>
                    <a:pt x="34" y="1060"/>
                  </a:lnTo>
                  <a:lnTo>
                    <a:pt x="34" y="1054"/>
                  </a:lnTo>
                  <a:lnTo>
                    <a:pt x="29" y="1048"/>
                  </a:lnTo>
                  <a:lnTo>
                    <a:pt x="23" y="1037"/>
                  </a:lnTo>
                  <a:lnTo>
                    <a:pt x="17" y="1031"/>
                  </a:lnTo>
                  <a:lnTo>
                    <a:pt x="17" y="1026"/>
                  </a:lnTo>
                  <a:lnTo>
                    <a:pt x="12" y="1026"/>
                  </a:lnTo>
                  <a:lnTo>
                    <a:pt x="6" y="1026"/>
                  </a:lnTo>
                  <a:lnTo>
                    <a:pt x="0" y="1020"/>
                  </a:lnTo>
                  <a:lnTo>
                    <a:pt x="6" y="1020"/>
                  </a:lnTo>
                  <a:lnTo>
                    <a:pt x="6" y="1014"/>
                  </a:lnTo>
                  <a:lnTo>
                    <a:pt x="12" y="1009"/>
                  </a:lnTo>
                  <a:lnTo>
                    <a:pt x="17" y="1009"/>
                  </a:lnTo>
                  <a:lnTo>
                    <a:pt x="17" y="1003"/>
                  </a:lnTo>
                  <a:lnTo>
                    <a:pt x="17" y="997"/>
                  </a:lnTo>
                  <a:lnTo>
                    <a:pt x="23" y="997"/>
                  </a:lnTo>
                  <a:lnTo>
                    <a:pt x="23" y="992"/>
                  </a:lnTo>
                  <a:lnTo>
                    <a:pt x="29" y="992"/>
                  </a:lnTo>
                  <a:lnTo>
                    <a:pt x="29" y="986"/>
                  </a:lnTo>
                  <a:lnTo>
                    <a:pt x="34" y="986"/>
                  </a:lnTo>
                  <a:lnTo>
                    <a:pt x="34" y="980"/>
                  </a:lnTo>
                  <a:lnTo>
                    <a:pt x="40" y="980"/>
                  </a:lnTo>
                  <a:lnTo>
                    <a:pt x="46" y="975"/>
                  </a:lnTo>
                  <a:lnTo>
                    <a:pt x="46" y="969"/>
                  </a:lnTo>
                  <a:lnTo>
                    <a:pt x="46" y="963"/>
                  </a:lnTo>
                  <a:lnTo>
                    <a:pt x="51" y="963"/>
                  </a:lnTo>
                  <a:lnTo>
                    <a:pt x="51" y="958"/>
                  </a:lnTo>
                  <a:lnTo>
                    <a:pt x="51" y="952"/>
                  </a:lnTo>
                  <a:lnTo>
                    <a:pt x="57" y="952"/>
                  </a:lnTo>
                  <a:lnTo>
                    <a:pt x="63" y="946"/>
                  </a:lnTo>
                  <a:lnTo>
                    <a:pt x="63" y="941"/>
                  </a:lnTo>
                  <a:lnTo>
                    <a:pt x="68" y="941"/>
                  </a:lnTo>
                  <a:lnTo>
                    <a:pt x="68" y="935"/>
                  </a:lnTo>
                  <a:lnTo>
                    <a:pt x="74" y="929"/>
                  </a:lnTo>
                  <a:lnTo>
                    <a:pt x="74" y="924"/>
                  </a:lnTo>
                  <a:lnTo>
                    <a:pt x="80" y="924"/>
                  </a:lnTo>
                  <a:lnTo>
                    <a:pt x="80" y="918"/>
                  </a:lnTo>
                  <a:lnTo>
                    <a:pt x="80" y="912"/>
                  </a:lnTo>
                  <a:lnTo>
                    <a:pt x="85" y="912"/>
                  </a:lnTo>
                  <a:lnTo>
                    <a:pt x="85" y="907"/>
                  </a:lnTo>
                  <a:lnTo>
                    <a:pt x="91" y="901"/>
                  </a:lnTo>
                  <a:lnTo>
                    <a:pt x="97" y="895"/>
                  </a:lnTo>
                  <a:lnTo>
                    <a:pt x="102" y="895"/>
                  </a:lnTo>
                  <a:lnTo>
                    <a:pt x="108" y="895"/>
                  </a:lnTo>
                  <a:lnTo>
                    <a:pt x="108" y="890"/>
                  </a:lnTo>
                  <a:lnTo>
                    <a:pt x="114" y="890"/>
                  </a:lnTo>
                  <a:lnTo>
                    <a:pt x="119" y="884"/>
                  </a:lnTo>
                  <a:lnTo>
                    <a:pt x="125" y="884"/>
                  </a:lnTo>
                  <a:lnTo>
                    <a:pt x="131" y="878"/>
                  </a:lnTo>
                  <a:lnTo>
                    <a:pt x="136" y="873"/>
                  </a:lnTo>
                  <a:lnTo>
                    <a:pt x="136" y="867"/>
                  </a:lnTo>
                  <a:lnTo>
                    <a:pt x="142" y="867"/>
                  </a:lnTo>
                  <a:lnTo>
                    <a:pt x="142" y="861"/>
                  </a:lnTo>
                  <a:lnTo>
                    <a:pt x="148" y="861"/>
                  </a:lnTo>
                  <a:lnTo>
                    <a:pt x="148" y="856"/>
                  </a:lnTo>
                  <a:lnTo>
                    <a:pt x="148" y="850"/>
                  </a:lnTo>
                  <a:lnTo>
                    <a:pt x="148" y="844"/>
                  </a:lnTo>
                  <a:lnTo>
                    <a:pt x="148" y="839"/>
                  </a:lnTo>
                  <a:lnTo>
                    <a:pt x="148" y="816"/>
                  </a:lnTo>
                  <a:lnTo>
                    <a:pt x="153" y="805"/>
                  </a:lnTo>
                  <a:lnTo>
                    <a:pt x="153" y="799"/>
                  </a:lnTo>
                  <a:lnTo>
                    <a:pt x="153" y="793"/>
                  </a:lnTo>
                  <a:lnTo>
                    <a:pt x="153" y="788"/>
                  </a:lnTo>
                  <a:lnTo>
                    <a:pt x="159" y="788"/>
                  </a:lnTo>
                  <a:lnTo>
                    <a:pt x="159" y="776"/>
                  </a:lnTo>
                  <a:lnTo>
                    <a:pt x="165" y="776"/>
                  </a:lnTo>
                  <a:lnTo>
                    <a:pt x="165" y="771"/>
                  </a:lnTo>
                  <a:lnTo>
                    <a:pt x="176" y="759"/>
                  </a:lnTo>
                  <a:lnTo>
                    <a:pt x="182" y="748"/>
                  </a:lnTo>
                  <a:lnTo>
                    <a:pt x="182" y="742"/>
                  </a:lnTo>
                  <a:lnTo>
                    <a:pt x="187" y="731"/>
                  </a:lnTo>
                  <a:lnTo>
                    <a:pt x="187" y="725"/>
                  </a:lnTo>
                  <a:lnTo>
                    <a:pt x="187" y="720"/>
                  </a:lnTo>
                  <a:lnTo>
                    <a:pt x="182" y="714"/>
                  </a:lnTo>
                  <a:lnTo>
                    <a:pt x="182" y="708"/>
                  </a:lnTo>
                  <a:lnTo>
                    <a:pt x="182" y="703"/>
                  </a:lnTo>
                  <a:lnTo>
                    <a:pt x="176" y="703"/>
                  </a:lnTo>
                  <a:lnTo>
                    <a:pt x="165" y="697"/>
                  </a:lnTo>
                  <a:lnTo>
                    <a:pt x="165" y="691"/>
                  </a:lnTo>
                  <a:lnTo>
                    <a:pt x="153" y="691"/>
                  </a:lnTo>
                  <a:lnTo>
                    <a:pt x="153" y="686"/>
                  </a:lnTo>
                  <a:lnTo>
                    <a:pt x="148" y="680"/>
                  </a:lnTo>
                  <a:lnTo>
                    <a:pt x="148" y="674"/>
                  </a:lnTo>
                  <a:lnTo>
                    <a:pt x="136" y="674"/>
                  </a:lnTo>
                  <a:lnTo>
                    <a:pt x="136" y="669"/>
                  </a:lnTo>
                  <a:lnTo>
                    <a:pt x="136" y="663"/>
                  </a:lnTo>
                  <a:lnTo>
                    <a:pt x="131" y="663"/>
                  </a:lnTo>
                  <a:lnTo>
                    <a:pt x="125" y="657"/>
                  </a:lnTo>
                  <a:lnTo>
                    <a:pt x="125" y="652"/>
                  </a:lnTo>
                  <a:lnTo>
                    <a:pt x="125" y="646"/>
                  </a:lnTo>
                  <a:lnTo>
                    <a:pt x="125" y="635"/>
                  </a:lnTo>
                  <a:lnTo>
                    <a:pt x="125" y="623"/>
                  </a:lnTo>
                  <a:lnTo>
                    <a:pt x="125" y="618"/>
                  </a:lnTo>
                  <a:lnTo>
                    <a:pt x="125" y="606"/>
                  </a:lnTo>
                  <a:lnTo>
                    <a:pt x="125" y="601"/>
                  </a:lnTo>
                  <a:lnTo>
                    <a:pt x="125" y="595"/>
                  </a:lnTo>
                  <a:lnTo>
                    <a:pt x="119" y="595"/>
                  </a:lnTo>
                  <a:lnTo>
                    <a:pt x="119" y="589"/>
                  </a:lnTo>
                  <a:lnTo>
                    <a:pt x="119" y="584"/>
                  </a:lnTo>
                  <a:lnTo>
                    <a:pt x="114" y="584"/>
                  </a:lnTo>
                  <a:lnTo>
                    <a:pt x="114" y="578"/>
                  </a:lnTo>
                  <a:lnTo>
                    <a:pt x="108" y="578"/>
                  </a:lnTo>
                  <a:lnTo>
                    <a:pt x="108" y="572"/>
                  </a:lnTo>
                  <a:lnTo>
                    <a:pt x="102" y="572"/>
                  </a:lnTo>
                  <a:lnTo>
                    <a:pt x="102" y="567"/>
                  </a:lnTo>
                  <a:lnTo>
                    <a:pt x="97" y="567"/>
                  </a:lnTo>
                  <a:lnTo>
                    <a:pt x="97" y="561"/>
                  </a:lnTo>
                  <a:lnTo>
                    <a:pt x="91" y="561"/>
                  </a:lnTo>
                  <a:lnTo>
                    <a:pt x="85" y="555"/>
                  </a:lnTo>
                  <a:lnTo>
                    <a:pt x="85" y="550"/>
                  </a:lnTo>
                  <a:lnTo>
                    <a:pt x="80" y="550"/>
                  </a:lnTo>
                  <a:lnTo>
                    <a:pt x="68" y="550"/>
                  </a:lnTo>
                  <a:lnTo>
                    <a:pt x="63" y="544"/>
                  </a:lnTo>
                  <a:lnTo>
                    <a:pt x="57" y="538"/>
                  </a:lnTo>
                  <a:lnTo>
                    <a:pt x="51" y="538"/>
                  </a:lnTo>
                  <a:lnTo>
                    <a:pt x="51" y="533"/>
                  </a:lnTo>
                  <a:lnTo>
                    <a:pt x="51" y="527"/>
                  </a:lnTo>
                  <a:lnTo>
                    <a:pt x="51" y="521"/>
                  </a:lnTo>
                  <a:lnTo>
                    <a:pt x="46" y="521"/>
                  </a:lnTo>
                  <a:lnTo>
                    <a:pt x="46" y="516"/>
                  </a:lnTo>
                  <a:lnTo>
                    <a:pt x="40" y="516"/>
                  </a:lnTo>
                  <a:lnTo>
                    <a:pt x="40" y="510"/>
                  </a:lnTo>
                  <a:lnTo>
                    <a:pt x="40" y="504"/>
                  </a:lnTo>
                  <a:lnTo>
                    <a:pt x="40" y="499"/>
                  </a:lnTo>
                  <a:lnTo>
                    <a:pt x="34" y="499"/>
                  </a:lnTo>
                  <a:lnTo>
                    <a:pt x="23" y="487"/>
                  </a:lnTo>
                  <a:lnTo>
                    <a:pt x="29" y="487"/>
                  </a:lnTo>
                  <a:lnTo>
                    <a:pt x="34" y="482"/>
                  </a:lnTo>
                  <a:lnTo>
                    <a:pt x="46" y="482"/>
                  </a:lnTo>
                  <a:lnTo>
                    <a:pt x="63" y="482"/>
                  </a:lnTo>
                  <a:lnTo>
                    <a:pt x="68" y="482"/>
                  </a:lnTo>
                  <a:lnTo>
                    <a:pt x="68" y="476"/>
                  </a:lnTo>
                  <a:lnTo>
                    <a:pt x="74" y="476"/>
                  </a:lnTo>
                  <a:lnTo>
                    <a:pt x="80" y="470"/>
                  </a:lnTo>
                  <a:lnTo>
                    <a:pt x="85" y="470"/>
                  </a:lnTo>
                  <a:lnTo>
                    <a:pt x="91" y="470"/>
                  </a:lnTo>
                  <a:lnTo>
                    <a:pt x="97" y="470"/>
                  </a:lnTo>
                  <a:lnTo>
                    <a:pt x="102" y="470"/>
                  </a:lnTo>
                  <a:lnTo>
                    <a:pt x="102" y="465"/>
                  </a:lnTo>
                  <a:lnTo>
                    <a:pt x="108" y="465"/>
                  </a:lnTo>
                  <a:lnTo>
                    <a:pt x="114" y="465"/>
                  </a:lnTo>
                  <a:lnTo>
                    <a:pt x="119" y="459"/>
                  </a:lnTo>
                  <a:lnTo>
                    <a:pt x="125" y="453"/>
                  </a:lnTo>
                  <a:lnTo>
                    <a:pt x="131" y="453"/>
                  </a:lnTo>
                  <a:lnTo>
                    <a:pt x="136" y="453"/>
                  </a:lnTo>
                  <a:lnTo>
                    <a:pt x="136" y="448"/>
                  </a:lnTo>
                  <a:lnTo>
                    <a:pt x="136" y="442"/>
                  </a:lnTo>
                  <a:lnTo>
                    <a:pt x="142" y="442"/>
                  </a:lnTo>
                  <a:lnTo>
                    <a:pt x="148" y="436"/>
                  </a:lnTo>
                  <a:lnTo>
                    <a:pt x="153" y="436"/>
                  </a:lnTo>
                  <a:lnTo>
                    <a:pt x="153" y="431"/>
                  </a:lnTo>
                  <a:lnTo>
                    <a:pt x="153" y="425"/>
                  </a:lnTo>
                  <a:lnTo>
                    <a:pt x="159" y="425"/>
                  </a:lnTo>
                  <a:lnTo>
                    <a:pt x="165" y="425"/>
                  </a:lnTo>
                  <a:lnTo>
                    <a:pt x="165" y="419"/>
                  </a:lnTo>
                  <a:lnTo>
                    <a:pt x="170" y="414"/>
                  </a:lnTo>
                  <a:lnTo>
                    <a:pt x="170" y="402"/>
                  </a:lnTo>
                  <a:lnTo>
                    <a:pt x="170" y="397"/>
                  </a:lnTo>
                  <a:lnTo>
                    <a:pt x="170" y="391"/>
                  </a:lnTo>
                  <a:lnTo>
                    <a:pt x="170" y="374"/>
                  </a:lnTo>
                  <a:lnTo>
                    <a:pt x="170" y="368"/>
                  </a:lnTo>
                  <a:lnTo>
                    <a:pt x="170" y="363"/>
                  </a:lnTo>
                  <a:lnTo>
                    <a:pt x="170" y="357"/>
                  </a:lnTo>
                  <a:lnTo>
                    <a:pt x="170" y="351"/>
                  </a:lnTo>
                  <a:lnTo>
                    <a:pt x="165" y="346"/>
                  </a:lnTo>
                  <a:lnTo>
                    <a:pt x="165" y="340"/>
                  </a:lnTo>
                  <a:lnTo>
                    <a:pt x="165" y="334"/>
                  </a:lnTo>
                  <a:lnTo>
                    <a:pt x="165" y="329"/>
                  </a:lnTo>
                  <a:lnTo>
                    <a:pt x="159" y="317"/>
                  </a:lnTo>
                  <a:lnTo>
                    <a:pt x="182" y="329"/>
                  </a:lnTo>
                  <a:lnTo>
                    <a:pt x="187" y="329"/>
                  </a:lnTo>
                  <a:lnTo>
                    <a:pt x="199" y="329"/>
                  </a:lnTo>
                  <a:lnTo>
                    <a:pt x="204" y="329"/>
                  </a:lnTo>
                  <a:lnTo>
                    <a:pt x="210" y="329"/>
                  </a:lnTo>
                  <a:lnTo>
                    <a:pt x="216" y="329"/>
                  </a:lnTo>
                  <a:lnTo>
                    <a:pt x="227" y="329"/>
                  </a:lnTo>
                  <a:lnTo>
                    <a:pt x="233" y="329"/>
                  </a:lnTo>
                  <a:lnTo>
                    <a:pt x="244" y="317"/>
                  </a:lnTo>
                  <a:lnTo>
                    <a:pt x="250" y="317"/>
                  </a:lnTo>
                  <a:lnTo>
                    <a:pt x="250" y="312"/>
                  </a:lnTo>
                  <a:lnTo>
                    <a:pt x="250" y="300"/>
                  </a:lnTo>
                  <a:lnTo>
                    <a:pt x="255" y="289"/>
                  </a:lnTo>
                  <a:lnTo>
                    <a:pt x="255" y="283"/>
                  </a:lnTo>
                  <a:lnTo>
                    <a:pt x="255" y="278"/>
                  </a:lnTo>
                  <a:lnTo>
                    <a:pt x="255" y="272"/>
                  </a:lnTo>
                  <a:lnTo>
                    <a:pt x="261" y="272"/>
                  </a:lnTo>
                  <a:lnTo>
                    <a:pt x="267" y="266"/>
                  </a:lnTo>
                  <a:lnTo>
                    <a:pt x="267" y="261"/>
                  </a:lnTo>
                  <a:lnTo>
                    <a:pt x="272" y="261"/>
                  </a:lnTo>
                  <a:lnTo>
                    <a:pt x="272" y="255"/>
                  </a:lnTo>
                  <a:lnTo>
                    <a:pt x="278" y="255"/>
                  </a:lnTo>
                  <a:lnTo>
                    <a:pt x="284" y="244"/>
                  </a:lnTo>
                  <a:lnTo>
                    <a:pt x="289" y="238"/>
                  </a:lnTo>
                  <a:lnTo>
                    <a:pt x="295" y="238"/>
                  </a:lnTo>
                  <a:lnTo>
                    <a:pt x="301" y="232"/>
                  </a:lnTo>
                  <a:lnTo>
                    <a:pt x="306" y="232"/>
                  </a:lnTo>
                  <a:lnTo>
                    <a:pt x="312" y="227"/>
                  </a:lnTo>
                  <a:lnTo>
                    <a:pt x="318" y="227"/>
                  </a:lnTo>
                  <a:lnTo>
                    <a:pt x="323" y="227"/>
                  </a:lnTo>
                  <a:lnTo>
                    <a:pt x="323" y="221"/>
                  </a:lnTo>
                  <a:lnTo>
                    <a:pt x="329" y="221"/>
                  </a:lnTo>
                  <a:lnTo>
                    <a:pt x="335" y="221"/>
                  </a:lnTo>
                  <a:lnTo>
                    <a:pt x="340" y="215"/>
                  </a:lnTo>
                  <a:lnTo>
                    <a:pt x="352" y="215"/>
                  </a:lnTo>
                  <a:lnTo>
                    <a:pt x="357" y="215"/>
                  </a:lnTo>
                  <a:lnTo>
                    <a:pt x="369" y="215"/>
                  </a:lnTo>
                  <a:lnTo>
                    <a:pt x="386" y="215"/>
                  </a:lnTo>
                  <a:lnTo>
                    <a:pt x="397" y="215"/>
                  </a:lnTo>
                  <a:lnTo>
                    <a:pt x="403" y="215"/>
                  </a:lnTo>
                  <a:lnTo>
                    <a:pt x="409" y="215"/>
                  </a:lnTo>
                  <a:lnTo>
                    <a:pt x="414" y="210"/>
                  </a:lnTo>
                  <a:lnTo>
                    <a:pt x="420" y="204"/>
                  </a:lnTo>
                  <a:lnTo>
                    <a:pt x="426" y="198"/>
                  </a:lnTo>
                  <a:lnTo>
                    <a:pt x="443" y="181"/>
                  </a:lnTo>
                  <a:lnTo>
                    <a:pt x="448" y="181"/>
                  </a:lnTo>
                  <a:lnTo>
                    <a:pt x="448" y="175"/>
                  </a:lnTo>
                  <a:lnTo>
                    <a:pt x="454" y="170"/>
                  </a:lnTo>
                  <a:lnTo>
                    <a:pt x="460" y="164"/>
                  </a:lnTo>
                  <a:lnTo>
                    <a:pt x="465" y="164"/>
                  </a:lnTo>
                  <a:lnTo>
                    <a:pt x="477" y="153"/>
                  </a:lnTo>
                  <a:lnTo>
                    <a:pt x="482" y="147"/>
                  </a:lnTo>
                  <a:lnTo>
                    <a:pt x="482" y="141"/>
                  </a:lnTo>
                  <a:lnTo>
                    <a:pt x="494" y="136"/>
                  </a:lnTo>
                  <a:lnTo>
                    <a:pt x="499" y="130"/>
                  </a:lnTo>
                  <a:lnTo>
                    <a:pt x="505" y="130"/>
                  </a:lnTo>
                  <a:lnTo>
                    <a:pt x="505" y="124"/>
                  </a:lnTo>
                  <a:lnTo>
                    <a:pt x="511" y="124"/>
                  </a:lnTo>
                  <a:lnTo>
                    <a:pt x="516" y="119"/>
                  </a:lnTo>
                  <a:lnTo>
                    <a:pt x="522" y="119"/>
                  </a:lnTo>
                  <a:lnTo>
                    <a:pt x="528" y="119"/>
                  </a:lnTo>
                  <a:lnTo>
                    <a:pt x="533" y="119"/>
                  </a:lnTo>
                  <a:lnTo>
                    <a:pt x="539" y="124"/>
                  </a:lnTo>
                  <a:lnTo>
                    <a:pt x="545" y="130"/>
                  </a:lnTo>
                  <a:lnTo>
                    <a:pt x="550" y="130"/>
                  </a:lnTo>
                  <a:lnTo>
                    <a:pt x="556" y="136"/>
                  </a:lnTo>
                  <a:lnTo>
                    <a:pt x="562" y="141"/>
                  </a:lnTo>
                  <a:lnTo>
                    <a:pt x="567" y="141"/>
                  </a:lnTo>
                  <a:lnTo>
                    <a:pt x="573" y="147"/>
                  </a:lnTo>
                  <a:lnTo>
                    <a:pt x="579" y="147"/>
                  </a:lnTo>
                  <a:lnTo>
                    <a:pt x="584" y="153"/>
                  </a:lnTo>
                  <a:lnTo>
                    <a:pt x="590" y="158"/>
                  </a:lnTo>
                  <a:lnTo>
                    <a:pt x="596" y="158"/>
                  </a:lnTo>
                  <a:lnTo>
                    <a:pt x="601" y="158"/>
                  </a:lnTo>
                  <a:lnTo>
                    <a:pt x="607" y="158"/>
                  </a:lnTo>
                  <a:lnTo>
                    <a:pt x="618" y="158"/>
                  </a:lnTo>
                  <a:lnTo>
                    <a:pt x="635" y="164"/>
                  </a:lnTo>
                  <a:lnTo>
                    <a:pt x="647" y="164"/>
                  </a:lnTo>
                  <a:lnTo>
                    <a:pt x="647" y="158"/>
                  </a:lnTo>
                  <a:lnTo>
                    <a:pt x="652" y="158"/>
                  </a:lnTo>
                  <a:lnTo>
                    <a:pt x="658" y="158"/>
                  </a:lnTo>
                  <a:lnTo>
                    <a:pt x="658" y="153"/>
                  </a:lnTo>
                  <a:lnTo>
                    <a:pt x="664" y="153"/>
                  </a:lnTo>
                  <a:lnTo>
                    <a:pt x="664" y="147"/>
                  </a:lnTo>
                  <a:lnTo>
                    <a:pt x="664" y="130"/>
                  </a:lnTo>
                  <a:lnTo>
                    <a:pt x="669" y="130"/>
                  </a:lnTo>
                  <a:lnTo>
                    <a:pt x="669" y="124"/>
                  </a:lnTo>
                  <a:lnTo>
                    <a:pt x="669" y="119"/>
                  </a:lnTo>
                  <a:lnTo>
                    <a:pt x="669" y="113"/>
                  </a:lnTo>
                  <a:lnTo>
                    <a:pt x="669" y="107"/>
                  </a:lnTo>
                  <a:lnTo>
                    <a:pt x="669" y="102"/>
                  </a:lnTo>
                  <a:lnTo>
                    <a:pt x="675" y="102"/>
                  </a:lnTo>
                  <a:lnTo>
                    <a:pt x="675" y="96"/>
                  </a:lnTo>
                  <a:lnTo>
                    <a:pt x="675" y="90"/>
                  </a:lnTo>
                  <a:lnTo>
                    <a:pt x="681" y="85"/>
                  </a:lnTo>
                  <a:lnTo>
                    <a:pt x="681" y="79"/>
                  </a:lnTo>
                  <a:lnTo>
                    <a:pt x="686" y="68"/>
                  </a:lnTo>
                  <a:lnTo>
                    <a:pt x="692" y="51"/>
                  </a:lnTo>
                  <a:lnTo>
                    <a:pt x="698" y="39"/>
                  </a:lnTo>
                  <a:lnTo>
                    <a:pt x="698" y="34"/>
                  </a:lnTo>
                  <a:lnTo>
                    <a:pt x="698" y="22"/>
                  </a:lnTo>
                  <a:lnTo>
                    <a:pt x="703" y="17"/>
                  </a:lnTo>
                  <a:lnTo>
                    <a:pt x="709" y="17"/>
                  </a:lnTo>
                  <a:lnTo>
                    <a:pt x="709" y="11"/>
                  </a:lnTo>
                  <a:lnTo>
                    <a:pt x="715" y="11"/>
                  </a:lnTo>
                  <a:lnTo>
                    <a:pt x="720" y="11"/>
                  </a:lnTo>
                  <a:lnTo>
                    <a:pt x="726" y="11"/>
                  </a:lnTo>
                  <a:lnTo>
                    <a:pt x="743" y="11"/>
                  </a:lnTo>
                  <a:lnTo>
                    <a:pt x="754" y="11"/>
                  </a:lnTo>
                  <a:lnTo>
                    <a:pt x="760" y="11"/>
                  </a:lnTo>
                  <a:lnTo>
                    <a:pt x="766" y="11"/>
                  </a:lnTo>
                  <a:lnTo>
                    <a:pt x="766" y="5"/>
                  </a:lnTo>
                  <a:lnTo>
                    <a:pt x="771" y="5"/>
                  </a:lnTo>
                  <a:lnTo>
                    <a:pt x="777" y="5"/>
                  </a:lnTo>
                  <a:lnTo>
                    <a:pt x="783" y="5"/>
                  </a:lnTo>
                  <a:lnTo>
                    <a:pt x="788" y="0"/>
                  </a:lnTo>
                  <a:lnTo>
                    <a:pt x="800" y="0"/>
                  </a:lnTo>
                  <a:lnTo>
                    <a:pt x="817" y="0"/>
                  </a:lnTo>
                  <a:lnTo>
                    <a:pt x="822" y="0"/>
                  </a:lnTo>
                  <a:lnTo>
                    <a:pt x="822" y="5"/>
                  </a:lnTo>
                  <a:lnTo>
                    <a:pt x="817" y="5"/>
                  </a:lnTo>
                  <a:lnTo>
                    <a:pt x="817" y="17"/>
                  </a:lnTo>
                  <a:lnTo>
                    <a:pt x="811" y="22"/>
                  </a:lnTo>
                  <a:lnTo>
                    <a:pt x="805" y="22"/>
                  </a:lnTo>
                  <a:lnTo>
                    <a:pt x="805" y="28"/>
                  </a:lnTo>
                  <a:lnTo>
                    <a:pt x="800" y="28"/>
                  </a:lnTo>
                  <a:lnTo>
                    <a:pt x="800" y="34"/>
                  </a:lnTo>
                  <a:lnTo>
                    <a:pt x="794" y="39"/>
                  </a:lnTo>
                  <a:lnTo>
                    <a:pt x="794" y="45"/>
                  </a:lnTo>
                  <a:lnTo>
                    <a:pt x="788" y="56"/>
                  </a:lnTo>
                  <a:lnTo>
                    <a:pt x="788" y="62"/>
                  </a:lnTo>
                  <a:lnTo>
                    <a:pt x="788" y="68"/>
                  </a:lnTo>
                  <a:lnTo>
                    <a:pt x="788" y="73"/>
                  </a:lnTo>
                  <a:lnTo>
                    <a:pt x="783" y="73"/>
                  </a:lnTo>
                  <a:lnTo>
                    <a:pt x="783" y="79"/>
                  </a:lnTo>
                  <a:lnTo>
                    <a:pt x="777" y="85"/>
                  </a:lnTo>
                  <a:lnTo>
                    <a:pt x="771" y="85"/>
                  </a:lnTo>
                  <a:lnTo>
                    <a:pt x="766" y="90"/>
                  </a:lnTo>
                  <a:lnTo>
                    <a:pt x="766" y="102"/>
                  </a:lnTo>
                  <a:lnTo>
                    <a:pt x="766" y="107"/>
                  </a:lnTo>
                  <a:lnTo>
                    <a:pt x="766" y="113"/>
                  </a:lnTo>
                  <a:lnTo>
                    <a:pt x="766" y="119"/>
                  </a:lnTo>
                  <a:lnTo>
                    <a:pt x="766" y="124"/>
                  </a:lnTo>
                  <a:lnTo>
                    <a:pt x="766" y="130"/>
                  </a:lnTo>
                  <a:lnTo>
                    <a:pt x="771" y="130"/>
                  </a:lnTo>
                  <a:lnTo>
                    <a:pt x="771" y="136"/>
                  </a:lnTo>
                  <a:lnTo>
                    <a:pt x="771" y="141"/>
                  </a:lnTo>
                  <a:lnTo>
                    <a:pt x="771" y="147"/>
                  </a:lnTo>
                  <a:lnTo>
                    <a:pt x="771" y="153"/>
                  </a:lnTo>
                  <a:lnTo>
                    <a:pt x="766" y="153"/>
                  </a:lnTo>
                  <a:lnTo>
                    <a:pt x="766" y="158"/>
                  </a:lnTo>
                  <a:lnTo>
                    <a:pt x="760" y="164"/>
                  </a:lnTo>
                  <a:lnTo>
                    <a:pt x="760" y="170"/>
                  </a:lnTo>
                  <a:lnTo>
                    <a:pt x="760" y="175"/>
                  </a:lnTo>
                  <a:lnTo>
                    <a:pt x="760" y="181"/>
                  </a:lnTo>
                  <a:lnTo>
                    <a:pt x="760" y="187"/>
                  </a:lnTo>
                  <a:lnTo>
                    <a:pt x="754" y="193"/>
                  </a:lnTo>
                  <a:lnTo>
                    <a:pt x="754" y="198"/>
                  </a:lnTo>
                  <a:lnTo>
                    <a:pt x="760" y="204"/>
                  </a:lnTo>
                  <a:lnTo>
                    <a:pt x="760" y="210"/>
                  </a:lnTo>
                  <a:lnTo>
                    <a:pt x="754" y="215"/>
                  </a:lnTo>
                  <a:lnTo>
                    <a:pt x="754" y="221"/>
                  </a:lnTo>
                  <a:lnTo>
                    <a:pt x="749" y="227"/>
                  </a:lnTo>
                  <a:lnTo>
                    <a:pt x="743" y="232"/>
                  </a:lnTo>
                  <a:lnTo>
                    <a:pt x="743" y="238"/>
                  </a:lnTo>
                  <a:lnTo>
                    <a:pt x="743" y="244"/>
                  </a:lnTo>
                  <a:lnTo>
                    <a:pt x="743" y="249"/>
                  </a:lnTo>
                  <a:lnTo>
                    <a:pt x="737" y="255"/>
                  </a:lnTo>
                  <a:lnTo>
                    <a:pt x="732" y="261"/>
                  </a:lnTo>
                  <a:lnTo>
                    <a:pt x="726" y="266"/>
                  </a:lnTo>
                  <a:lnTo>
                    <a:pt x="726" y="272"/>
                  </a:lnTo>
                  <a:lnTo>
                    <a:pt x="720" y="272"/>
                  </a:lnTo>
                  <a:lnTo>
                    <a:pt x="715" y="278"/>
                  </a:lnTo>
                  <a:lnTo>
                    <a:pt x="709" y="278"/>
                  </a:lnTo>
                  <a:lnTo>
                    <a:pt x="703" y="278"/>
                  </a:lnTo>
                  <a:lnTo>
                    <a:pt x="698" y="278"/>
                  </a:lnTo>
                  <a:lnTo>
                    <a:pt x="692" y="278"/>
                  </a:lnTo>
                  <a:lnTo>
                    <a:pt x="692" y="283"/>
                  </a:lnTo>
                  <a:lnTo>
                    <a:pt x="686" y="283"/>
                  </a:lnTo>
                  <a:lnTo>
                    <a:pt x="681" y="289"/>
                  </a:lnTo>
                  <a:lnTo>
                    <a:pt x="681" y="295"/>
                  </a:lnTo>
                  <a:lnTo>
                    <a:pt x="675" y="300"/>
                  </a:lnTo>
                  <a:lnTo>
                    <a:pt x="669" y="312"/>
                  </a:lnTo>
                  <a:lnTo>
                    <a:pt x="664" y="312"/>
                  </a:lnTo>
                  <a:lnTo>
                    <a:pt x="664" y="317"/>
                  </a:lnTo>
                  <a:lnTo>
                    <a:pt x="669" y="323"/>
                  </a:lnTo>
                  <a:lnTo>
                    <a:pt x="675" y="329"/>
                  </a:lnTo>
                  <a:lnTo>
                    <a:pt x="675" y="334"/>
                  </a:lnTo>
                  <a:lnTo>
                    <a:pt x="675" y="340"/>
                  </a:lnTo>
                  <a:lnTo>
                    <a:pt x="669" y="346"/>
                  </a:lnTo>
                  <a:lnTo>
                    <a:pt x="669" y="351"/>
                  </a:lnTo>
                  <a:lnTo>
                    <a:pt x="664" y="351"/>
                  </a:lnTo>
                  <a:lnTo>
                    <a:pt x="658" y="357"/>
                  </a:lnTo>
                  <a:lnTo>
                    <a:pt x="658" y="363"/>
                  </a:lnTo>
                  <a:lnTo>
                    <a:pt x="658" y="368"/>
                  </a:lnTo>
                  <a:lnTo>
                    <a:pt x="664" y="374"/>
                  </a:lnTo>
                  <a:lnTo>
                    <a:pt x="669" y="380"/>
                  </a:lnTo>
                  <a:lnTo>
                    <a:pt x="675" y="380"/>
                  </a:lnTo>
                  <a:lnTo>
                    <a:pt x="675" y="385"/>
                  </a:lnTo>
                  <a:lnTo>
                    <a:pt x="681" y="385"/>
                  </a:lnTo>
                  <a:lnTo>
                    <a:pt x="681" y="391"/>
                  </a:lnTo>
                  <a:lnTo>
                    <a:pt x="681" y="397"/>
                  </a:lnTo>
                  <a:lnTo>
                    <a:pt x="681" y="402"/>
                  </a:lnTo>
                  <a:lnTo>
                    <a:pt x="675" y="402"/>
                  </a:lnTo>
                  <a:lnTo>
                    <a:pt x="669" y="408"/>
                  </a:lnTo>
                  <a:lnTo>
                    <a:pt x="669" y="414"/>
                  </a:lnTo>
                  <a:lnTo>
                    <a:pt x="669" y="419"/>
                  </a:lnTo>
                  <a:lnTo>
                    <a:pt x="669" y="425"/>
                  </a:lnTo>
                  <a:lnTo>
                    <a:pt x="669" y="431"/>
                  </a:lnTo>
                  <a:lnTo>
                    <a:pt x="669" y="436"/>
                  </a:lnTo>
                  <a:lnTo>
                    <a:pt x="664" y="442"/>
                  </a:lnTo>
                  <a:lnTo>
                    <a:pt x="664" y="448"/>
                  </a:lnTo>
                  <a:lnTo>
                    <a:pt x="664" y="453"/>
                  </a:lnTo>
                  <a:lnTo>
                    <a:pt x="664" y="459"/>
                  </a:lnTo>
                  <a:lnTo>
                    <a:pt x="664" y="465"/>
                  </a:lnTo>
                  <a:lnTo>
                    <a:pt x="664" y="470"/>
                  </a:lnTo>
                  <a:lnTo>
                    <a:pt x="664" y="476"/>
                  </a:lnTo>
                  <a:lnTo>
                    <a:pt x="658" y="476"/>
                  </a:lnTo>
                  <a:lnTo>
                    <a:pt x="658" y="482"/>
                  </a:lnTo>
                  <a:lnTo>
                    <a:pt x="652" y="482"/>
                  </a:lnTo>
                  <a:lnTo>
                    <a:pt x="647" y="482"/>
                  </a:lnTo>
                  <a:lnTo>
                    <a:pt x="647" y="487"/>
                  </a:lnTo>
                  <a:lnTo>
                    <a:pt x="641" y="487"/>
                  </a:lnTo>
                  <a:lnTo>
                    <a:pt x="635" y="487"/>
                  </a:lnTo>
                  <a:lnTo>
                    <a:pt x="630" y="487"/>
                  </a:lnTo>
                  <a:lnTo>
                    <a:pt x="630" y="493"/>
                  </a:lnTo>
                  <a:lnTo>
                    <a:pt x="624" y="493"/>
                  </a:lnTo>
                  <a:lnTo>
                    <a:pt x="618" y="493"/>
                  </a:lnTo>
                  <a:lnTo>
                    <a:pt x="613" y="493"/>
                  </a:lnTo>
                  <a:lnTo>
                    <a:pt x="601" y="493"/>
                  </a:lnTo>
                  <a:lnTo>
                    <a:pt x="596" y="493"/>
                  </a:lnTo>
                  <a:lnTo>
                    <a:pt x="596" y="499"/>
                  </a:lnTo>
                  <a:lnTo>
                    <a:pt x="584" y="499"/>
                  </a:lnTo>
                  <a:lnTo>
                    <a:pt x="579" y="504"/>
                  </a:lnTo>
                  <a:lnTo>
                    <a:pt x="573" y="510"/>
                  </a:lnTo>
                  <a:lnTo>
                    <a:pt x="567" y="510"/>
                  </a:lnTo>
                  <a:lnTo>
                    <a:pt x="562" y="516"/>
                  </a:lnTo>
                  <a:lnTo>
                    <a:pt x="556" y="516"/>
                  </a:lnTo>
                  <a:lnTo>
                    <a:pt x="556" y="521"/>
                  </a:lnTo>
                  <a:lnTo>
                    <a:pt x="550" y="527"/>
                  </a:lnTo>
                  <a:lnTo>
                    <a:pt x="545" y="527"/>
                  </a:lnTo>
                  <a:lnTo>
                    <a:pt x="533" y="533"/>
                  </a:lnTo>
                  <a:lnTo>
                    <a:pt x="528" y="538"/>
                  </a:lnTo>
                  <a:lnTo>
                    <a:pt x="528" y="544"/>
                  </a:lnTo>
                  <a:lnTo>
                    <a:pt x="528" y="550"/>
                  </a:lnTo>
                  <a:lnTo>
                    <a:pt x="539" y="550"/>
                  </a:lnTo>
                  <a:lnTo>
                    <a:pt x="545" y="550"/>
                  </a:lnTo>
                  <a:lnTo>
                    <a:pt x="545" y="555"/>
                  </a:lnTo>
                  <a:lnTo>
                    <a:pt x="545" y="561"/>
                  </a:lnTo>
                  <a:lnTo>
                    <a:pt x="545" y="567"/>
                  </a:lnTo>
                  <a:lnTo>
                    <a:pt x="545" y="572"/>
                  </a:lnTo>
                  <a:lnTo>
                    <a:pt x="545" y="578"/>
                  </a:lnTo>
                  <a:lnTo>
                    <a:pt x="545" y="584"/>
                  </a:lnTo>
                  <a:lnTo>
                    <a:pt x="545" y="589"/>
                  </a:lnTo>
                  <a:lnTo>
                    <a:pt x="545" y="595"/>
                  </a:lnTo>
                  <a:lnTo>
                    <a:pt x="539" y="595"/>
                  </a:lnTo>
                  <a:lnTo>
                    <a:pt x="539" y="601"/>
                  </a:lnTo>
                  <a:lnTo>
                    <a:pt x="539" y="606"/>
                  </a:lnTo>
                  <a:lnTo>
                    <a:pt x="539" y="612"/>
                  </a:lnTo>
                  <a:lnTo>
                    <a:pt x="533" y="618"/>
                  </a:lnTo>
                  <a:lnTo>
                    <a:pt x="533" y="623"/>
                  </a:lnTo>
                  <a:lnTo>
                    <a:pt x="539" y="623"/>
                  </a:lnTo>
                  <a:lnTo>
                    <a:pt x="539" y="629"/>
                  </a:lnTo>
                  <a:lnTo>
                    <a:pt x="539" y="635"/>
                  </a:lnTo>
                  <a:lnTo>
                    <a:pt x="539" y="640"/>
                  </a:lnTo>
                  <a:lnTo>
                    <a:pt x="539" y="646"/>
                  </a:lnTo>
                  <a:lnTo>
                    <a:pt x="539" y="652"/>
                  </a:lnTo>
                  <a:lnTo>
                    <a:pt x="533" y="652"/>
                  </a:lnTo>
                  <a:lnTo>
                    <a:pt x="533" y="657"/>
                  </a:lnTo>
                  <a:lnTo>
                    <a:pt x="533" y="663"/>
                  </a:lnTo>
                  <a:lnTo>
                    <a:pt x="533" y="669"/>
                  </a:lnTo>
                  <a:lnTo>
                    <a:pt x="528" y="674"/>
                  </a:lnTo>
                  <a:lnTo>
                    <a:pt x="528" y="680"/>
                  </a:lnTo>
                  <a:lnTo>
                    <a:pt x="522" y="686"/>
                  </a:lnTo>
                  <a:lnTo>
                    <a:pt x="522" y="691"/>
                  </a:lnTo>
                  <a:lnTo>
                    <a:pt x="516" y="697"/>
                  </a:lnTo>
                  <a:lnTo>
                    <a:pt x="511" y="703"/>
                  </a:lnTo>
                  <a:lnTo>
                    <a:pt x="505" y="703"/>
                  </a:lnTo>
                  <a:lnTo>
                    <a:pt x="505" y="708"/>
                  </a:lnTo>
                  <a:lnTo>
                    <a:pt x="505" y="714"/>
                  </a:lnTo>
                  <a:lnTo>
                    <a:pt x="511" y="714"/>
                  </a:lnTo>
                  <a:lnTo>
                    <a:pt x="505" y="720"/>
                  </a:lnTo>
                  <a:lnTo>
                    <a:pt x="505" y="725"/>
                  </a:lnTo>
                  <a:lnTo>
                    <a:pt x="505" y="731"/>
                  </a:lnTo>
                  <a:lnTo>
                    <a:pt x="505" y="737"/>
                  </a:lnTo>
                  <a:lnTo>
                    <a:pt x="511" y="742"/>
                  </a:lnTo>
                  <a:lnTo>
                    <a:pt x="511" y="748"/>
                  </a:lnTo>
                  <a:lnTo>
                    <a:pt x="511" y="759"/>
                  </a:lnTo>
                  <a:lnTo>
                    <a:pt x="505" y="759"/>
                  </a:lnTo>
                  <a:lnTo>
                    <a:pt x="499" y="765"/>
                  </a:lnTo>
                  <a:lnTo>
                    <a:pt x="494" y="765"/>
                  </a:lnTo>
                  <a:lnTo>
                    <a:pt x="494" y="759"/>
                  </a:lnTo>
                  <a:lnTo>
                    <a:pt x="488" y="759"/>
                  </a:lnTo>
                  <a:lnTo>
                    <a:pt x="488" y="765"/>
                  </a:lnTo>
                  <a:lnTo>
                    <a:pt x="482" y="765"/>
                  </a:lnTo>
                  <a:lnTo>
                    <a:pt x="477" y="771"/>
                  </a:lnTo>
                  <a:lnTo>
                    <a:pt x="477" y="776"/>
                  </a:lnTo>
                  <a:lnTo>
                    <a:pt x="477" y="782"/>
                  </a:lnTo>
                  <a:lnTo>
                    <a:pt x="477" y="788"/>
                  </a:lnTo>
                  <a:lnTo>
                    <a:pt x="471" y="793"/>
                  </a:lnTo>
                  <a:lnTo>
                    <a:pt x="465" y="799"/>
                  </a:lnTo>
                  <a:lnTo>
                    <a:pt x="465" y="805"/>
                  </a:lnTo>
                  <a:lnTo>
                    <a:pt x="460" y="805"/>
                  </a:lnTo>
                  <a:lnTo>
                    <a:pt x="454" y="805"/>
                  </a:lnTo>
                  <a:lnTo>
                    <a:pt x="448" y="810"/>
                  </a:lnTo>
                  <a:lnTo>
                    <a:pt x="437" y="816"/>
                  </a:lnTo>
                  <a:lnTo>
                    <a:pt x="431" y="822"/>
                  </a:lnTo>
                  <a:lnTo>
                    <a:pt x="426" y="822"/>
                  </a:lnTo>
                  <a:lnTo>
                    <a:pt x="426" y="816"/>
                  </a:lnTo>
                  <a:lnTo>
                    <a:pt x="420" y="816"/>
                  </a:lnTo>
                  <a:lnTo>
                    <a:pt x="414" y="816"/>
                  </a:lnTo>
                  <a:lnTo>
                    <a:pt x="409" y="810"/>
                  </a:lnTo>
                  <a:lnTo>
                    <a:pt x="397" y="810"/>
                  </a:lnTo>
                  <a:lnTo>
                    <a:pt x="392" y="810"/>
                  </a:lnTo>
                  <a:lnTo>
                    <a:pt x="392" y="816"/>
                  </a:lnTo>
                  <a:lnTo>
                    <a:pt x="392" y="822"/>
                  </a:lnTo>
                  <a:lnTo>
                    <a:pt x="386" y="827"/>
                  </a:lnTo>
                  <a:lnTo>
                    <a:pt x="380" y="833"/>
                  </a:lnTo>
                  <a:lnTo>
                    <a:pt x="380" y="839"/>
                  </a:lnTo>
                  <a:lnTo>
                    <a:pt x="380" y="844"/>
                  </a:lnTo>
                  <a:lnTo>
                    <a:pt x="380" y="850"/>
                  </a:lnTo>
                  <a:lnTo>
                    <a:pt x="374" y="856"/>
                  </a:lnTo>
                  <a:lnTo>
                    <a:pt x="369" y="861"/>
                  </a:lnTo>
                  <a:lnTo>
                    <a:pt x="363" y="861"/>
                  </a:lnTo>
                  <a:lnTo>
                    <a:pt x="357" y="861"/>
                  </a:lnTo>
                  <a:lnTo>
                    <a:pt x="352" y="861"/>
                  </a:lnTo>
                  <a:lnTo>
                    <a:pt x="352" y="867"/>
                  </a:lnTo>
                  <a:lnTo>
                    <a:pt x="346" y="867"/>
                  </a:lnTo>
                  <a:lnTo>
                    <a:pt x="335" y="867"/>
                  </a:lnTo>
                  <a:lnTo>
                    <a:pt x="329" y="867"/>
                  </a:lnTo>
                  <a:lnTo>
                    <a:pt x="323" y="873"/>
                  </a:lnTo>
                  <a:lnTo>
                    <a:pt x="318" y="873"/>
                  </a:lnTo>
                  <a:lnTo>
                    <a:pt x="312" y="873"/>
                  </a:lnTo>
                  <a:lnTo>
                    <a:pt x="312" y="878"/>
                  </a:lnTo>
                  <a:lnTo>
                    <a:pt x="306" y="878"/>
                  </a:lnTo>
                  <a:lnTo>
                    <a:pt x="306" y="890"/>
                  </a:lnTo>
                  <a:lnTo>
                    <a:pt x="306" y="895"/>
                  </a:lnTo>
                  <a:lnTo>
                    <a:pt x="306" y="901"/>
                  </a:lnTo>
                  <a:lnTo>
                    <a:pt x="306" y="907"/>
                  </a:lnTo>
                  <a:lnTo>
                    <a:pt x="306" y="912"/>
                  </a:lnTo>
                  <a:lnTo>
                    <a:pt x="312" y="918"/>
                  </a:lnTo>
                  <a:lnTo>
                    <a:pt x="312" y="929"/>
                  </a:lnTo>
                  <a:lnTo>
                    <a:pt x="318" y="952"/>
                  </a:lnTo>
                  <a:lnTo>
                    <a:pt x="318" y="963"/>
                  </a:lnTo>
                  <a:lnTo>
                    <a:pt x="318" y="969"/>
                  </a:lnTo>
                  <a:lnTo>
                    <a:pt x="312" y="975"/>
                  </a:lnTo>
                  <a:lnTo>
                    <a:pt x="306" y="980"/>
                  </a:lnTo>
                  <a:lnTo>
                    <a:pt x="306" y="986"/>
                  </a:lnTo>
                  <a:lnTo>
                    <a:pt x="301" y="986"/>
                  </a:lnTo>
                  <a:lnTo>
                    <a:pt x="301" y="992"/>
                  </a:lnTo>
                  <a:lnTo>
                    <a:pt x="301" y="997"/>
                  </a:lnTo>
                  <a:lnTo>
                    <a:pt x="295" y="997"/>
                  </a:lnTo>
                  <a:lnTo>
                    <a:pt x="301" y="1003"/>
                  </a:lnTo>
                  <a:lnTo>
                    <a:pt x="301" y="1009"/>
                  </a:lnTo>
                  <a:lnTo>
                    <a:pt x="301" y="1014"/>
                  </a:lnTo>
                  <a:lnTo>
                    <a:pt x="301" y="1020"/>
                  </a:lnTo>
                  <a:lnTo>
                    <a:pt x="301" y="1026"/>
                  </a:lnTo>
                  <a:lnTo>
                    <a:pt x="301" y="1031"/>
                  </a:lnTo>
                  <a:lnTo>
                    <a:pt x="301" y="1037"/>
                  </a:lnTo>
                  <a:lnTo>
                    <a:pt x="301" y="1043"/>
                  </a:lnTo>
                  <a:lnTo>
                    <a:pt x="295" y="1048"/>
                  </a:lnTo>
                  <a:lnTo>
                    <a:pt x="295" y="1054"/>
                  </a:lnTo>
                  <a:lnTo>
                    <a:pt x="289" y="1054"/>
                  </a:lnTo>
                  <a:lnTo>
                    <a:pt x="289" y="1060"/>
                  </a:lnTo>
                  <a:lnTo>
                    <a:pt x="284" y="1060"/>
                  </a:lnTo>
                  <a:lnTo>
                    <a:pt x="284" y="1065"/>
                  </a:lnTo>
                  <a:lnTo>
                    <a:pt x="278" y="1071"/>
                  </a:lnTo>
                  <a:lnTo>
                    <a:pt x="272" y="1077"/>
                  </a:lnTo>
                  <a:lnTo>
                    <a:pt x="267" y="1082"/>
                  </a:lnTo>
                  <a:lnTo>
                    <a:pt x="261" y="1088"/>
                  </a:lnTo>
                  <a:lnTo>
                    <a:pt x="255" y="1094"/>
                  </a:lnTo>
                  <a:lnTo>
                    <a:pt x="255" y="1099"/>
                  </a:lnTo>
                  <a:lnTo>
                    <a:pt x="250" y="1105"/>
                  </a:lnTo>
                  <a:lnTo>
                    <a:pt x="250" y="1111"/>
                  </a:lnTo>
                  <a:lnTo>
                    <a:pt x="244" y="1111"/>
                  </a:lnTo>
                  <a:lnTo>
                    <a:pt x="244" y="1117"/>
                  </a:lnTo>
                  <a:lnTo>
                    <a:pt x="244" y="1122"/>
                  </a:lnTo>
                  <a:lnTo>
                    <a:pt x="238" y="1122"/>
                  </a:lnTo>
                  <a:lnTo>
                    <a:pt x="238" y="1128"/>
                  </a:lnTo>
                  <a:lnTo>
                    <a:pt x="238" y="1134"/>
                  </a:lnTo>
                  <a:lnTo>
                    <a:pt x="238" y="1139"/>
                  </a:lnTo>
                  <a:lnTo>
                    <a:pt x="238" y="1145"/>
                  </a:lnTo>
                  <a:lnTo>
                    <a:pt x="238" y="1151"/>
                  </a:lnTo>
                  <a:lnTo>
                    <a:pt x="233" y="1151"/>
                  </a:lnTo>
                  <a:lnTo>
                    <a:pt x="233" y="1156"/>
                  </a:lnTo>
                  <a:lnTo>
                    <a:pt x="233" y="1162"/>
                  </a:lnTo>
                  <a:lnTo>
                    <a:pt x="233" y="1173"/>
                  </a:lnTo>
                  <a:lnTo>
                    <a:pt x="233" y="1185"/>
                  </a:lnTo>
                  <a:lnTo>
                    <a:pt x="233" y="1190"/>
                  </a:lnTo>
                  <a:lnTo>
                    <a:pt x="238" y="1196"/>
                  </a:lnTo>
                  <a:lnTo>
                    <a:pt x="238" y="1202"/>
                  </a:lnTo>
                  <a:lnTo>
                    <a:pt x="227" y="1207"/>
                  </a:lnTo>
                  <a:lnTo>
                    <a:pt x="221" y="1207"/>
                  </a:lnTo>
                  <a:lnTo>
                    <a:pt x="216" y="1213"/>
                  </a:lnTo>
                  <a:lnTo>
                    <a:pt x="210" y="1213"/>
                  </a:lnTo>
                  <a:lnTo>
                    <a:pt x="204" y="1213"/>
                  </a:lnTo>
                  <a:lnTo>
                    <a:pt x="204" y="1219"/>
                  </a:lnTo>
                  <a:lnTo>
                    <a:pt x="199" y="1224"/>
                  </a:lnTo>
                  <a:lnTo>
                    <a:pt x="193" y="1236"/>
                  </a:lnTo>
                  <a:lnTo>
                    <a:pt x="187" y="1236"/>
                  </a:lnTo>
                  <a:close/>
                </a:path>
              </a:pathLst>
            </a:custGeom>
            <a:solidFill>
              <a:schemeClr val="bg1">
                <a:lumMod val="95000"/>
              </a:schemeClr>
            </a:solidFill>
            <a:ln w="25400">
              <a:solidFill>
                <a:srgbClr val="B4B4B4"/>
              </a:solidFill>
              <a:round/>
              <a:headEnd/>
              <a:tailEnd/>
            </a:ln>
          </p:spPr>
          <p:txBody>
            <a:bodyPr lIns="93296" tIns="46648" rIns="93296" bIns="46648"/>
            <a:lstStyle/>
            <a:p>
              <a:pPr>
                <a:defRPr/>
              </a:pPr>
              <a:endParaRPr lang="en-US" sz="1000" kern="0">
                <a:solidFill>
                  <a:prstClr val="black">
                    <a:lumMod val="65000"/>
                    <a:lumOff val="35000"/>
                  </a:prstClr>
                </a:solidFill>
              </a:endParaRPr>
            </a:p>
          </p:txBody>
        </p:sp>
        <p:sp>
          <p:nvSpPr>
            <p:cNvPr id="5" name="Freeform 3"/>
            <p:cNvSpPr>
              <a:spLocks/>
            </p:cNvSpPr>
            <p:nvPr/>
          </p:nvSpPr>
          <p:spPr bwMode="gray">
            <a:xfrm>
              <a:off x="3214079" y="1309049"/>
              <a:ext cx="1542226" cy="1453941"/>
            </a:xfrm>
            <a:custGeom>
              <a:avLst/>
              <a:gdLst>
                <a:gd name="T0" fmla="*/ 2147483647 w 1099"/>
                <a:gd name="T1" fmla="*/ 2147483647 h 1089"/>
                <a:gd name="T2" fmla="*/ 2147483647 w 1099"/>
                <a:gd name="T3" fmla="*/ 2147483647 h 1089"/>
                <a:gd name="T4" fmla="*/ 2147483647 w 1099"/>
                <a:gd name="T5" fmla="*/ 2147483647 h 1089"/>
                <a:gd name="T6" fmla="*/ 2147483647 w 1099"/>
                <a:gd name="T7" fmla="*/ 2147483647 h 1089"/>
                <a:gd name="T8" fmla="*/ 2147483647 w 1099"/>
                <a:gd name="T9" fmla="*/ 2147483647 h 1089"/>
                <a:gd name="T10" fmla="*/ 2147483647 w 1099"/>
                <a:gd name="T11" fmla="*/ 2147483647 h 1089"/>
                <a:gd name="T12" fmla="*/ 2147483647 w 1099"/>
                <a:gd name="T13" fmla="*/ 2147483647 h 1089"/>
                <a:gd name="T14" fmla="*/ 2147483647 w 1099"/>
                <a:gd name="T15" fmla="*/ 2147483647 h 1089"/>
                <a:gd name="T16" fmla="*/ 2147483647 w 1099"/>
                <a:gd name="T17" fmla="*/ 2147483647 h 1089"/>
                <a:gd name="T18" fmla="*/ 2147483647 w 1099"/>
                <a:gd name="T19" fmla="*/ 2147483647 h 1089"/>
                <a:gd name="T20" fmla="*/ 2147483647 w 1099"/>
                <a:gd name="T21" fmla="*/ 2147483647 h 1089"/>
                <a:gd name="T22" fmla="*/ 2147483647 w 1099"/>
                <a:gd name="T23" fmla="*/ 2147483647 h 1089"/>
                <a:gd name="T24" fmla="*/ 2147483647 w 1099"/>
                <a:gd name="T25" fmla="*/ 2147483647 h 1089"/>
                <a:gd name="T26" fmla="*/ 2147483647 w 1099"/>
                <a:gd name="T27" fmla="*/ 2147483647 h 1089"/>
                <a:gd name="T28" fmla="*/ 2147483647 w 1099"/>
                <a:gd name="T29" fmla="*/ 2147483647 h 1089"/>
                <a:gd name="T30" fmla="*/ 2147483647 w 1099"/>
                <a:gd name="T31" fmla="*/ 2147483647 h 1089"/>
                <a:gd name="T32" fmla="*/ 2147483647 w 1099"/>
                <a:gd name="T33" fmla="*/ 2147483647 h 1089"/>
                <a:gd name="T34" fmla="*/ 2147483647 w 1099"/>
                <a:gd name="T35" fmla="*/ 2147483647 h 1089"/>
                <a:gd name="T36" fmla="*/ 2147483647 w 1099"/>
                <a:gd name="T37" fmla="*/ 2147483647 h 1089"/>
                <a:gd name="T38" fmla="*/ 2147483647 w 1099"/>
                <a:gd name="T39" fmla="*/ 2147483647 h 1089"/>
                <a:gd name="T40" fmla="*/ 2147483647 w 1099"/>
                <a:gd name="T41" fmla="*/ 2147483647 h 1089"/>
                <a:gd name="T42" fmla="*/ 2147483647 w 1099"/>
                <a:gd name="T43" fmla="*/ 2147483647 h 1089"/>
                <a:gd name="T44" fmla="*/ 2147483647 w 1099"/>
                <a:gd name="T45" fmla="*/ 2147483647 h 1089"/>
                <a:gd name="T46" fmla="*/ 2147483647 w 1099"/>
                <a:gd name="T47" fmla="*/ 2147483647 h 1089"/>
                <a:gd name="T48" fmla="*/ 2147483647 w 1099"/>
                <a:gd name="T49" fmla="*/ 2147483647 h 1089"/>
                <a:gd name="T50" fmla="*/ 2147483647 w 1099"/>
                <a:gd name="T51" fmla="*/ 2147483647 h 1089"/>
                <a:gd name="T52" fmla="*/ 2147483647 w 1099"/>
                <a:gd name="T53" fmla="*/ 2147483647 h 1089"/>
                <a:gd name="T54" fmla="*/ 2147483647 w 1099"/>
                <a:gd name="T55" fmla="*/ 2147483647 h 1089"/>
                <a:gd name="T56" fmla="*/ 2147483647 w 1099"/>
                <a:gd name="T57" fmla="*/ 2147483647 h 1089"/>
                <a:gd name="T58" fmla="*/ 2147483647 w 1099"/>
                <a:gd name="T59" fmla="*/ 2147483647 h 1089"/>
                <a:gd name="T60" fmla="*/ 2147483647 w 1099"/>
                <a:gd name="T61" fmla="*/ 2147483647 h 1089"/>
                <a:gd name="T62" fmla="*/ 2147483647 w 1099"/>
                <a:gd name="T63" fmla="*/ 2147483647 h 1089"/>
                <a:gd name="T64" fmla="*/ 2147483647 w 1099"/>
                <a:gd name="T65" fmla="*/ 2147483647 h 1089"/>
                <a:gd name="T66" fmla="*/ 2147483647 w 1099"/>
                <a:gd name="T67" fmla="*/ 2147483647 h 1089"/>
                <a:gd name="T68" fmla="*/ 2147483647 w 1099"/>
                <a:gd name="T69" fmla="*/ 2147483647 h 1089"/>
                <a:gd name="T70" fmla="*/ 2147483647 w 1099"/>
                <a:gd name="T71" fmla="*/ 2147483647 h 1089"/>
                <a:gd name="T72" fmla="*/ 2147483647 w 1099"/>
                <a:gd name="T73" fmla="*/ 2147483647 h 1089"/>
                <a:gd name="T74" fmla="*/ 2147483647 w 1099"/>
                <a:gd name="T75" fmla="*/ 2147483647 h 1089"/>
                <a:gd name="T76" fmla="*/ 2147483647 w 1099"/>
                <a:gd name="T77" fmla="*/ 2147483647 h 1089"/>
                <a:gd name="T78" fmla="*/ 2147483647 w 1099"/>
                <a:gd name="T79" fmla="*/ 2147483647 h 1089"/>
                <a:gd name="T80" fmla="*/ 2147483647 w 1099"/>
                <a:gd name="T81" fmla="*/ 2147483647 h 1089"/>
                <a:gd name="T82" fmla="*/ 2147483647 w 1099"/>
                <a:gd name="T83" fmla="*/ 2147483647 h 1089"/>
                <a:gd name="T84" fmla="*/ 2147483647 w 1099"/>
                <a:gd name="T85" fmla="*/ 2147483647 h 1089"/>
                <a:gd name="T86" fmla="*/ 2147483647 w 1099"/>
                <a:gd name="T87" fmla="*/ 2147483647 h 1089"/>
                <a:gd name="T88" fmla="*/ 2147483647 w 1099"/>
                <a:gd name="T89" fmla="*/ 2147483647 h 1089"/>
                <a:gd name="T90" fmla="*/ 2147483647 w 1099"/>
                <a:gd name="T91" fmla="*/ 2147483647 h 1089"/>
                <a:gd name="T92" fmla="*/ 2147483647 w 1099"/>
                <a:gd name="T93" fmla="*/ 2147483647 h 1089"/>
                <a:gd name="T94" fmla="*/ 2147483647 w 1099"/>
                <a:gd name="T95" fmla="*/ 2147483647 h 1089"/>
                <a:gd name="T96" fmla="*/ 2147483647 w 1099"/>
                <a:gd name="T97" fmla="*/ 2147483647 h 1089"/>
                <a:gd name="T98" fmla="*/ 2147483647 w 1099"/>
                <a:gd name="T99" fmla="*/ 2147483647 h 1089"/>
                <a:gd name="T100" fmla="*/ 2147483647 w 1099"/>
                <a:gd name="T101" fmla="*/ 2147483647 h 1089"/>
                <a:gd name="T102" fmla="*/ 2147483647 w 1099"/>
                <a:gd name="T103" fmla="*/ 2147483647 h 1089"/>
                <a:gd name="T104" fmla="*/ 2147483647 w 1099"/>
                <a:gd name="T105" fmla="*/ 2147483647 h 1089"/>
                <a:gd name="T106" fmla="*/ 2147483647 w 1099"/>
                <a:gd name="T107" fmla="*/ 2147483647 h 1089"/>
                <a:gd name="T108" fmla="*/ 2147483647 w 1099"/>
                <a:gd name="T109" fmla="*/ 2147483647 h 1089"/>
                <a:gd name="T110" fmla="*/ 2147483647 w 1099"/>
                <a:gd name="T111" fmla="*/ 2147483647 h 1089"/>
                <a:gd name="T112" fmla="*/ 2147483647 w 1099"/>
                <a:gd name="T113" fmla="*/ 2147483647 h 1089"/>
                <a:gd name="T114" fmla="*/ 2147483647 w 1099"/>
                <a:gd name="T115" fmla="*/ 2147483647 h 1089"/>
                <a:gd name="T116" fmla="*/ 2147483647 w 1099"/>
                <a:gd name="T117" fmla="*/ 2147483647 h 1089"/>
                <a:gd name="T118" fmla="*/ 2147483647 w 1099"/>
                <a:gd name="T119" fmla="*/ 2147483647 h 1089"/>
                <a:gd name="T120" fmla="*/ 2147483647 w 1099"/>
                <a:gd name="T121" fmla="*/ 2147483647 h 108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099"/>
                <a:gd name="T184" fmla="*/ 0 h 1089"/>
                <a:gd name="T185" fmla="*/ 1099 w 1099"/>
                <a:gd name="T186" fmla="*/ 1089 h 108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099" h="1089">
                  <a:moveTo>
                    <a:pt x="17" y="766"/>
                  </a:moveTo>
                  <a:lnTo>
                    <a:pt x="11" y="760"/>
                  </a:lnTo>
                  <a:lnTo>
                    <a:pt x="5" y="748"/>
                  </a:lnTo>
                  <a:lnTo>
                    <a:pt x="0" y="737"/>
                  </a:lnTo>
                  <a:lnTo>
                    <a:pt x="0" y="731"/>
                  </a:lnTo>
                  <a:lnTo>
                    <a:pt x="0" y="726"/>
                  </a:lnTo>
                  <a:lnTo>
                    <a:pt x="5" y="720"/>
                  </a:lnTo>
                  <a:lnTo>
                    <a:pt x="5" y="714"/>
                  </a:lnTo>
                  <a:lnTo>
                    <a:pt x="5" y="709"/>
                  </a:lnTo>
                  <a:lnTo>
                    <a:pt x="11" y="709"/>
                  </a:lnTo>
                  <a:lnTo>
                    <a:pt x="11" y="703"/>
                  </a:lnTo>
                  <a:lnTo>
                    <a:pt x="17" y="703"/>
                  </a:lnTo>
                  <a:lnTo>
                    <a:pt x="17" y="697"/>
                  </a:lnTo>
                  <a:lnTo>
                    <a:pt x="17" y="692"/>
                  </a:lnTo>
                  <a:lnTo>
                    <a:pt x="22" y="686"/>
                  </a:lnTo>
                  <a:lnTo>
                    <a:pt x="28" y="680"/>
                  </a:lnTo>
                  <a:lnTo>
                    <a:pt x="28" y="675"/>
                  </a:lnTo>
                  <a:lnTo>
                    <a:pt x="34" y="675"/>
                  </a:lnTo>
                  <a:lnTo>
                    <a:pt x="39" y="669"/>
                  </a:lnTo>
                  <a:lnTo>
                    <a:pt x="39" y="663"/>
                  </a:lnTo>
                  <a:lnTo>
                    <a:pt x="39" y="658"/>
                  </a:lnTo>
                  <a:lnTo>
                    <a:pt x="39" y="652"/>
                  </a:lnTo>
                  <a:lnTo>
                    <a:pt x="39" y="646"/>
                  </a:lnTo>
                  <a:lnTo>
                    <a:pt x="39" y="635"/>
                  </a:lnTo>
                  <a:lnTo>
                    <a:pt x="39" y="629"/>
                  </a:lnTo>
                  <a:lnTo>
                    <a:pt x="34" y="624"/>
                  </a:lnTo>
                  <a:lnTo>
                    <a:pt x="28" y="624"/>
                  </a:lnTo>
                  <a:lnTo>
                    <a:pt x="28" y="618"/>
                  </a:lnTo>
                  <a:lnTo>
                    <a:pt x="22" y="612"/>
                  </a:lnTo>
                  <a:lnTo>
                    <a:pt x="17" y="607"/>
                  </a:lnTo>
                  <a:lnTo>
                    <a:pt x="17" y="601"/>
                  </a:lnTo>
                  <a:lnTo>
                    <a:pt x="17" y="595"/>
                  </a:lnTo>
                  <a:lnTo>
                    <a:pt x="11" y="590"/>
                  </a:lnTo>
                  <a:lnTo>
                    <a:pt x="11" y="584"/>
                  </a:lnTo>
                  <a:lnTo>
                    <a:pt x="11" y="567"/>
                  </a:lnTo>
                  <a:lnTo>
                    <a:pt x="17" y="556"/>
                  </a:lnTo>
                  <a:lnTo>
                    <a:pt x="17" y="550"/>
                  </a:lnTo>
                  <a:lnTo>
                    <a:pt x="17" y="539"/>
                  </a:lnTo>
                  <a:lnTo>
                    <a:pt x="17" y="533"/>
                  </a:lnTo>
                  <a:lnTo>
                    <a:pt x="17" y="527"/>
                  </a:lnTo>
                  <a:lnTo>
                    <a:pt x="17" y="522"/>
                  </a:lnTo>
                  <a:lnTo>
                    <a:pt x="22" y="522"/>
                  </a:lnTo>
                  <a:lnTo>
                    <a:pt x="22" y="516"/>
                  </a:lnTo>
                  <a:lnTo>
                    <a:pt x="28" y="516"/>
                  </a:lnTo>
                  <a:lnTo>
                    <a:pt x="28" y="510"/>
                  </a:lnTo>
                  <a:lnTo>
                    <a:pt x="34" y="510"/>
                  </a:lnTo>
                  <a:lnTo>
                    <a:pt x="39" y="510"/>
                  </a:lnTo>
                  <a:lnTo>
                    <a:pt x="45" y="510"/>
                  </a:lnTo>
                  <a:lnTo>
                    <a:pt x="51" y="510"/>
                  </a:lnTo>
                  <a:lnTo>
                    <a:pt x="56" y="505"/>
                  </a:lnTo>
                  <a:lnTo>
                    <a:pt x="56" y="499"/>
                  </a:lnTo>
                  <a:lnTo>
                    <a:pt x="68" y="499"/>
                  </a:lnTo>
                  <a:lnTo>
                    <a:pt x="68" y="493"/>
                  </a:lnTo>
                  <a:lnTo>
                    <a:pt x="68" y="488"/>
                  </a:lnTo>
                  <a:lnTo>
                    <a:pt x="68" y="482"/>
                  </a:lnTo>
                  <a:lnTo>
                    <a:pt x="73" y="482"/>
                  </a:lnTo>
                  <a:lnTo>
                    <a:pt x="73" y="476"/>
                  </a:lnTo>
                  <a:lnTo>
                    <a:pt x="79" y="471"/>
                  </a:lnTo>
                  <a:lnTo>
                    <a:pt x="90" y="459"/>
                  </a:lnTo>
                  <a:lnTo>
                    <a:pt x="96" y="459"/>
                  </a:lnTo>
                  <a:lnTo>
                    <a:pt x="96" y="454"/>
                  </a:lnTo>
                  <a:lnTo>
                    <a:pt x="102" y="454"/>
                  </a:lnTo>
                  <a:lnTo>
                    <a:pt x="102" y="448"/>
                  </a:lnTo>
                  <a:lnTo>
                    <a:pt x="102" y="442"/>
                  </a:lnTo>
                  <a:lnTo>
                    <a:pt x="107" y="442"/>
                  </a:lnTo>
                  <a:lnTo>
                    <a:pt x="113" y="442"/>
                  </a:lnTo>
                  <a:lnTo>
                    <a:pt x="113" y="437"/>
                  </a:lnTo>
                  <a:lnTo>
                    <a:pt x="124" y="431"/>
                  </a:lnTo>
                  <a:lnTo>
                    <a:pt x="130" y="431"/>
                  </a:lnTo>
                  <a:lnTo>
                    <a:pt x="136" y="431"/>
                  </a:lnTo>
                  <a:lnTo>
                    <a:pt x="141" y="431"/>
                  </a:lnTo>
                  <a:lnTo>
                    <a:pt x="147" y="431"/>
                  </a:lnTo>
                  <a:lnTo>
                    <a:pt x="153" y="431"/>
                  </a:lnTo>
                  <a:lnTo>
                    <a:pt x="158" y="431"/>
                  </a:lnTo>
                  <a:lnTo>
                    <a:pt x="158" y="425"/>
                  </a:lnTo>
                  <a:lnTo>
                    <a:pt x="164" y="425"/>
                  </a:lnTo>
                  <a:lnTo>
                    <a:pt x="170" y="425"/>
                  </a:lnTo>
                  <a:lnTo>
                    <a:pt x="170" y="420"/>
                  </a:lnTo>
                  <a:lnTo>
                    <a:pt x="181" y="420"/>
                  </a:lnTo>
                  <a:lnTo>
                    <a:pt x="187" y="425"/>
                  </a:lnTo>
                  <a:lnTo>
                    <a:pt x="192" y="420"/>
                  </a:lnTo>
                  <a:lnTo>
                    <a:pt x="198" y="420"/>
                  </a:lnTo>
                  <a:lnTo>
                    <a:pt x="209" y="420"/>
                  </a:lnTo>
                  <a:lnTo>
                    <a:pt x="209" y="425"/>
                  </a:lnTo>
                  <a:lnTo>
                    <a:pt x="215" y="425"/>
                  </a:lnTo>
                  <a:lnTo>
                    <a:pt x="221" y="425"/>
                  </a:lnTo>
                  <a:lnTo>
                    <a:pt x="226" y="425"/>
                  </a:lnTo>
                  <a:lnTo>
                    <a:pt x="226" y="431"/>
                  </a:lnTo>
                  <a:lnTo>
                    <a:pt x="232" y="431"/>
                  </a:lnTo>
                  <a:lnTo>
                    <a:pt x="238" y="431"/>
                  </a:lnTo>
                  <a:lnTo>
                    <a:pt x="238" y="437"/>
                  </a:lnTo>
                  <a:lnTo>
                    <a:pt x="243" y="437"/>
                  </a:lnTo>
                  <a:lnTo>
                    <a:pt x="255" y="442"/>
                  </a:lnTo>
                  <a:lnTo>
                    <a:pt x="266" y="437"/>
                  </a:lnTo>
                  <a:lnTo>
                    <a:pt x="272" y="431"/>
                  </a:lnTo>
                  <a:lnTo>
                    <a:pt x="277" y="431"/>
                  </a:lnTo>
                  <a:lnTo>
                    <a:pt x="283" y="431"/>
                  </a:lnTo>
                  <a:lnTo>
                    <a:pt x="289" y="431"/>
                  </a:lnTo>
                  <a:lnTo>
                    <a:pt x="294" y="437"/>
                  </a:lnTo>
                  <a:lnTo>
                    <a:pt x="294" y="442"/>
                  </a:lnTo>
                  <a:lnTo>
                    <a:pt x="294" y="448"/>
                  </a:lnTo>
                  <a:lnTo>
                    <a:pt x="300" y="454"/>
                  </a:lnTo>
                  <a:lnTo>
                    <a:pt x="300" y="459"/>
                  </a:lnTo>
                  <a:lnTo>
                    <a:pt x="306" y="459"/>
                  </a:lnTo>
                  <a:lnTo>
                    <a:pt x="311" y="459"/>
                  </a:lnTo>
                  <a:lnTo>
                    <a:pt x="323" y="459"/>
                  </a:lnTo>
                  <a:lnTo>
                    <a:pt x="328" y="459"/>
                  </a:lnTo>
                  <a:lnTo>
                    <a:pt x="334" y="459"/>
                  </a:lnTo>
                  <a:lnTo>
                    <a:pt x="340" y="459"/>
                  </a:lnTo>
                  <a:lnTo>
                    <a:pt x="345" y="459"/>
                  </a:lnTo>
                  <a:lnTo>
                    <a:pt x="351" y="454"/>
                  </a:lnTo>
                  <a:lnTo>
                    <a:pt x="362" y="454"/>
                  </a:lnTo>
                  <a:lnTo>
                    <a:pt x="368" y="454"/>
                  </a:lnTo>
                  <a:lnTo>
                    <a:pt x="374" y="454"/>
                  </a:lnTo>
                  <a:lnTo>
                    <a:pt x="379" y="454"/>
                  </a:lnTo>
                  <a:lnTo>
                    <a:pt x="379" y="459"/>
                  </a:lnTo>
                  <a:lnTo>
                    <a:pt x="385" y="459"/>
                  </a:lnTo>
                  <a:lnTo>
                    <a:pt x="385" y="465"/>
                  </a:lnTo>
                  <a:lnTo>
                    <a:pt x="391" y="465"/>
                  </a:lnTo>
                  <a:lnTo>
                    <a:pt x="391" y="471"/>
                  </a:lnTo>
                  <a:lnTo>
                    <a:pt x="396" y="476"/>
                  </a:lnTo>
                  <a:lnTo>
                    <a:pt x="396" y="482"/>
                  </a:lnTo>
                  <a:lnTo>
                    <a:pt x="402" y="493"/>
                  </a:lnTo>
                  <a:lnTo>
                    <a:pt x="402" y="499"/>
                  </a:lnTo>
                  <a:lnTo>
                    <a:pt x="408" y="510"/>
                  </a:lnTo>
                  <a:lnTo>
                    <a:pt x="408" y="527"/>
                  </a:lnTo>
                  <a:lnTo>
                    <a:pt x="413" y="539"/>
                  </a:lnTo>
                  <a:lnTo>
                    <a:pt x="413" y="544"/>
                  </a:lnTo>
                  <a:lnTo>
                    <a:pt x="419" y="550"/>
                  </a:lnTo>
                  <a:lnTo>
                    <a:pt x="425" y="556"/>
                  </a:lnTo>
                  <a:lnTo>
                    <a:pt x="431" y="550"/>
                  </a:lnTo>
                  <a:lnTo>
                    <a:pt x="436" y="550"/>
                  </a:lnTo>
                  <a:lnTo>
                    <a:pt x="453" y="556"/>
                  </a:lnTo>
                  <a:lnTo>
                    <a:pt x="476" y="556"/>
                  </a:lnTo>
                  <a:lnTo>
                    <a:pt x="482" y="556"/>
                  </a:lnTo>
                  <a:lnTo>
                    <a:pt x="487" y="556"/>
                  </a:lnTo>
                  <a:lnTo>
                    <a:pt x="487" y="561"/>
                  </a:lnTo>
                  <a:lnTo>
                    <a:pt x="493" y="561"/>
                  </a:lnTo>
                  <a:lnTo>
                    <a:pt x="499" y="567"/>
                  </a:lnTo>
                  <a:lnTo>
                    <a:pt x="504" y="567"/>
                  </a:lnTo>
                  <a:lnTo>
                    <a:pt x="510" y="567"/>
                  </a:lnTo>
                  <a:lnTo>
                    <a:pt x="510" y="561"/>
                  </a:lnTo>
                  <a:lnTo>
                    <a:pt x="504" y="556"/>
                  </a:lnTo>
                  <a:lnTo>
                    <a:pt x="499" y="550"/>
                  </a:lnTo>
                  <a:lnTo>
                    <a:pt x="493" y="550"/>
                  </a:lnTo>
                  <a:lnTo>
                    <a:pt x="493" y="544"/>
                  </a:lnTo>
                  <a:lnTo>
                    <a:pt x="493" y="539"/>
                  </a:lnTo>
                  <a:lnTo>
                    <a:pt x="493" y="527"/>
                  </a:lnTo>
                  <a:lnTo>
                    <a:pt x="499" y="522"/>
                  </a:lnTo>
                  <a:lnTo>
                    <a:pt x="504" y="522"/>
                  </a:lnTo>
                  <a:lnTo>
                    <a:pt x="510" y="516"/>
                  </a:lnTo>
                  <a:lnTo>
                    <a:pt x="516" y="516"/>
                  </a:lnTo>
                  <a:lnTo>
                    <a:pt x="521" y="510"/>
                  </a:lnTo>
                  <a:lnTo>
                    <a:pt x="533" y="510"/>
                  </a:lnTo>
                  <a:lnTo>
                    <a:pt x="538" y="510"/>
                  </a:lnTo>
                  <a:lnTo>
                    <a:pt x="544" y="510"/>
                  </a:lnTo>
                  <a:lnTo>
                    <a:pt x="550" y="510"/>
                  </a:lnTo>
                  <a:lnTo>
                    <a:pt x="550" y="505"/>
                  </a:lnTo>
                  <a:lnTo>
                    <a:pt x="555" y="499"/>
                  </a:lnTo>
                  <a:lnTo>
                    <a:pt x="561" y="499"/>
                  </a:lnTo>
                  <a:lnTo>
                    <a:pt x="561" y="493"/>
                  </a:lnTo>
                  <a:lnTo>
                    <a:pt x="567" y="493"/>
                  </a:lnTo>
                  <a:lnTo>
                    <a:pt x="567" y="488"/>
                  </a:lnTo>
                  <a:lnTo>
                    <a:pt x="567" y="482"/>
                  </a:lnTo>
                  <a:lnTo>
                    <a:pt x="567" y="476"/>
                  </a:lnTo>
                  <a:lnTo>
                    <a:pt x="561" y="471"/>
                  </a:lnTo>
                  <a:lnTo>
                    <a:pt x="550" y="471"/>
                  </a:lnTo>
                  <a:lnTo>
                    <a:pt x="544" y="471"/>
                  </a:lnTo>
                  <a:lnTo>
                    <a:pt x="538" y="471"/>
                  </a:lnTo>
                  <a:lnTo>
                    <a:pt x="533" y="471"/>
                  </a:lnTo>
                  <a:lnTo>
                    <a:pt x="521" y="465"/>
                  </a:lnTo>
                  <a:lnTo>
                    <a:pt x="510" y="459"/>
                  </a:lnTo>
                  <a:lnTo>
                    <a:pt x="504" y="459"/>
                  </a:lnTo>
                  <a:lnTo>
                    <a:pt x="493" y="459"/>
                  </a:lnTo>
                  <a:lnTo>
                    <a:pt x="482" y="454"/>
                  </a:lnTo>
                  <a:lnTo>
                    <a:pt x="470" y="454"/>
                  </a:lnTo>
                  <a:lnTo>
                    <a:pt x="465" y="454"/>
                  </a:lnTo>
                  <a:lnTo>
                    <a:pt x="459" y="454"/>
                  </a:lnTo>
                  <a:lnTo>
                    <a:pt x="453" y="454"/>
                  </a:lnTo>
                  <a:lnTo>
                    <a:pt x="442" y="454"/>
                  </a:lnTo>
                  <a:lnTo>
                    <a:pt x="431" y="448"/>
                  </a:lnTo>
                  <a:lnTo>
                    <a:pt x="425" y="442"/>
                  </a:lnTo>
                  <a:lnTo>
                    <a:pt x="425" y="437"/>
                  </a:lnTo>
                  <a:lnTo>
                    <a:pt x="419" y="431"/>
                  </a:lnTo>
                  <a:lnTo>
                    <a:pt x="413" y="431"/>
                  </a:lnTo>
                  <a:lnTo>
                    <a:pt x="413" y="425"/>
                  </a:lnTo>
                  <a:lnTo>
                    <a:pt x="413" y="420"/>
                  </a:lnTo>
                  <a:lnTo>
                    <a:pt x="408" y="420"/>
                  </a:lnTo>
                  <a:lnTo>
                    <a:pt x="408" y="414"/>
                  </a:lnTo>
                  <a:lnTo>
                    <a:pt x="408" y="408"/>
                  </a:lnTo>
                  <a:lnTo>
                    <a:pt x="396" y="397"/>
                  </a:lnTo>
                  <a:lnTo>
                    <a:pt x="396" y="391"/>
                  </a:lnTo>
                  <a:lnTo>
                    <a:pt x="391" y="386"/>
                  </a:lnTo>
                  <a:lnTo>
                    <a:pt x="385" y="386"/>
                  </a:lnTo>
                  <a:lnTo>
                    <a:pt x="379" y="386"/>
                  </a:lnTo>
                  <a:lnTo>
                    <a:pt x="379" y="380"/>
                  </a:lnTo>
                  <a:lnTo>
                    <a:pt x="374" y="380"/>
                  </a:lnTo>
                  <a:lnTo>
                    <a:pt x="374" y="374"/>
                  </a:lnTo>
                  <a:lnTo>
                    <a:pt x="368" y="374"/>
                  </a:lnTo>
                  <a:lnTo>
                    <a:pt x="368" y="369"/>
                  </a:lnTo>
                  <a:lnTo>
                    <a:pt x="368" y="363"/>
                  </a:lnTo>
                  <a:lnTo>
                    <a:pt x="368" y="357"/>
                  </a:lnTo>
                  <a:lnTo>
                    <a:pt x="374" y="357"/>
                  </a:lnTo>
                  <a:lnTo>
                    <a:pt x="374" y="352"/>
                  </a:lnTo>
                  <a:lnTo>
                    <a:pt x="379" y="352"/>
                  </a:lnTo>
                  <a:lnTo>
                    <a:pt x="379" y="346"/>
                  </a:lnTo>
                  <a:lnTo>
                    <a:pt x="379" y="340"/>
                  </a:lnTo>
                  <a:lnTo>
                    <a:pt x="379" y="335"/>
                  </a:lnTo>
                  <a:lnTo>
                    <a:pt x="379" y="329"/>
                  </a:lnTo>
                  <a:lnTo>
                    <a:pt x="385" y="318"/>
                  </a:lnTo>
                  <a:lnTo>
                    <a:pt x="379" y="318"/>
                  </a:lnTo>
                  <a:lnTo>
                    <a:pt x="379" y="312"/>
                  </a:lnTo>
                  <a:lnTo>
                    <a:pt x="379" y="306"/>
                  </a:lnTo>
                  <a:lnTo>
                    <a:pt x="379" y="301"/>
                  </a:lnTo>
                  <a:lnTo>
                    <a:pt x="374" y="295"/>
                  </a:lnTo>
                  <a:lnTo>
                    <a:pt x="368" y="289"/>
                  </a:lnTo>
                  <a:lnTo>
                    <a:pt x="368" y="284"/>
                  </a:lnTo>
                  <a:lnTo>
                    <a:pt x="362" y="278"/>
                  </a:lnTo>
                  <a:lnTo>
                    <a:pt x="357" y="278"/>
                  </a:lnTo>
                  <a:lnTo>
                    <a:pt x="351" y="278"/>
                  </a:lnTo>
                  <a:lnTo>
                    <a:pt x="351" y="284"/>
                  </a:lnTo>
                  <a:lnTo>
                    <a:pt x="345" y="284"/>
                  </a:lnTo>
                  <a:lnTo>
                    <a:pt x="340" y="284"/>
                  </a:lnTo>
                  <a:lnTo>
                    <a:pt x="334" y="289"/>
                  </a:lnTo>
                  <a:lnTo>
                    <a:pt x="328" y="289"/>
                  </a:lnTo>
                  <a:lnTo>
                    <a:pt x="323" y="289"/>
                  </a:lnTo>
                  <a:lnTo>
                    <a:pt x="317" y="289"/>
                  </a:lnTo>
                  <a:lnTo>
                    <a:pt x="317" y="284"/>
                  </a:lnTo>
                  <a:lnTo>
                    <a:pt x="311" y="278"/>
                  </a:lnTo>
                  <a:lnTo>
                    <a:pt x="311" y="272"/>
                  </a:lnTo>
                  <a:lnTo>
                    <a:pt x="317" y="272"/>
                  </a:lnTo>
                  <a:lnTo>
                    <a:pt x="317" y="267"/>
                  </a:lnTo>
                  <a:lnTo>
                    <a:pt x="323" y="267"/>
                  </a:lnTo>
                  <a:lnTo>
                    <a:pt x="323" y="261"/>
                  </a:lnTo>
                  <a:lnTo>
                    <a:pt x="328" y="261"/>
                  </a:lnTo>
                  <a:lnTo>
                    <a:pt x="328" y="255"/>
                  </a:lnTo>
                  <a:lnTo>
                    <a:pt x="328" y="250"/>
                  </a:lnTo>
                  <a:lnTo>
                    <a:pt x="334" y="250"/>
                  </a:lnTo>
                  <a:lnTo>
                    <a:pt x="340" y="244"/>
                  </a:lnTo>
                  <a:lnTo>
                    <a:pt x="345" y="244"/>
                  </a:lnTo>
                  <a:lnTo>
                    <a:pt x="351" y="238"/>
                  </a:lnTo>
                  <a:lnTo>
                    <a:pt x="357" y="238"/>
                  </a:lnTo>
                  <a:lnTo>
                    <a:pt x="362" y="233"/>
                  </a:lnTo>
                  <a:lnTo>
                    <a:pt x="368" y="233"/>
                  </a:lnTo>
                  <a:lnTo>
                    <a:pt x="374" y="233"/>
                  </a:lnTo>
                  <a:lnTo>
                    <a:pt x="379" y="233"/>
                  </a:lnTo>
                  <a:lnTo>
                    <a:pt x="385" y="233"/>
                  </a:lnTo>
                  <a:lnTo>
                    <a:pt x="385" y="227"/>
                  </a:lnTo>
                  <a:lnTo>
                    <a:pt x="391" y="227"/>
                  </a:lnTo>
                  <a:lnTo>
                    <a:pt x="408" y="221"/>
                  </a:lnTo>
                  <a:lnTo>
                    <a:pt x="413" y="216"/>
                  </a:lnTo>
                  <a:lnTo>
                    <a:pt x="419" y="216"/>
                  </a:lnTo>
                  <a:lnTo>
                    <a:pt x="425" y="216"/>
                  </a:lnTo>
                  <a:lnTo>
                    <a:pt x="425" y="210"/>
                  </a:lnTo>
                  <a:lnTo>
                    <a:pt x="431" y="210"/>
                  </a:lnTo>
                  <a:lnTo>
                    <a:pt x="436" y="204"/>
                  </a:lnTo>
                  <a:lnTo>
                    <a:pt x="442" y="204"/>
                  </a:lnTo>
                  <a:lnTo>
                    <a:pt x="448" y="199"/>
                  </a:lnTo>
                  <a:lnTo>
                    <a:pt x="453" y="199"/>
                  </a:lnTo>
                  <a:lnTo>
                    <a:pt x="465" y="193"/>
                  </a:lnTo>
                  <a:lnTo>
                    <a:pt x="470" y="193"/>
                  </a:lnTo>
                  <a:lnTo>
                    <a:pt x="476" y="193"/>
                  </a:lnTo>
                  <a:lnTo>
                    <a:pt x="482" y="193"/>
                  </a:lnTo>
                  <a:lnTo>
                    <a:pt x="482" y="187"/>
                  </a:lnTo>
                  <a:lnTo>
                    <a:pt x="487" y="182"/>
                  </a:lnTo>
                  <a:lnTo>
                    <a:pt x="493" y="176"/>
                  </a:lnTo>
                  <a:lnTo>
                    <a:pt x="493" y="170"/>
                  </a:lnTo>
                  <a:lnTo>
                    <a:pt x="493" y="165"/>
                  </a:lnTo>
                  <a:lnTo>
                    <a:pt x="499" y="165"/>
                  </a:lnTo>
                  <a:lnTo>
                    <a:pt x="499" y="159"/>
                  </a:lnTo>
                  <a:lnTo>
                    <a:pt x="499" y="153"/>
                  </a:lnTo>
                  <a:lnTo>
                    <a:pt x="499" y="131"/>
                  </a:lnTo>
                  <a:lnTo>
                    <a:pt x="499" y="108"/>
                  </a:lnTo>
                  <a:lnTo>
                    <a:pt x="504" y="97"/>
                  </a:lnTo>
                  <a:lnTo>
                    <a:pt x="504" y="91"/>
                  </a:lnTo>
                  <a:lnTo>
                    <a:pt x="510" y="80"/>
                  </a:lnTo>
                  <a:lnTo>
                    <a:pt x="510" y="68"/>
                  </a:lnTo>
                  <a:lnTo>
                    <a:pt x="516" y="63"/>
                  </a:lnTo>
                  <a:lnTo>
                    <a:pt x="516" y="57"/>
                  </a:lnTo>
                  <a:lnTo>
                    <a:pt x="516" y="51"/>
                  </a:lnTo>
                  <a:lnTo>
                    <a:pt x="521" y="51"/>
                  </a:lnTo>
                  <a:lnTo>
                    <a:pt x="527" y="51"/>
                  </a:lnTo>
                  <a:lnTo>
                    <a:pt x="527" y="46"/>
                  </a:lnTo>
                  <a:lnTo>
                    <a:pt x="533" y="40"/>
                  </a:lnTo>
                  <a:lnTo>
                    <a:pt x="538" y="40"/>
                  </a:lnTo>
                  <a:lnTo>
                    <a:pt x="544" y="34"/>
                  </a:lnTo>
                  <a:lnTo>
                    <a:pt x="550" y="34"/>
                  </a:lnTo>
                  <a:lnTo>
                    <a:pt x="561" y="34"/>
                  </a:lnTo>
                  <a:lnTo>
                    <a:pt x="567" y="34"/>
                  </a:lnTo>
                  <a:lnTo>
                    <a:pt x="572" y="34"/>
                  </a:lnTo>
                  <a:lnTo>
                    <a:pt x="584" y="29"/>
                  </a:lnTo>
                  <a:lnTo>
                    <a:pt x="589" y="29"/>
                  </a:lnTo>
                  <a:lnTo>
                    <a:pt x="595" y="34"/>
                  </a:lnTo>
                  <a:lnTo>
                    <a:pt x="601" y="34"/>
                  </a:lnTo>
                  <a:lnTo>
                    <a:pt x="606" y="34"/>
                  </a:lnTo>
                  <a:lnTo>
                    <a:pt x="612" y="34"/>
                  </a:lnTo>
                  <a:lnTo>
                    <a:pt x="612" y="29"/>
                  </a:lnTo>
                  <a:lnTo>
                    <a:pt x="612" y="23"/>
                  </a:lnTo>
                  <a:lnTo>
                    <a:pt x="618" y="23"/>
                  </a:lnTo>
                  <a:lnTo>
                    <a:pt x="623" y="23"/>
                  </a:lnTo>
                  <a:lnTo>
                    <a:pt x="629" y="17"/>
                  </a:lnTo>
                  <a:lnTo>
                    <a:pt x="635" y="12"/>
                  </a:lnTo>
                  <a:lnTo>
                    <a:pt x="640" y="12"/>
                  </a:lnTo>
                  <a:lnTo>
                    <a:pt x="640" y="6"/>
                  </a:lnTo>
                  <a:lnTo>
                    <a:pt x="646" y="6"/>
                  </a:lnTo>
                  <a:lnTo>
                    <a:pt x="652" y="6"/>
                  </a:lnTo>
                  <a:lnTo>
                    <a:pt x="652" y="0"/>
                  </a:lnTo>
                  <a:lnTo>
                    <a:pt x="657" y="6"/>
                  </a:lnTo>
                  <a:lnTo>
                    <a:pt x="663" y="6"/>
                  </a:lnTo>
                  <a:lnTo>
                    <a:pt x="669" y="12"/>
                  </a:lnTo>
                  <a:lnTo>
                    <a:pt x="674" y="12"/>
                  </a:lnTo>
                  <a:lnTo>
                    <a:pt x="680" y="17"/>
                  </a:lnTo>
                  <a:lnTo>
                    <a:pt x="680" y="23"/>
                  </a:lnTo>
                  <a:lnTo>
                    <a:pt x="691" y="34"/>
                  </a:lnTo>
                  <a:lnTo>
                    <a:pt x="691" y="40"/>
                  </a:lnTo>
                  <a:lnTo>
                    <a:pt x="697" y="46"/>
                  </a:lnTo>
                  <a:lnTo>
                    <a:pt x="697" y="51"/>
                  </a:lnTo>
                  <a:lnTo>
                    <a:pt x="697" y="63"/>
                  </a:lnTo>
                  <a:lnTo>
                    <a:pt x="697" y="74"/>
                  </a:lnTo>
                  <a:lnTo>
                    <a:pt x="697" y="85"/>
                  </a:lnTo>
                  <a:lnTo>
                    <a:pt x="703" y="97"/>
                  </a:lnTo>
                  <a:lnTo>
                    <a:pt x="703" y="108"/>
                  </a:lnTo>
                  <a:lnTo>
                    <a:pt x="703" y="114"/>
                  </a:lnTo>
                  <a:lnTo>
                    <a:pt x="703" y="119"/>
                  </a:lnTo>
                  <a:lnTo>
                    <a:pt x="708" y="125"/>
                  </a:lnTo>
                  <a:lnTo>
                    <a:pt x="708" y="131"/>
                  </a:lnTo>
                  <a:lnTo>
                    <a:pt x="708" y="136"/>
                  </a:lnTo>
                  <a:lnTo>
                    <a:pt x="714" y="148"/>
                  </a:lnTo>
                  <a:lnTo>
                    <a:pt x="720" y="153"/>
                  </a:lnTo>
                  <a:lnTo>
                    <a:pt x="720" y="159"/>
                  </a:lnTo>
                  <a:lnTo>
                    <a:pt x="720" y="165"/>
                  </a:lnTo>
                  <a:lnTo>
                    <a:pt x="720" y="176"/>
                  </a:lnTo>
                  <a:lnTo>
                    <a:pt x="720" y="182"/>
                  </a:lnTo>
                  <a:lnTo>
                    <a:pt x="720" y="193"/>
                  </a:lnTo>
                  <a:lnTo>
                    <a:pt x="720" y="204"/>
                  </a:lnTo>
                  <a:lnTo>
                    <a:pt x="725" y="216"/>
                  </a:lnTo>
                  <a:lnTo>
                    <a:pt x="725" y="221"/>
                  </a:lnTo>
                  <a:lnTo>
                    <a:pt x="731" y="221"/>
                  </a:lnTo>
                  <a:lnTo>
                    <a:pt x="731" y="227"/>
                  </a:lnTo>
                  <a:lnTo>
                    <a:pt x="731" y="233"/>
                  </a:lnTo>
                  <a:lnTo>
                    <a:pt x="731" y="244"/>
                  </a:lnTo>
                  <a:lnTo>
                    <a:pt x="731" y="250"/>
                  </a:lnTo>
                  <a:lnTo>
                    <a:pt x="737" y="255"/>
                  </a:lnTo>
                  <a:lnTo>
                    <a:pt x="737" y="261"/>
                  </a:lnTo>
                  <a:lnTo>
                    <a:pt x="742" y="267"/>
                  </a:lnTo>
                  <a:lnTo>
                    <a:pt x="742" y="272"/>
                  </a:lnTo>
                  <a:lnTo>
                    <a:pt x="748" y="272"/>
                  </a:lnTo>
                  <a:lnTo>
                    <a:pt x="748" y="278"/>
                  </a:lnTo>
                  <a:lnTo>
                    <a:pt x="748" y="284"/>
                  </a:lnTo>
                  <a:lnTo>
                    <a:pt x="754" y="284"/>
                  </a:lnTo>
                  <a:lnTo>
                    <a:pt x="754" y="289"/>
                  </a:lnTo>
                  <a:lnTo>
                    <a:pt x="754" y="295"/>
                  </a:lnTo>
                  <a:lnTo>
                    <a:pt x="754" y="301"/>
                  </a:lnTo>
                  <a:lnTo>
                    <a:pt x="759" y="306"/>
                  </a:lnTo>
                  <a:lnTo>
                    <a:pt x="765" y="329"/>
                  </a:lnTo>
                  <a:lnTo>
                    <a:pt x="765" y="340"/>
                  </a:lnTo>
                  <a:lnTo>
                    <a:pt x="765" y="346"/>
                  </a:lnTo>
                  <a:lnTo>
                    <a:pt x="771" y="352"/>
                  </a:lnTo>
                  <a:lnTo>
                    <a:pt x="771" y="357"/>
                  </a:lnTo>
                  <a:lnTo>
                    <a:pt x="771" y="369"/>
                  </a:lnTo>
                  <a:lnTo>
                    <a:pt x="771" y="374"/>
                  </a:lnTo>
                  <a:lnTo>
                    <a:pt x="771" y="380"/>
                  </a:lnTo>
                  <a:lnTo>
                    <a:pt x="771" y="386"/>
                  </a:lnTo>
                  <a:lnTo>
                    <a:pt x="765" y="391"/>
                  </a:lnTo>
                  <a:lnTo>
                    <a:pt x="765" y="397"/>
                  </a:lnTo>
                  <a:lnTo>
                    <a:pt x="759" y="403"/>
                  </a:lnTo>
                  <a:lnTo>
                    <a:pt x="759" y="408"/>
                  </a:lnTo>
                  <a:lnTo>
                    <a:pt x="754" y="414"/>
                  </a:lnTo>
                  <a:lnTo>
                    <a:pt x="748" y="414"/>
                  </a:lnTo>
                  <a:lnTo>
                    <a:pt x="748" y="420"/>
                  </a:lnTo>
                  <a:lnTo>
                    <a:pt x="748" y="425"/>
                  </a:lnTo>
                  <a:lnTo>
                    <a:pt x="754" y="425"/>
                  </a:lnTo>
                  <a:lnTo>
                    <a:pt x="754" y="431"/>
                  </a:lnTo>
                  <a:lnTo>
                    <a:pt x="759" y="431"/>
                  </a:lnTo>
                  <a:lnTo>
                    <a:pt x="759" y="437"/>
                  </a:lnTo>
                  <a:lnTo>
                    <a:pt x="765" y="437"/>
                  </a:lnTo>
                  <a:lnTo>
                    <a:pt x="765" y="442"/>
                  </a:lnTo>
                  <a:lnTo>
                    <a:pt x="771" y="442"/>
                  </a:lnTo>
                  <a:lnTo>
                    <a:pt x="776" y="442"/>
                  </a:lnTo>
                  <a:lnTo>
                    <a:pt x="782" y="442"/>
                  </a:lnTo>
                  <a:lnTo>
                    <a:pt x="788" y="442"/>
                  </a:lnTo>
                  <a:lnTo>
                    <a:pt x="793" y="442"/>
                  </a:lnTo>
                  <a:lnTo>
                    <a:pt x="805" y="442"/>
                  </a:lnTo>
                  <a:lnTo>
                    <a:pt x="810" y="442"/>
                  </a:lnTo>
                  <a:lnTo>
                    <a:pt x="822" y="442"/>
                  </a:lnTo>
                  <a:lnTo>
                    <a:pt x="833" y="442"/>
                  </a:lnTo>
                  <a:lnTo>
                    <a:pt x="844" y="442"/>
                  </a:lnTo>
                  <a:lnTo>
                    <a:pt x="850" y="442"/>
                  </a:lnTo>
                  <a:lnTo>
                    <a:pt x="856" y="448"/>
                  </a:lnTo>
                  <a:lnTo>
                    <a:pt x="861" y="454"/>
                  </a:lnTo>
                  <a:lnTo>
                    <a:pt x="873" y="454"/>
                  </a:lnTo>
                  <a:lnTo>
                    <a:pt x="878" y="459"/>
                  </a:lnTo>
                  <a:lnTo>
                    <a:pt x="890" y="459"/>
                  </a:lnTo>
                  <a:lnTo>
                    <a:pt x="901" y="459"/>
                  </a:lnTo>
                  <a:lnTo>
                    <a:pt x="901" y="465"/>
                  </a:lnTo>
                  <a:lnTo>
                    <a:pt x="907" y="465"/>
                  </a:lnTo>
                  <a:lnTo>
                    <a:pt x="907" y="471"/>
                  </a:lnTo>
                  <a:lnTo>
                    <a:pt x="912" y="471"/>
                  </a:lnTo>
                  <a:lnTo>
                    <a:pt x="918" y="476"/>
                  </a:lnTo>
                  <a:lnTo>
                    <a:pt x="918" y="482"/>
                  </a:lnTo>
                  <a:lnTo>
                    <a:pt x="918" y="493"/>
                  </a:lnTo>
                  <a:lnTo>
                    <a:pt x="918" y="499"/>
                  </a:lnTo>
                  <a:lnTo>
                    <a:pt x="924" y="505"/>
                  </a:lnTo>
                  <a:lnTo>
                    <a:pt x="924" y="510"/>
                  </a:lnTo>
                  <a:lnTo>
                    <a:pt x="929" y="510"/>
                  </a:lnTo>
                  <a:lnTo>
                    <a:pt x="929" y="516"/>
                  </a:lnTo>
                  <a:lnTo>
                    <a:pt x="935" y="522"/>
                  </a:lnTo>
                  <a:lnTo>
                    <a:pt x="941" y="527"/>
                  </a:lnTo>
                  <a:lnTo>
                    <a:pt x="946" y="527"/>
                  </a:lnTo>
                  <a:lnTo>
                    <a:pt x="946" y="533"/>
                  </a:lnTo>
                  <a:lnTo>
                    <a:pt x="952" y="533"/>
                  </a:lnTo>
                  <a:lnTo>
                    <a:pt x="963" y="544"/>
                  </a:lnTo>
                  <a:lnTo>
                    <a:pt x="969" y="550"/>
                  </a:lnTo>
                  <a:lnTo>
                    <a:pt x="975" y="550"/>
                  </a:lnTo>
                  <a:lnTo>
                    <a:pt x="975" y="556"/>
                  </a:lnTo>
                  <a:lnTo>
                    <a:pt x="975" y="561"/>
                  </a:lnTo>
                  <a:lnTo>
                    <a:pt x="980" y="567"/>
                  </a:lnTo>
                  <a:lnTo>
                    <a:pt x="986" y="567"/>
                  </a:lnTo>
                  <a:lnTo>
                    <a:pt x="986" y="573"/>
                  </a:lnTo>
                  <a:lnTo>
                    <a:pt x="986" y="578"/>
                  </a:lnTo>
                  <a:lnTo>
                    <a:pt x="992" y="584"/>
                  </a:lnTo>
                  <a:lnTo>
                    <a:pt x="992" y="590"/>
                  </a:lnTo>
                  <a:lnTo>
                    <a:pt x="992" y="595"/>
                  </a:lnTo>
                  <a:lnTo>
                    <a:pt x="997" y="607"/>
                  </a:lnTo>
                  <a:lnTo>
                    <a:pt x="997" y="612"/>
                  </a:lnTo>
                  <a:lnTo>
                    <a:pt x="997" y="624"/>
                  </a:lnTo>
                  <a:lnTo>
                    <a:pt x="992" y="635"/>
                  </a:lnTo>
                  <a:lnTo>
                    <a:pt x="992" y="652"/>
                  </a:lnTo>
                  <a:lnTo>
                    <a:pt x="992" y="663"/>
                  </a:lnTo>
                  <a:lnTo>
                    <a:pt x="992" y="669"/>
                  </a:lnTo>
                  <a:lnTo>
                    <a:pt x="992" y="675"/>
                  </a:lnTo>
                  <a:lnTo>
                    <a:pt x="992" y="686"/>
                  </a:lnTo>
                  <a:lnTo>
                    <a:pt x="992" y="692"/>
                  </a:lnTo>
                  <a:lnTo>
                    <a:pt x="997" y="692"/>
                  </a:lnTo>
                  <a:lnTo>
                    <a:pt x="997" y="697"/>
                  </a:lnTo>
                  <a:lnTo>
                    <a:pt x="997" y="703"/>
                  </a:lnTo>
                  <a:lnTo>
                    <a:pt x="997" y="709"/>
                  </a:lnTo>
                  <a:lnTo>
                    <a:pt x="1003" y="709"/>
                  </a:lnTo>
                  <a:lnTo>
                    <a:pt x="1009" y="709"/>
                  </a:lnTo>
                  <a:lnTo>
                    <a:pt x="1014" y="709"/>
                  </a:lnTo>
                  <a:lnTo>
                    <a:pt x="1026" y="714"/>
                  </a:lnTo>
                  <a:lnTo>
                    <a:pt x="1031" y="720"/>
                  </a:lnTo>
                  <a:lnTo>
                    <a:pt x="1037" y="720"/>
                  </a:lnTo>
                  <a:lnTo>
                    <a:pt x="1043" y="720"/>
                  </a:lnTo>
                  <a:lnTo>
                    <a:pt x="1043" y="726"/>
                  </a:lnTo>
                  <a:lnTo>
                    <a:pt x="1048" y="726"/>
                  </a:lnTo>
                  <a:lnTo>
                    <a:pt x="1048" y="731"/>
                  </a:lnTo>
                  <a:lnTo>
                    <a:pt x="1054" y="731"/>
                  </a:lnTo>
                  <a:lnTo>
                    <a:pt x="1054" y="737"/>
                  </a:lnTo>
                  <a:lnTo>
                    <a:pt x="1048" y="743"/>
                  </a:lnTo>
                  <a:lnTo>
                    <a:pt x="1043" y="743"/>
                  </a:lnTo>
                  <a:lnTo>
                    <a:pt x="1043" y="748"/>
                  </a:lnTo>
                  <a:lnTo>
                    <a:pt x="1037" y="748"/>
                  </a:lnTo>
                  <a:lnTo>
                    <a:pt x="1031" y="748"/>
                  </a:lnTo>
                  <a:lnTo>
                    <a:pt x="1031" y="754"/>
                  </a:lnTo>
                  <a:lnTo>
                    <a:pt x="1026" y="754"/>
                  </a:lnTo>
                  <a:lnTo>
                    <a:pt x="1020" y="760"/>
                  </a:lnTo>
                  <a:lnTo>
                    <a:pt x="1014" y="760"/>
                  </a:lnTo>
                  <a:lnTo>
                    <a:pt x="1014" y="766"/>
                  </a:lnTo>
                  <a:lnTo>
                    <a:pt x="1009" y="766"/>
                  </a:lnTo>
                  <a:lnTo>
                    <a:pt x="1003" y="766"/>
                  </a:lnTo>
                  <a:lnTo>
                    <a:pt x="1003" y="771"/>
                  </a:lnTo>
                  <a:lnTo>
                    <a:pt x="997" y="777"/>
                  </a:lnTo>
                  <a:lnTo>
                    <a:pt x="997" y="783"/>
                  </a:lnTo>
                  <a:lnTo>
                    <a:pt x="997" y="788"/>
                  </a:lnTo>
                  <a:lnTo>
                    <a:pt x="992" y="788"/>
                  </a:lnTo>
                  <a:lnTo>
                    <a:pt x="992" y="794"/>
                  </a:lnTo>
                  <a:lnTo>
                    <a:pt x="992" y="800"/>
                  </a:lnTo>
                  <a:lnTo>
                    <a:pt x="997" y="800"/>
                  </a:lnTo>
                  <a:lnTo>
                    <a:pt x="1003" y="800"/>
                  </a:lnTo>
                  <a:lnTo>
                    <a:pt x="1003" y="805"/>
                  </a:lnTo>
                  <a:lnTo>
                    <a:pt x="1009" y="805"/>
                  </a:lnTo>
                  <a:lnTo>
                    <a:pt x="1014" y="811"/>
                  </a:lnTo>
                  <a:lnTo>
                    <a:pt x="1014" y="817"/>
                  </a:lnTo>
                  <a:lnTo>
                    <a:pt x="1020" y="828"/>
                  </a:lnTo>
                  <a:lnTo>
                    <a:pt x="1026" y="834"/>
                  </a:lnTo>
                  <a:lnTo>
                    <a:pt x="1031" y="834"/>
                  </a:lnTo>
                  <a:lnTo>
                    <a:pt x="1031" y="839"/>
                  </a:lnTo>
                  <a:lnTo>
                    <a:pt x="1037" y="839"/>
                  </a:lnTo>
                  <a:lnTo>
                    <a:pt x="1043" y="845"/>
                  </a:lnTo>
                  <a:lnTo>
                    <a:pt x="1054" y="851"/>
                  </a:lnTo>
                  <a:lnTo>
                    <a:pt x="1060" y="851"/>
                  </a:lnTo>
                  <a:lnTo>
                    <a:pt x="1065" y="856"/>
                  </a:lnTo>
                  <a:lnTo>
                    <a:pt x="1071" y="856"/>
                  </a:lnTo>
                  <a:lnTo>
                    <a:pt x="1071" y="862"/>
                  </a:lnTo>
                  <a:lnTo>
                    <a:pt x="1077" y="862"/>
                  </a:lnTo>
                  <a:lnTo>
                    <a:pt x="1077" y="868"/>
                  </a:lnTo>
                  <a:lnTo>
                    <a:pt x="1082" y="868"/>
                  </a:lnTo>
                  <a:lnTo>
                    <a:pt x="1082" y="873"/>
                  </a:lnTo>
                  <a:lnTo>
                    <a:pt x="1082" y="879"/>
                  </a:lnTo>
                  <a:lnTo>
                    <a:pt x="1082" y="885"/>
                  </a:lnTo>
                  <a:lnTo>
                    <a:pt x="1088" y="885"/>
                  </a:lnTo>
                  <a:lnTo>
                    <a:pt x="1088" y="890"/>
                  </a:lnTo>
                  <a:lnTo>
                    <a:pt x="1094" y="902"/>
                  </a:lnTo>
                  <a:lnTo>
                    <a:pt x="1094" y="907"/>
                  </a:lnTo>
                  <a:lnTo>
                    <a:pt x="1094" y="913"/>
                  </a:lnTo>
                  <a:lnTo>
                    <a:pt x="1094" y="919"/>
                  </a:lnTo>
                  <a:lnTo>
                    <a:pt x="1099" y="924"/>
                  </a:lnTo>
                  <a:lnTo>
                    <a:pt x="1099" y="930"/>
                  </a:lnTo>
                  <a:lnTo>
                    <a:pt x="1099" y="936"/>
                  </a:lnTo>
                  <a:lnTo>
                    <a:pt x="1099" y="941"/>
                  </a:lnTo>
                  <a:lnTo>
                    <a:pt x="1099" y="947"/>
                  </a:lnTo>
                  <a:lnTo>
                    <a:pt x="1099" y="964"/>
                  </a:lnTo>
                  <a:lnTo>
                    <a:pt x="1099" y="970"/>
                  </a:lnTo>
                  <a:lnTo>
                    <a:pt x="1099" y="975"/>
                  </a:lnTo>
                  <a:lnTo>
                    <a:pt x="1099" y="987"/>
                  </a:lnTo>
                  <a:lnTo>
                    <a:pt x="1094" y="992"/>
                  </a:lnTo>
                  <a:lnTo>
                    <a:pt x="1094" y="998"/>
                  </a:lnTo>
                  <a:lnTo>
                    <a:pt x="1088" y="998"/>
                  </a:lnTo>
                  <a:lnTo>
                    <a:pt x="1082" y="998"/>
                  </a:lnTo>
                  <a:lnTo>
                    <a:pt x="1082" y="1004"/>
                  </a:lnTo>
                  <a:lnTo>
                    <a:pt x="1082" y="1009"/>
                  </a:lnTo>
                  <a:lnTo>
                    <a:pt x="1077" y="1009"/>
                  </a:lnTo>
                  <a:lnTo>
                    <a:pt x="1071" y="1015"/>
                  </a:lnTo>
                  <a:lnTo>
                    <a:pt x="1065" y="1015"/>
                  </a:lnTo>
                  <a:lnTo>
                    <a:pt x="1065" y="1021"/>
                  </a:lnTo>
                  <a:lnTo>
                    <a:pt x="1065" y="1026"/>
                  </a:lnTo>
                  <a:lnTo>
                    <a:pt x="1060" y="1026"/>
                  </a:lnTo>
                  <a:lnTo>
                    <a:pt x="1054" y="1026"/>
                  </a:lnTo>
                  <a:lnTo>
                    <a:pt x="1048" y="1032"/>
                  </a:lnTo>
                  <a:lnTo>
                    <a:pt x="1043" y="1038"/>
                  </a:lnTo>
                  <a:lnTo>
                    <a:pt x="1037" y="1038"/>
                  </a:lnTo>
                  <a:lnTo>
                    <a:pt x="1031" y="1038"/>
                  </a:lnTo>
                  <a:lnTo>
                    <a:pt x="1031" y="1043"/>
                  </a:lnTo>
                  <a:lnTo>
                    <a:pt x="1026" y="1043"/>
                  </a:lnTo>
                  <a:lnTo>
                    <a:pt x="1020" y="1043"/>
                  </a:lnTo>
                  <a:lnTo>
                    <a:pt x="1014" y="1043"/>
                  </a:lnTo>
                  <a:lnTo>
                    <a:pt x="1009" y="1043"/>
                  </a:lnTo>
                  <a:lnTo>
                    <a:pt x="1003" y="1049"/>
                  </a:lnTo>
                  <a:lnTo>
                    <a:pt x="997" y="1049"/>
                  </a:lnTo>
                  <a:lnTo>
                    <a:pt x="997" y="1055"/>
                  </a:lnTo>
                  <a:lnTo>
                    <a:pt x="992" y="1055"/>
                  </a:lnTo>
                  <a:lnTo>
                    <a:pt x="975" y="1055"/>
                  </a:lnTo>
                  <a:lnTo>
                    <a:pt x="963" y="1055"/>
                  </a:lnTo>
                  <a:lnTo>
                    <a:pt x="958" y="1060"/>
                  </a:lnTo>
                  <a:lnTo>
                    <a:pt x="952" y="1060"/>
                  </a:lnTo>
                  <a:lnTo>
                    <a:pt x="946" y="1066"/>
                  </a:lnTo>
                  <a:lnTo>
                    <a:pt x="941" y="1066"/>
                  </a:lnTo>
                  <a:lnTo>
                    <a:pt x="935" y="1066"/>
                  </a:lnTo>
                  <a:lnTo>
                    <a:pt x="929" y="1066"/>
                  </a:lnTo>
                  <a:lnTo>
                    <a:pt x="929" y="1072"/>
                  </a:lnTo>
                  <a:lnTo>
                    <a:pt x="924" y="1072"/>
                  </a:lnTo>
                  <a:lnTo>
                    <a:pt x="924" y="1066"/>
                  </a:lnTo>
                  <a:lnTo>
                    <a:pt x="918" y="1072"/>
                  </a:lnTo>
                  <a:lnTo>
                    <a:pt x="907" y="1066"/>
                  </a:lnTo>
                  <a:lnTo>
                    <a:pt x="901" y="1066"/>
                  </a:lnTo>
                  <a:lnTo>
                    <a:pt x="895" y="1066"/>
                  </a:lnTo>
                  <a:lnTo>
                    <a:pt x="895" y="1060"/>
                  </a:lnTo>
                  <a:lnTo>
                    <a:pt x="890" y="1060"/>
                  </a:lnTo>
                  <a:lnTo>
                    <a:pt x="884" y="1060"/>
                  </a:lnTo>
                  <a:lnTo>
                    <a:pt x="878" y="1060"/>
                  </a:lnTo>
                  <a:lnTo>
                    <a:pt x="861" y="1060"/>
                  </a:lnTo>
                  <a:lnTo>
                    <a:pt x="850" y="1060"/>
                  </a:lnTo>
                  <a:lnTo>
                    <a:pt x="833" y="1055"/>
                  </a:lnTo>
                  <a:lnTo>
                    <a:pt x="827" y="1055"/>
                  </a:lnTo>
                  <a:lnTo>
                    <a:pt x="816" y="1055"/>
                  </a:lnTo>
                  <a:lnTo>
                    <a:pt x="805" y="1055"/>
                  </a:lnTo>
                  <a:lnTo>
                    <a:pt x="793" y="1049"/>
                  </a:lnTo>
                  <a:lnTo>
                    <a:pt x="788" y="1049"/>
                  </a:lnTo>
                  <a:lnTo>
                    <a:pt x="776" y="1049"/>
                  </a:lnTo>
                  <a:lnTo>
                    <a:pt x="771" y="1055"/>
                  </a:lnTo>
                  <a:lnTo>
                    <a:pt x="765" y="1055"/>
                  </a:lnTo>
                  <a:lnTo>
                    <a:pt x="759" y="1055"/>
                  </a:lnTo>
                  <a:lnTo>
                    <a:pt x="754" y="1055"/>
                  </a:lnTo>
                  <a:lnTo>
                    <a:pt x="748" y="1060"/>
                  </a:lnTo>
                  <a:lnTo>
                    <a:pt x="742" y="1060"/>
                  </a:lnTo>
                  <a:lnTo>
                    <a:pt x="742" y="1066"/>
                  </a:lnTo>
                  <a:lnTo>
                    <a:pt x="737" y="1066"/>
                  </a:lnTo>
                  <a:lnTo>
                    <a:pt x="731" y="1066"/>
                  </a:lnTo>
                  <a:lnTo>
                    <a:pt x="725" y="1072"/>
                  </a:lnTo>
                  <a:lnTo>
                    <a:pt x="720" y="1072"/>
                  </a:lnTo>
                  <a:lnTo>
                    <a:pt x="720" y="1077"/>
                  </a:lnTo>
                  <a:lnTo>
                    <a:pt x="714" y="1077"/>
                  </a:lnTo>
                  <a:lnTo>
                    <a:pt x="708" y="1083"/>
                  </a:lnTo>
                  <a:lnTo>
                    <a:pt x="703" y="1083"/>
                  </a:lnTo>
                  <a:lnTo>
                    <a:pt x="697" y="1083"/>
                  </a:lnTo>
                  <a:lnTo>
                    <a:pt x="686" y="1083"/>
                  </a:lnTo>
                  <a:lnTo>
                    <a:pt x="680" y="1083"/>
                  </a:lnTo>
                  <a:lnTo>
                    <a:pt x="674" y="1083"/>
                  </a:lnTo>
                  <a:lnTo>
                    <a:pt x="657" y="1089"/>
                  </a:lnTo>
                  <a:lnTo>
                    <a:pt x="652" y="1083"/>
                  </a:lnTo>
                  <a:lnTo>
                    <a:pt x="646" y="1083"/>
                  </a:lnTo>
                  <a:lnTo>
                    <a:pt x="640" y="1083"/>
                  </a:lnTo>
                  <a:lnTo>
                    <a:pt x="640" y="1077"/>
                  </a:lnTo>
                  <a:lnTo>
                    <a:pt x="635" y="1072"/>
                  </a:lnTo>
                  <a:lnTo>
                    <a:pt x="629" y="1066"/>
                  </a:lnTo>
                  <a:lnTo>
                    <a:pt x="618" y="1060"/>
                  </a:lnTo>
                  <a:lnTo>
                    <a:pt x="612" y="1055"/>
                  </a:lnTo>
                  <a:lnTo>
                    <a:pt x="606" y="1055"/>
                  </a:lnTo>
                  <a:lnTo>
                    <a:pt x="606" y="1049"/>
                  </a:lnTo>
                  <a:lnTo>
                    <a:pt x="601" y="1049"/>
                  </a:lnTo>
                  <a:lnTo>
                    <a:pt x="595" y="1043"/>
                  </a:lnTo>
                  <a:lnTo>
                    <a:pt x="589" y="1043"/>
                  </a:lnTo>
                  <a:lnTo>
                    <a:pt x="584" y="1038"/>
                  </a:lnTo>
                  <a:lnTo>
                    <a:pt x="578" y="1038"/>
                  </a:lnTo>
                  <a:lnTo>
                    <a:pt x="572" y="1032"/>
                  </a:lnTo>
                  <a:lnTo>
                    <a:pt x="572" y="1026"/>
                  </a:lnTo>
                  <a:lnTo>
                    <a:pt x="567" y="1026"/>
                  </a:lnTo>
                  <a:lnTo>
                    <a:pt x="561" y="1026"/>
                  </a:lnTo>
                  <a:lnTo>
                    <a:pt x="550" y="1026"/>
                  </a:lnTo>
                  <a:lnTo>
                    <a:pt x="550" y="1021"/>
                  </a:lnTo>
                  <a:lnTo>
                    <a:pt x="538" y="1015"/>
                  </a:lnTo>
                  <a:lnTo>
                    <a:pt x="521" y="1015"/>
                  </a:lnTo>
                  <a:lnTo>
                    <a:pt x="516" y="1015"/>
                  </a:lnTo>
                  <a:lnTo>
                    <a:pt x="510" y="1009"/>
                  </a:lnTo>
                  <a:lnTo>
                    <a:pt x="504" y="1009"/>
                  </a:lnTo>
                  <a:lnTo>
                    <a:pt x="504" y="1004"/>
                  </a:lnTo>
                  <a:lnTo>
                    <a:pt x="504" y="998"/>
                  </a:lnTo>
                  <a:lnTo>
                    <a:pt x="499" y="998"/>
                  </a:lnTo>
                  <a:lnTo>
                    <a:pt x="493" y="998"/>
                  </a:lnTo>
                  <a:lnTo>
                    <a:pt x="487" y="992"/>
                  </a:lnTo>
                  <a:lnTo>
                    <a:pt x="482" y="987"/>
                  </a:lnTo>
                  <a:lnTo>
                    <a:pt x="476" y="987"/>
                  </a:lnTo>
                  <a:lnTo>
                    <a:pt x="465" y="981"/>
                  </a:lnTo>
                  <a:lnTo>
                    <a:pt x="453" y="981"/>
                  </a:lnTo>
                  <a:lnTo>
                    <a:pt x="448" y="981"/>
                  </a:lnTo>
                  <a:lnTo>
                    <a:pt x="442" y="981"/>
                  </a:lnTo>
                  <a:lnTo>
                    <a:pt x="436" y="975"/>
                  </a:lnTo>
                  <a:lnTo>
                    <a:pt x="425" y="970"/>
                  </a:lnTo>
                  <a:lnTo>
                    <a:pt x="419" y="970"/>
                  </a:lnTo>
                  <a:lnTo>
                    <a:pt x="408" y="970"/>
                  </a:lnTo>
                  <a:lnTo>
                    <a:pt x="402" y="970"/>
                  </a:lnTo>
                  <a:lnTo>
                    <a:pt x="396" y="975"/>
                  </a:lnTo>
                  <a:lnTo>
                    <a:pt x="391" y="981"/>
                  </a:lnTo>
                  <a:lnTo>
                    <a:pt x="391" y="987"/>
                  </a:lnTo>
                  <a:lnTo>
                    <a:pt x="396" y="987"/>
                  </a:lnTo>
                  <a:lnTo>
                    <a:pt x="402" y="987"/>
                  </a:lnTo>
                  <a:lnTo>
                    <a:pt x="402" y="992"/>
                  </a:lnTo>
                  <a:lnTo>
                    <a:pt x="402" y="998"/>
                  </a:lnTo>
                  <a:lnTo>
                    <a:pt x="408" y="998"/>
                  </a:lnTo>
                  <a:lnTo>
                    <a:pt x="408" y="1004"/>
                  </a:lnTo>
                  <a:lnTo>
                    <a:pt x="413" y="1009"/>
                  </a:lnTo>
                  <a:lnTo>
                    <a:pt x="413" y="1015"/>
                  </a:lnTo>
                  <a:lnTo>
                    <a:pt x="408" y="1021"/>
                  </a:lnTo>
                  <a:lnTo>
                    <a:pt x="391" y="1026"/>
                  </a:lnTo>
                  <a:lnTo>
                    <a:pt x="379" y="1026"/>
                  </a:lnTo>
                  <a:lnTo>
                    <a:pt x="379" y="1032"/>
                  </a:lnTo>
                  <a:lnTo>
                    <a:pt x="374" y="1038"/>
                  </a:lnTo>
                  <a:lnTo>
                    <a:pt x="374" y="1043"/>
                  </a:lnTo>
                  <a:lnTo>
                    <a:pt x="374" y="1049"/>
                  </a:lnTo>
                  <a:lnTo>
                    <a:pt x="368" y="1049"/>
                  </a:lnTo>
                  <a:lnTo>
                    <a:pt x="368" y="1055"/>
                  </a:lnTo>
                  <a:lnTo>
                    <a:pt x="362" y="1055"/>
                  </a:lnTo>
                  <a:lnTo>
                    <a:pt x="362" y="1060"/>
                  </a:lnTo>
                  <a:lnTo>
                    <a:pt x="357" y="1060"/>
                  </a:lnTo>
                  <a:lnTo>
                    <a:pt x="345" y="1066"/>
                  </a:lnTo>
                  <a:lnTo>
                    <a:pt x="328" y="1066"/>
                  </a:lnTo>
                  <a:lnTo>
                    <a:pt x="317" y="1066"/>
                  </a:lnTo>
                  <a:lnTo>
                    <a:pt x="311" y="1066"/>
                  </a:lnTo>
                  <a:lnTo>
                    <a:pt x="294" y="1066"/>
                  </a:lnTo>
                  <a:lnTo>
                    <a:pt x="283" y="1066"/>
                  </a:lnTo>
                  <a:lnTo>
                    <a:pt x="277" y="1066"/>
                  </a:lnTo>
                  <a:lnTo>
                    <a:pt x="272" y="1066"/>
                  </a:lnTo>
                  <a:lnTo>
                    <a:pt x="266" y="1066"/>
                  </a:lnTo>
                  <a:lnTo>
                    <a:pt x="238" y="1060"/>
                  </a:lnTo>
                  <a:lnTo>
                    <a:pt x="232" y="1055"/>
                  </a:lnTo>
                  <a:lnTo>
                    <a:pt x="226" y="1055"/>
                  </a:lnTo>
                  <a:lnTo>
                    <a:pt x="221" y="1055"/>
                  </a:lnTo>
                  <a:lnTo>
                    <a:pt x="221" y="1049"/>
                  </a:lnTo>
                  <a:lnTo>
                    <a:pt x="215" y="1049"/>
                  </a:lnTo>
                  <a:lnTo>
                    <a:pt x="215" y="1043"/>
                  </a:lnTo>
                  <a:lnTo>
                    <a:pt x="209" y="1043"/>
                  </a:lnTo>
                  <a:lnTo>
                    <a:pt x="209" y="1038"/>
                  </a:lnTo>
                  <a:lnTo>
                    <a:pt x="204" y="1038"/>
                  </a:lnTo>
                  <a:lnTo>
                    <a:pt x="198" y="1032"/>
                  </a:lnTo>
                  <a:lnTo>
                    <a:pt x="198" y="1026"/>
                  </a:lnTo>
                  <a:lnTo>
                    <a:pt x="198" y="1021"/>
                  </a:lnTo>
                  <a:lnTo>
                    <a:pt x="192" y="1015"/>
                  </a:lnTo>
                  <a:lnTo>
                    <a:pt x="192" y="1009"/>
                  </a:lnTo>
                  <a:lnTo>
                    <a:pt x="187" y="1009"/>
                  </a:lnTo>
                  <a:lnTo>
                    <a:pt x="181" y="1009"/>
                  </a:lnTo>
                  <a:lnTo>
                    <a:pt x="175" y="1009"/>
                  </a:lnTo>
                  <a:lnTo>
                    <a:pt x="170" y="1009"/>
                  </a:lnTo>
                  <a:lnTo>
                    <a:pt x="164" y="1009"/>
                  </a:lnTo>
                  <a:lnTo>
                    <a:pt x="164" y="1004"/>
                  </a:lnTo>
                  <a:lnTo>
                    <a:pt x="164" y="998"/>
                  </a:lnTo>
                  <a:lnTo>
                    <a:pt x="158" y="992"/>
                  </a:lnTo>
                  <a:lnTo>
                    <a:pt x="158" y="987"/>
                  </a:lnTo>
                  <a:lnTo>
                    <a:pt x="164" y="975"/>
                  </a:lnTo>
                  <a:lnTo>
                    <a:pt x="164" y="970"/>
                  </a:lnTo>
                  <a:lnTo>
                    <a:pt x="170" y="970"/>
                  </a:lnTo>
                  <a:lnTo>
                    <a:pt x="170" y="964"/>
                  </a:lnTo>
                  <a:lnTo>
                    <a:pt x="170" y="958"/>
                  </a:lnTo>
                  <a:lnTo>
                    <a:pt x="175" y="947"/>
                  </a:lnTo>
                  <a:lnTo>
                    <a:pt x="175" y="941"/>
                  </a:lnTo>
                  <a:lnTo>
                    <a:pt x="175" y="936"/>
                  </a:lnTo>
                  <a:lnTo>
                    <a:pt x="175" y="930"/>
                  </a:lnTo>
                  <a:lnTo>
                    <a:pt x="170" y="930"/>
                  </a:lnTo>
                  <a:lnTo>
                    <a:pt x="170" y="924"/>
                  </a:lnTo>
                  <a:lnTo>
                    <a:pt x="170" y="919"/>
                  </a:lnTo>
                  <a:lnTo>
                    <a:pt x="164" y="913"/>
                  </a:lnTo>
                  <a:lnTo>
                    <a:pt x="164" y="907"/>
                  </a:lnTo>
                  <a:lnTo>
                    <a:pt x="153" y="902"/>
                  </a:lnTo>
                  <a:lnTo>
                    <a:pt x="153" y="896"/>
                  </a:lnTo>
                  <a:lnTo>
                    <a:pt x="147" y="896"/>
                  </a:lnTo>
                  <a:lnTo>
                    <a:pt x="136" y="890"/>
                  </a:lnTo>
                  <a:lnTo>
                    <a:pt x="130" y="890"/>
                  </a:lnTo>
                  <a:lnTo>
                    <a:pt x="124" y="890"/>
                  </a:lnTo>
                  <a:lnTo>
                    <a:pt x="119" y="896"/>
                  </a:lnTo>
                  <a:lnTo>
                    <a:pt x="113" y="902"/>
                  </a:lnTo>
                  <a:lnTo>
                    <a:pt x="107" y="902"/>
                  </a:lnTo>
                  <a:lnTo>
                    <a:pt x="102" y="907"/>
                  </a:lnTo>
                  <a:lnTo>
                    <a:pt x="96" y="913"/>
                  </a:lnTo>
                  <a:lnTo>
                    <a:pt x="96" y="907"/>
                  </a:lnTo>
                  <a:lnTo>
                    <a:pt x="90" y="902"/>
                  </a:lnTo>
                  <a:lnTo>
                    <a:pt x="90" y="896"/>
                  </a:lnTo>
                  <a:lnTo>
                    <a:pt x="90" y="890"/>
                  </a:lnTo>
                  <a:lnTo>
                    <a:pt x="90" y="879"/>
                  </a:lnTo>
                  <a:lnTo>
                    <a:pt x="90" y="868"/>
                  </a:lnTo>
                  <a:lnTo>
                    <a:pt x="90" y="862"/>
                  </a:lnTo>
                  <a:lnTo>
                    <a:pt x="90" y="856"/>
                  </a:lnTo>
                  <a:lnTo>
                    <a:pt x="90" y="851"/>
                  </a:lnTo>
                  <a:lnTo>
                    <a:pt x="90" y="845"/>
                  </a:lnTo>
                  <a:lnTo>
                    <a:pt x="85" y="839"/>
                  </a:lnTo>
                  <a:lnTo>
                    <a:pt x="85" y="834"/>
                  </a:lnTo>
                  <a:lnTo>
                    <a:pt x="85" y="828"/>
                  </a:lnTo>
                  <a:lnTo>
                    <a:pt x="79" y="822"/>
                  </a:lnTo>
                  <a:lnTo>
                    <a:pt x="79" y="817"/>
                  </a:lnTo>
                  <a:lnTo>
                    <a:pt x="79" y="811"/>
                  </a:lnTo>
                  <a:lnTo>
                    <a:pt x="79" y="805"/>
                  </a:lnTo>
                  <a:lnTo>
                    <a:pt x="79" y="800"/>
                  </a:lnTo>
                  <a:lnTo>
                    <a:pt x="79" y="794"/>
                  </a:lnTo>
                  <a:lnTo>
                    <a:pt x="79" y="788"/>
                  </a:lnTo>
                  <a:lnTo>
                    <a:pt x="73" y="788"/>
                  </a:lnTo>
                  <a:lnTo>
                    <a:pt x="73" y="783"/>
                  </a:lnTo>
                  <a:lnTo>
                    <a:pt x="68" y="783"/>
                  </a:lnTo>
                  <a:lnTo>
                    <a:pt x="62" y="777"/>
                  </a:lnTo>
                  <a:lnTo>
                    <a:pt x="56" y="777"/>
                  </a:lnTo>
                  <a:lnTo>
                    <a:pt x="51" y="777"/>
                  </a:lnTo>
                  <a:lnTo>
                    <a:pt x="45" y="777"/>
                  </a:lnTo>
                  <a:lnTo>
                    <a:pt x="34" y="777"/>
                  </a:lnTo>
                  <a:lnTo>
                    <a:pt x="28" y="771"/>
                  </a:lnTo>
                  <a:lnTo>
                    <a:pt x="28" y="766"/>
                  </a:lnTo>
                  <a:lnTo>
                    <a:pt x="22" y="766"/>
                  </a:lnTo>
                  <a:lnTo>
                    <a:pt x="17" y="766"/>
                  </a:lnTo>
                  <a:close/>
                </a:path>
              </a:pathLst>
            </a:custGeom>
            <a:solidFill>
              <a:srgbClr val="00CC00"/>
            </a:solidFill>
            <a:ln w="25400">
              <a:solidFill>
                <a:srgbClr val="B4B4B4"/>
              </a:solidFill>
              <a:round/>
              <a:headEnd/>
              <a:tailEnd/>
            </a:ln>
          </p:spPr>
          <p:txBody>
            <a:bodyPr lIns="93296" tIns="46648" rIns="93296" bIns="46648"/>
            <a:lstStyle/>
            <a:p>
              <a:pPr>
                <a:defRPr/>
              </a:pPr>
              <a:endParaRPr lang="en-US" sz="1000" kern="0">
                <a:solidFill>
                  <a:prstClr val="black">
                    <a:lumMod val="65000"/>
                    <a:lumOff val="35000"/>
                  </a:prstClr>
                </a:solidFill>
              </a:endParaRPr>
            </a:p>
          </p:txBody>
        </p:sp>
        <p:sp>
          <p:nvSpPr>
            <p:cNvPr id="6" name="Freeform 4"/>
            <p:cNvSpPr>
              <a:spLocks/>
            </p:cNvSpPr>
            <p:nvPr/>
          </p:nvSpPr>
          <p:spPr bwMode="gray">
            <a:xfrm>
              <a:off x="4605974" y="734621"/>
              <a:ext cx="1551622" cy="1778174"/>
            </a:xfrm>
            <a:custGeom>
              <a:avLst/>
              <a:gdLst>
                <a:gd name="T0" fmla="*/ 2147483647 w 1105"/>
                <a:gd name="T1" fmla="*/ 2147483647 h 1333"/>
                <a:gd name="T2" fmla="*/ 2147483647 w 1105"/>
                <a:gd name="T3" fmla="*/ 2147483647 h 1333"/>
                <a:gd name="T4" fmla="*/ 2147483647 w 1105"/>
                <a:gd name="T5" fmla="*/ 2147483647 h 1333"/>
                <a:gd name="T6" fmla="*/ 2147483647 w 1105"/>
                <a:gd name="T7" fmla="*/ 2147483647 h 1333"/>
                <a:gd name="T8" fmla="*/ 2147483647 w 1105"/>
                <a:gd name="T9" fmla="*/ 2147483647 h 1333"/>
                <a:gd name="T10" fmla="*/ 2147483647 w 1105"/>
                <a:gd name="T11" fmla="*/ 2147483647 h 1333"/>
                <a:gd name="T12" fmla="*/ 2147483647 w 1105"/>
                <a:gd name="T13" fmla="*/ 2147483647 h 1333"/>
                <a:gd name="T14" fmla="*/ 2147483647 w 1105"/>
                <a:gd name="T15" fmla="*/ 2147483647 h 1333"/>
                <a:gd name="T16" fmla="*/ 2147483647 w 1105"/>
                <a:gd name="T17" fmla="*/ 2147483647 h 1333"/>
                <a:gd name="T18" fmla="*/ 2147483647 w 1105"/>
                <a:gd name="T19" fmla="*/ 2147483647 h 1333"/>
                <a:gd name="T20" fmla="*/ 2147483647 w 1105"/>
                <a:gd name="T21" fmla="*/ 2147483647 h 1333"/>
                <a:gd name="T22" fmla="*/ 2147483647 w 1105"/>
                <a:gd name="T23" fmla="*/ 2147483647 h 1333"/>
                <a:gd name="T24" fmla="*/ 2147483647 w 1105"/>
                <a:gd name="T25" fmla="*/ 2147483647 h 1333"/>
                <a:gd name="T26" fmla="*/ 2147483647 w 1105"/>
                <a:gd name="T27" fmla="*/ 2147483647 h 1333"/>
                <a:gd name="T28" fmla="*/ 2147483647 w 1105"/>
                <a:gd name="T29" fmla="*/ 2147483647 h 1333"/>
                <a:gd name="T30" fmla="*/ 2147483647 w 1105"/>
                <a:gd name="T31" fmla="*/ 2147483647 h 1333"/>
                <a:gd name="T32" fmla="*/ 2147483647 w 1105"/>
                <a:gd name="T33" fmla="*/ 2147483647 h 1333"/>
                <a:gd name="T34" fmla="*/ 2147483647 w 1105"/>
                <a:gd name="T35" fmla="*/ 2147483647 h 1333"/>
                <a:gd name="T36" fmla="*/ 2147483647 w 1105"/>
                <a:gd name="T37" fmla="*/ 2147483647 h 1333"/>
                <a:gd name="T38" fmla="*/ 2147483647 w 1105"/>
                <a:gd name="T39" fmla="*/ 2147483647 h 1333"/>
                <a:gd name="T40" fmla="*/ 2147483647 w 1105"/>
                <a:gd name="T41" fmla="*/ 2147483647 h 1333"/>
                <a:gd name="T42" fmla="*/ 2147483647 w 1105"/>
                <a:gd name="T43" fmla="*/ 2147483647 h 1333"/>
                <a:gd name="T44" fmla="*/ 2147483647 w 1105"/>
                <a:gd name="T45" fmla="*/ 2147483647 h 1333"/>
                <a:gd name="T46" fmla="*/ 2147483647 w 1105"/>
                <a:gd name="T47" fmla="*/ 2147483647 h 1333"/>
                <a:gd name="T48" fmla="*/ 2147483647 w 1105"/>
                <a:gd name="T49" fmla="*/ 2147483647 h 1333"/>
                <a:gd name="T50" fmla="*/ 2147483647 w 1105"/>
                <a:gd name="T51" fmla="*/ 2147483647 h 1333"/>
                <a:gd name="T52" fmla="*/ 2147483647 w 1105"/>
                <a:gd name="T53" fmla="*/ 2147483647 h 1333"/>
                <a:gd name="T54" fmla="*/ 2147483647 w 1105"/>
                <a:gd name="T55" fmla="*/ 2147483647 h 1333"/>
                <a:gd name="T56" fmla="*/ 2147483647 w 1105"/>
                <a:gd name="T57" fmla="*/ 2147483647 h 1333"/>
                <a:gd name="T58" fmla="*/ 2147483647 w 1105"/>
                <a:gd name="T59" fmla="*/ 2147483647 h 1333"/>
                <a:gd name="T60" fmla="*/ 2147483647 w 1105"/>
                <a:gd name="T61" fmla="*/ 2147483647 h 1333"/>
                <a:gd name="T62" fmla="*/ 2147483647 w 1105"/>
                <a:gd name="T63" fmla="*/ 0 h 1333"/>
                <a:gd name="T64" fmla="*/ 2147483647 w 1105"/>
                <a:gd name="T65" fmla="*/ 0 h 1333"/>
                <a:gd name="T66" fmla="*/ 2147483647 w 1105"/>
                <a:gd name="T67" fmla="*/ 2147483647 h 1333"/>
                <a:gd name="T68" fmla="*/ 2147483647 w 1105"/>
                <a:gd name="T69" fmla="*/ 2147483647 h 1333"/>
                <a:gd name="T70" fmla="*/ 2147483647 w 1105"/>
                <a:gd name="T71" fmla="*/ 2147483647 h 1333"/>
                <a:gd name="T72" fmla="*/ 2147483647 w 1105"/>
                <a:gd name="T73" fmla="*/ 2147483647 h 1333"/>
                <a:gd name="T74" fmla="*/ 2147483647 w 1105"/>
                <a:gd name="T75" fmla="*/ 2147483647 h 1333"/>
                <a:gd name="T76" fmla="*/ 2147483647 w 1105"/>
                <a:gd name="T77" fmla="*/ 2147483647 h 1333"/>
                <a:gd name="T78" fmla="*/ 2147483647 w 1105"/>
                <a:gd name="T79" fmla="*/ 2147483647 h 1333"/>
                <a:gd name="T80" fmla="*/ 2147483647 w 1105"/>
                <a:gd name="T81" fmla="*/ 2147483647 h 1333"/>
                <a:gd name="T82" fmla="*/ 2147483647 w 1105"/>
                <a:gd name="T83" fmla="*/ 2147483647 h 1333"/>
                <a:gd name="T84" fmla="*/ 2147483647 w 1105"/>
                <a:gd name="T85" fmla="*/ 2147483647 h 1333"/>
                <a:gd name="T86" fmla="*/ 2147483647 w 1105"/>
                <a:gd name="T87" fmla="*/ 2147483647 h 1333"/>
                <a:gd name="T88" fmla="*/ 2147483647 w 1105"/>
                <a:gd name="T89" fmla="*/ 2147483647 h 1333"/>
                <a:gd name="T90" fmla="*/ 2147483647 w 1105"/>
                <a:gd name="T91" fmla="*/ 2147483647 h 1333"/>
                <a:gd name="T92" fmla="*/ 2147483647 w 1105"/>
                <a:gd name="T93" fmla="*/ 2147483647 h 1333"/>
                <a:gd name="T94" fmla="*/ 2147483647 w 1105"/>
                <a:gd name="T95" fmla="*/ 2147483647 h 1333"/>
                <a:gd name="T96" fmla="*/ 2147483647 w 1105"/>
                <a:gd name="T97" fmla="*/ 2147483647 h 1333"/>
                <a:gd name="T98" fmla="*/ 2147483647 w 1105"/>
                <a:gd name="T99" fmla="*/ 2147483647 h 1333"/>
                <a:gd name="T100" fmla="*/ 2147483647 w 1105"/>
                <a:gd name="T101" fmla="*/ 2147483647 h 1333"/>
                <a:gd name="T102" fmla="*/ 2147483647 w 1105"/>
                <a:gd name="T103" fmla="*/ 2147483647 h 1333"/>
                <a:gd name="T104" fmla="*/ 2147483647 w 1105"/>
                <a:gd name="T105" fmla="*/ 2147483647 h 1333"/>
                <a:gd name="T106" fmla="*/ 2147483647 w 1105"/>
                <a:gd name="T107" fmla="*/ 2147483647 h 1333"/>
                <a:gd name="T108" fmla="*/ 2147483647 w 1105"/>
                <a:gd name="T109" fmla="*/ 2147483647 h 1333"/>
                <a:gd name="T110" fmla="*/ 2147483647 w 1105"/>
                <a:gd name="T111" fmla="*/ 2147483647 h 1333"/>
                <a:gd name="T112" fmla="*/ 2147483647 w 1105"/>
                <a:gd name="T113" fmla="*/ 2147483647 h 1333"/>
                <a:gd name="T114" fmla="*/ 2147483647 w 1105"/>
                <a:gd name="T115" fmla="*/ 2147483647 h 1333"/>
                <a:gd name="T116" fmla="*/ 2147483647 w 1105"/>
                <a:gd name="T117" fmla="*/ 2147483647 h 1333"/>
                <a:gd name="T118" fmla="*/ 2147483647 w 1105"/>
                <a:gd name="T119" fmla="*/ 2147483647 h 1333"/>
                <a:gd name="T120" fmla="*/ 2147483647 w 1105"/>
                <a:gd name="T121" fmla="*/ 2147483647 h 1333"/>
                <a:gd name="T122" fmla="*/ 2147483647 w 1105"/>
                <a:gd name="T123" fmla="*/ 2147483647 h 1333"/>
                <a:gd name="T124" fmla="*/ 2147483647 w 1105"/>
                <a:gd name="T125" fmla="*/ 2147483647 h 133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05"/>
                <a:gd name="T190" fmla="*/ 0 h 1333"/>
                <a:gd name="T191" fmla="*/ 1105 w 1105"/>
                <a:gd name="T192" fmla="*/ 1333 h 133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05" h="1333">
                  <a:moveTo>
                    <a:pt x="96" y="1321"/>
                  </a:moveTo>
                  <a:lnTo>
                    <a:pt x="96" y="1316"/>
                  </a:lnTo>
                  <a:lnTo>
                    <a:pt x="90" y="1316"/>
                  </a:lnTo>
                  <a:lnTo>
                    <a:pt x="90" y="1310"/>
                  </a:lnTo>
                  <a:lnTo>
                    <a:pt x="90" y="1304"/>
                  </a:lnTo>
                  <a:lnTo>
                    <a:pt x="90" y="1299"/>
                  </a:lnTo>
                  <a:lnTo>
                    <a:pt x="85" y="1299"/>
                  </a:lnTo>
                  <a:lnTo>
                    <a:pt x="85" y="1293"/>
                  </a:lnTo>
                  <a:lnTo>
                    <a:pt x="79" y="1293"/>
                  </a:lnTo>
                  <a:lnTo>
                    <a:pt x="79" y="1287"/>
                  </a:lnTo>
                  <a:lnTo>
                    <a:pt x="73" y="1287"/>
                  </a:lnTo>
                  <a:lnTo>
                    <a:pt x="68" y="1282"/>
                  </a:lnTo>
                  <a:lnTo>
                    <a:pt x="62" y="1282"/>
                  </a:lnTo>
                  <a:lnTo>
                    <a:pt x="51" y="1276"/>
                  </a:lnTo>
                  <a:lnTo>
                    <a:pt x="45" y="1270"/>
                  </a:lnTo>
                  <a:lnTo>
                    <a:pt x="39" y="1270"/>
                  </a:lnTo>
                  <a:lnTo>
                    <a:pt x="39" y="1265"/>
                  </a:lnTo>
                  <a:lnTo>
                    <a:pt x="34" y="1265"/>
                  </a:lnTo>
                  <a:lnTo>
                    <a:pt x="28" y="1259"/>
                  </a:lnTo>
                  <a:lnTo>
                    <a:pt x="22" y="1248"/>
                  </a:lnTo>
                  <a:lnTo>
                    <a:pt x="22" y="1242"/>
                  </a:lnTo>
                  <a:lnTo>
                    <a:pt x="17" y="1236"/>
                  </a:lnTo>
                  <a:lnTo>
                    <a:pt x="11" y="1236"/>
                  </a:lnTo>
                  <a:lnTo>
                    <a:pt x="11" y="1231"/>
                  </a:lnTo>
                  <a:lnTo>
                    <a:pt x="5" y="1231"/>
                  </a:lnTo>
                  <a:lnTo>
                    <a:pt x="0" y="1231"/>
                  </a:lnTo>
                  <a:lnTo>
                    <a:pt x="0" y="1225"/>
                  </a:lnTo>
                  <a:lnTo>
                    <a:pt x="0" y="1219"/>
                  </a:lnTo>
                  <a:lnTo>
                    <a:pt x="5" y="1219"/>
                  </a:lnTo>
                  <a:lnTo>
                    <a:pt x="5" y="1214"/>
                  </a:lnTo>
                  <a:lnTo>
                    <a:pt x="5" y="1208"/>
                  </a:lnTo>
                  <a:lnTo>
                    <a:pt x="11" y="1202"/>
                  </a:lnTo>
                  <a:lnTo>
                    <a:pt x="11" y="1197"/>
                  </a:lnTo>
                  <a:lnTo>
                    <a:pt x="17" y="1197"/>
                  </a:lnTo>
                  <a:lnTo>
                    <a:pt x="22" y="1197"/>
                  </a:lnTo>
                  <a:lnTo>
                    <a:pt x="22" y="1191"/>
                  </a:lnTo>
                  <a:lnTo>
                    <a:pt x="28" y="1191"/>
                  </a:lnTo>
                  <a:lnTo>
                    <a:pt x="34" y="1185"/>
                  </a:lnTo>
                  <a:lnTo>
                    <a:pt x="39" y="1185"/>
                  </a:lnTo>
                  <a:lnTo>
                    <a:pt x="39" y="1179"/>
                  </a:lnTo>
                  <a:lnTo>
                    <a:pt x="45" y="1179"/>
                  </a:lnTo>
                  <a:lnTo>
                    <a:pt x="51" y="1179"/>
                  </a:lnTo>
                  <a:lnTo>
                    <a:pt x="51" y="1174"/>
                  </a:lnTo>
                  <a:lnTo>
                    <a:pt x="56" y="1174"/>
                  </a:lnTo>
                  <a:lnTo>
                    <a:pt x="62" y="1168"/>
                  </a:lnTo>
                  <a:lnTo>
                    <a:pt x="62" y="1162"/>
                  </a:lnTo>
                  <a:lnTo>
                    <a:pt x="56" y="1162"/>
                  </a:lnTo>
                  <a:lnTo>
                    <a:pt x="56" y="1157"/>
                  </a:lnTo>
                  <a:lnTo>
                    <a:pt x="51" y="1157"/>
                  </a:lnTo>
                  <a:lnTo>
                    <a:pt x="51" y="1151"/>
                  </a:lnTo>
                  <a:lnTo>
                    <a:pt x="45" y="1151"/>
                  </a:lnTo>
                  <a:lnTo>
                    <a:pt x="39" y="1151"/>
                  </a:lnTo>
                  <a:lnTo>
                    <a:pt x="34" y="1145"/>
                  </a:lnTo>
                  <a:lnTo>
                    <a:pt x="22" y="1140"/>
                  </a:lnTo>
                  <a:lnTo>
                    <a:pt x="17" y="1140"/>
                  </a:lnTo>
                  <a:lnTo>
                    <a:pt x="11" y="1140"/>
                  </a:lnTo>
                  <a:lnTo>
                    <a:pt x="5" y="1140"/>
                  </a:lnTo>
                  <a:lnTo>
                    <a:pt x="5" y="1134"/>
                  </a:lnTo>
                  <a:lnTo>
                    <a:pt x="5" y="1128"/>
                  </a:lnTo>
                  <a:lnTo>
                    <a:pt x="5" y="1123"/>
                  </a:lnTo>
                  <a:lnTo>
                    <a:pt x="11" y="1123"/>
                  </a:lnTo>
                  <a:lnTo>
                    <a:pt x="11" y="1117"/>
                  </a:lnTo>
                  <a:lnTo>
                    <a:pt x="22" y="1117"/>
                  </a:lnTo>
                  <a:lnTo>
                    <a:pt x="22" y="1111"/>
                  </a:lnTo>
                  <a:lnTo>
                    <a:pt x="28" y="1111"/>
                  </a:lnTo>
                  <a:lnTo>
                    <a:pt x="34" y="1111"/>
                  </a:lnTo>
                  <a:lnTo>
                    <a:pt x="39" y="1106"/>
                  </a:lnTo>
                  <a:lnTo>
                    <a:pt x="45" y="1100"/>
                  </a:lnTo>
                  <a:lnTo>
                    <a:pt x="45" y="1094"/>
                  </a:lnTo>
                  <a:lnTo>
                    <a:pt x="51" y="1094"/>
                  </a:lnTo>
                  <a:lnTo>
                    <a:pt x="51" y="1089"/>
                  </a:lnTo>
                  <a:lnTo>
                    <a:pt x="51" y="1083"/>
                  </a:lnTo>
                  <a:lnTo>
                    <a:pt x="51" y="1077"/>
                  </a:lnTo>
                  <a:lnTo>
                    <a:pt x="45" y="1066"/>
                  </a:lnTo>
                  <a:lnTo>
                    <a:pt x="45" y="1060"/>
                  </a:lnTo>
                  <a:lnTo>
                    <a:pt x="45" y="1055"/>
                  </a:lnTo>
                  <a:lnTo>
                    <a:pt x="45" y="1049"/>
                  </a:lnTo>
                  <a:lnTo>
                    <a:pt x="51" y="1038"/>
                  </a:lnTo>
                  <a:lnTo>
                    <a:pt x="51" y="1032"/>
                  </a:lnTo>
                  <a:lnTo>
                    <a:pt x="51" y="1026"/>
                  </a:lnTo>
                  <a:lnTo>
                    <a:pt x="56" y="1026"/>
                  </a:lnTo>
                  <a:lnTo>
                    <a:pt x="56" y="1021"/>
                  </a:lnTo>
                  <a:lnTo>
                    <a:pt x="62" y="1015"/>
                  </a:lnTo>
                  <a:lnTo>
                    <a:pt x="68" y="1009"/>
                  </a:lnTo>
                  <a:lnTo>
                    <a:pt x="73" y="1009"/>
                  </a:lnTo>
                  <a:lnTo>
                    <a:pt x="79" y="1004"/>
                  </a:lnTo>
                  <a:lnTo>
                    <a:pt x="90" y="1004"/>
                  </a:lnTo>
                  <a:lnTo>
                    <a:pt x="90" y="998"/>
                  </a:lnTo>
                  <a:lnTo>
                    <a:pt x="96" y="998"/>
                  </a:lnTo>
                  <a:lnTo>
                    <a:pt x="107" y="998"/>
                  </a:lnTo>
                  <a:lnTo>
                    <a:pt x="107" y="992"/>
                  </a:lnTo>
                  <a:lnTo>
                    <a:pt x="113" y="992"/>
                  </a:lnTo>
                  <a:lnTo>
                    <a:pt x="119" y="992"/>
                  </a:lnTo>
                  <a:lnTo>
                    <a:pt x="124" y="987"/>
                  </a:lnTo>
                  <a:lnTo>
                    <a:pt x="130" y="987"/>
                  </a:lnTo>
                  <a:lnTo>
                    <a:pt x="136" y="987"/>
                  </a:lnTo>
                  <a:lnTo>
                    <a:pt x="136" y="981"/>
                  </a:lnTo>
                  <a:lnTo>
                    <a:pt x="141" y="981"/>
                  </a:lnTo>
                  <a:lnTo>
                    <a:pt x="147" y="981"/>
                  </a:lnTo>
                  <a:lnTo>
                    <a:pt x="141" y="981"/>
                  </a:lnTo>
                  <a:lnTo>
                    <a:pt x="147" y="981"/>
                  </a:lnTo>
                  <a:lnTo>
                    <a:pt x="153" y="981"/>
                  </a:lnTo>
                  <a:lnTo>
                    <a:pt x="153" y="975"/>
                  </a:lnTo>
                  <a:lnTo>
                    <a:pt x="158" y="975"/>
                  </a:lnTo>
                  <a:lnTo>
                    <a:pt x="164" y="970"/>
                  </a:lnTo>
                  <a:lnTo>
                    <a:pt x="170" y="970"/>
                  </a:lnTo>
                  <a:lnTo>
                    <a:pt x="170" y="964"/>
                  </a:lnTo>
                  <a:lnTo>
                    <a:pt x="170" y="958"/>
                  </a:lnTo>
                  <a:lnTo>
                    <a:pt x="175" y="958"/>
                  </a:lnTo>
                  <a:lnTo>
                    <a:pt x="181" y="958"/>
                  </a:lnTo>
                  <a:lnTo>
                    <a:pt x="187" y="953"/>
                  </a:lnTo>
                  <a:lnTo>
                    <a:pt x="192" y="953"/>
                  </a:lnTo>
                  <a:lnTo>
                    <a:pt x="192" y="947"/>
                  </a:lnTo>
                  <a:lnTo>
                    <a:pt x="192" y="941"/>
                  </a:lnTo>
                  <a:lnTo>
                    <a:pt x="198" y="941"/>
                  </a:lnTo>
                  <a:lnTo>
                    <a:pt x="198" y="930"/>
                  </a:lnTo>
                  <a:lnTo>
                    <a:pt x="198" y="924"/>
                  </a:lnTo>
                  <a:lnTo>
                    <a:pt x="192" y="924"/>
                  </a:lnTo>
                  <a:lnTo>
                    <a:pt x="192" y="913"/>
                  </a:lnTo>
                  <a:lnTo>
                    <a:pt x="187" y="902"/>
                  </a:lnTo>
                  <a:lnTo>
                    <a:pt x="187" y="896"/>
                  </a:lnTo>
                  <a:lnTo>
                    <a:pt x="187" y="885"/>
                  </a:lnTo>
                  <a:lnTo>
                    <a:pt x="192" y="885"/>
                  </a:lnTo>
                  <a:lnTo>
                    <a:pt x="192" y="873"/>
                  </a:lnTo>
                  <a:lnTo>
                    <a:pt x="198" y="873"/>
                  </a:lnTo>
                  <a:lnTo>
                    <a:pt x="198" y="868"/>
                  </a:lnTo>
                  <a:lnTo>
                    <a:pt x="209" y="862"/>
                  </a:lnTo>
                  <a:lnTo>
                    <a:pt x="215" y="862"/>
                  </a:lnTo>
                  <a:lnTo>
                    <a:pt x="215" y="856"/>
                  </a:lnTo>
                  <a:lnTo>
                    <a:pt x="221" y="856"/>
                  </a:lnTo>
                  <a:lnTo>
                    <a:pt x="221" y="851"/>
                  </a:lnTo>
                  <a:lnTo>
                    <a:pt x="221" y="845"/>
                  </a:lnTo>
                  <a:lnTo>
                    <a:pt x="221" y="839"/>
                  </a:lnTo>
                  <a:lnTo>
                    <a:pt x="226" y="834"/>
                  </a:lnTo>
                  <a:lnTo>
                    <a:pt x="226" y="828"/>
                  </a:lnTo>
                  <a:lnTo>
                    <a:pt x="226" y="822"/>
                  </a:lnTo>
                  <a:lnTo>
                    <a:pt x="232" y="817"/>
                  </a:lnTo>
                  <a:lnTo>
                    <a:pt x="238" y="811"/>
                  </a:lnTo>
                  <a:lnTo>
                    <a:pt x="238" y="805"/>
                  </a:lnTo>
                  <a:lnTo>
                    <a:pt x="243" y="805"/>
                  </a:lnTo>
                  <a:lnTo>
                    <a:pt x="249" y="805"/>
                  </a:lnTo>
                  <a:lnTo>
                    <a:pt x="255" y="800"/>
                  </a:lnTo>
                  <a:lnTo>
                    <a:pt x="260" y="794"/>
                  </a:lnTo>
                  <a:lnTo>
                    <a:pt x="266" y="788"/>
                  </a:lnTo>
                  <a:lnTo>
                    <a:pt x="266" y="783"/>
                  </a:lnTo>
                  <a:lnTo>
                    <a:pt x="260" y="777"/>
                  </a:lnTo>
                  <a:lnTo>
                    <a:pt x="255" y="771"/>
                  </a:lnTo>
                  <a:lnTo>
                    <a:pt x="255" y="766"/>
                  </a:lnTo>
                  <a:lnTo>
                    <a:pt x="255" y="760"/>
                  </a:lnTo>
                  <a:lnTo>
                    <a:pt x="243" y="749"/>
                  </a:lnTo>
                  <a:lnTo>
                    <a:pt x="238" y="743"/>
                  </a:lnTo>
                  <a:lnTo>
                    <a:pt x="238" y="737"/>
                  </a:lnTo>
                  <a:lnTo>
                    <a:pt x="232" y="737"/>
                  </a:lnTo>
                  <a:lnTo>
                    <a:pt x="226" y="737"/>
                  </a:lnTo>
                  <a:lnTo>
                    <a:pt x="221" y="737"/>
                  </a:lnTo>
                  <a:lnTo>
                    <a:pt x="221" y="732"/>
                  </a:lnTo>
                  <a:lnTo>
                    <a:pt x="215" y="732"/>
                  </a:lnTo>
                  <a:lnTo>
                    <a:pt x="215" y="726"/>
                  </a:lnTo>
                  <a:lnTo>
                    <a:pt x="215" y="720"/>
                  </a:lnTo>
                  <a:lnTo>
                    <a:pt x="215" y="709"/>
                  </a:lnTo>
                  <a:lnTo>
                    <a:pt x="215" y="703"/>
                  </a:lnTo>
                  <a:lnTo>
                    <a:pt x="221" y="703"/>
                  </a:lnTo>
                  <a:lnTo>
                    <a:pt x="226" y="698"/>
                  </a:lnTo>
                  <a:lnTo>
                    <a:pt x="226" y="692"/>
                  </a:lnTo>
                  <a:lnTo>
                    <a:pt x="232" y="692"/>
                  </a:lnTo>
                  <a:lnTo>
                    <a:pt x="232" y="686"/>
                  </a:lnTo>
                  <a:lnTo>
                    <a:pt x="238" y="681"/>
                  </a:lnTo>
                  <a:lnTo>
                    <a:pt x="238" y="675"/>
                  </a:lnTo>
                  <a:lnTo>
                    <a:pt x="238" y="664"/>
                  </a:lnTo>
                  <a:lnTo>
                    <a:pt x="238" y="652"/>
                  </a:lnTo>
                  <a:lnTo>
                    <a:pt x="238" y="641"/>
                  </a:lnTo>
                  <a:lnTo>
                    <a:pt x="238" y="630"/>
                  </a:lnTo>
                  <a:lnTo>
                    <a:pt x="238" y="618"/>
                  </a:lnTo>
                  <a:lnTo>
                    <a:pt x="238" y="607"/>
                  </a:lnTo>
                  <a:lnTo>
                    <a:pt x="238" y="590"/>
                  </a:lnTo>
                  <a:lnTo>
                    <a:pt x="243" y="579"/>
                  </a:lnTo>
                  <a:lnTo>
                    <a:pt x="243" y="573"/>
                  </a:lnTo>
                  <a:lnTo>
                    <a:pt x="249" y="567"/>
                  </a:lnTo>
                  <a:lnTo>
                    <a:pt x="249" y="556"/>
                  </a:lnTo>
                  <a:lnTo>
                    <a:pt x="255" y="533"/>
                  </a:lnTo>
                  <a:lnTo>
                    <a:pt x="255" y="522"/>
                  </a:lnTo>
                  <a:lnTo>
                    <a:pt x="255" y="511"/>
                  </a:lnTo>
                  <a:lnTo>
                    <a:pt x="255" y="505"/>
                  </a:lnTo>
                  <a:lnTo>
                    <a:pt x="249" y="494"/>
                  </a:lnTo>
                  <a:lnTo>
                    <a:pt x="243" y="488"/>
                  </a:lnTo>
                  <a:lnTo>
                    <a:pt x="243" y="482"/>
                  </a:lnTo>
                  <a:lnTo>
                    <a:pt x="243" y="477"/>
                  </a:lnTo>
                  <a:lnTo>
                    <a:pt x="243" y="471"/>
                  </a:lnTo>
                  <a:lnTo>
                    <a:pt x="238" y="471"/>
                  </a:lnTo>
                  <a:lnTo>
                    <a:pt x="238" y="465"/>
                  </a:lnTo>
                  <a:lnTo>
                    <a:pt x="238" y="460"/>
                  </a:lnTo>
                  <a:lnTo>
                    <a:pt x="243" y="460"/>
                  </a:lnTo>
                  <a:lnTo>
                    <a:pt x="243" y="454"/>
                  </a:lnTo>
                  <a:lnTo>
                    <a:pt x="249" y="454"/>
                  </a:lnTo>
                  <a:lnTo>
                    <a:pt x="255" y="448"/>
                  </a:lnTo>
                  <a:lnTo>
                    <a:pt x="260" y="443"/>
                  </a:lnTo>
                  <a:lnTo>
                    <a:pt x="266" y="443"/>
                  </a:lnTo>
                  <a:lnTo>
                    <a:pt x="272" y="443"/>
                  </a:lnTo>
                  <a:lnTo>
                    <a:pt x="272" y="437"/>
                  </a:lnTo>
                  <a:lnTo>
                    <a:pt x="277" y="437"/>
                  </a:lnTo>
                  <a:lnTo>
                    <a:pt x="283" y="431"/>
                  </a:lnTo>
                  <a:lnTo>
                    <a:pt x="283" y="426"/>
                  </a:lnTo>
                  <a:lnTo>
                    <a:pt x="289" y="426"/>
                  </a:lnTo>
                  <a:lnTo>
                    <a:pt x="289" y="420"/>
                  </a:lnTo>
                  <a:lnTo>
                    <a:pt x="289" y="414"/>
                  </a:lnTo>
                  <a:lnTo>
                    <a:pt x="294" y="414"/>
                  </a:lnTo>
                  <a:lnTo>
                    <a:pt x="294" y="403"/>
                  </a:lnTo>
                  <a:lnTo>
                    <a:pt x="300" y="403"/>
                  </a:lnTo>
                  <a:lnTo>
                    <a:pt x="300" y="397"/>
                  </a:lnTo>
                  <a:lnTo>
                    <a:pt x="306" y="392"/>
                  </a:lnTo>
                  <a:lnTo>
                    <a:pt x="311" y="386"/>
                  </a:lnTo>
                  <a:lnTo>
                    <a:pt x="317" y="380"/>
                  </a:lnTo>
                  <a:lnTo>
                    <a:pt x="317" y="375"/>
                  </a:lnTo>
                  <a:lnTo>
                    <a:pt x="317" y="369"/>
                  </a:lnTo>
                  <a:lnTo>
                    <a:pt x="317" y="363"/>
                  </a:lnTo>
                  <a:lnTo>
                    <a:pt x="311" y="358"/>
                  </a:lnTo>
                  <a:lnTo>
                    <a:pt x="306" y="358"/>
                  </a:lnTo>
                  <a:lnTo>
                    <a:pt x="306" y="352"/>
                  </a:lnTo>
                  <a:lnTo>
                    <a:pt x="306" y="346"/>
                  </a:lnTo>
                  <a:lnTo>
                    <a:pt x="300" y="346"/>
                  </a:lnTo>
                  <a:lnTo>
                    <a:pt x="300" y="341"/>
                  </a:lnTo>
                  <a:lnTo>
                    <a:pt x="294" y="341"/>
                  </a:lnTo>
                  <a:lnTo>
                    <a:pt x="294" y="335"/>
                  </a:lnTo>
                  <a:lnTo>
                    <a:pt x="289" y="335"/>
                  </a:lnTo>
                  <a:lnTo>
                    <a:pt x="289" y="329"/>
                  </a:lnTo>
                  <a:lnTo>
                    <a:pt x="289" y="324"/>
                  </a:lnTo>
                  <a:lnTo>
                    <a:pt x="283" y="324"/>
                  </a:lnTo>
                  <a:lnTo>
                    <a:pt x="277" y="318"/>
                  </a:lnTo>
                  <a:lnTo>
                    <a:pt x="277" y="312"/>
                  </a:lnTo>
                  <a:lnTo>
                    <a:pt x="272" y="307"/>
                  </a:lnTo>
                  <a:lnTo>
                    <a:pt x="272" y="301"/>
                  </a:lnTo>
                  <a:lnTo>
                    <a:pt x="272" y="295"/>
                  </a:lnTo>
                  <a:lnTo>
                    <a:pt x="272" y="290"/>
                  </a:lnTo>
                  <a:lnTo>
                    <a:pt x="277" y="290"/>
                  </a:lnTo>
                  <a:lnTo>
                    <a:pt x="277" y="284"/>
                  </a:lnTo>
                  <a:lnTo>
                    <a:pt x="283" y="273"/>
                  </a:lnTo>
                  <a:lnTo>
                    <a:pt x="289" y="267"/>
                  </a:lnTo>
                  <a:lnTo>
                    <a:pt x="289" y="255"/>
                  </a:lnTo>
                  <a:lnTo>
                    <a:pt x="289" y="250"/>
                  </a:lnTo>
                  <a:lnTo>
                    <a:pt x="289" y="233"/>
                  </a:lnTo>
                  <a:lnTo>
                    <a:pt x="289" y="227"/>
                  </a:lnTo>
                  <a:lnTo>
                    <a:pt x="294" y="227"/>
                  </a:lnTo>
                  <a:lnTo>
                    <a:pt x="300" y="227"/>
                  </a:lnTo>
                  <a:lnTo>
                    <a:pt x="306" y="227"/>
                  </a:lnTo>
                  <a:lnTo>
                    <a:pt x="311" y="233"/>
                  </a:lnTo>
                  <a:lnTo>
                    <a:pt x="317" y="233"/>
                  </a:lnTo>
                  <a:lnTo>
                    <a:pt x="323" y="233"/>
                  </a:lnTo>
                  <a:lnTo>
                    <a:pt x="329" y="233"/>
                  </a:lnTo>
                  <a:lnTo>
                    <a:pt x="323" y="227"/>
                  </a:lnTo>
                  <a:lnTo>
                    <a:pt x="329" y="227"/>
                  </a:lnTo>
                  <a:lnTo>
                    <a:pt x="334" y="227"/>
                  </a:lnTo>
                  <a:lnTo>
                    <a:pt x="329" y="227"/>
                  </a:lnTo>
                  <a:lnTo>
                    <a:pt x="329" y="221"/>
                  </a:lnTo>
                  <a:lnTo>
                    <a:pt x="334" y="221"/>
                  </a:lnTo>
                  <a:lnTo>
                    <a:pt x="329" y="221"/>
                  </a:lnTo>
                  <a:lnTo>
                    <a:pt x="334" y="216"/>
                  </a:lnTo>
                  <a:lnTo>
                    <a:pt x="329" y="216"/>
                  </a:lnTo>
                  <a:lnTo>
                    <a:pt x="329" y="210"/>
                  </a:lnTo>
                  <a:lnTo>
                    <a:pt x="334" y="204"/>
                  </a:lnTo>
                  <a:lnTo>
                    <a:pt x="340" y="204"/>
                  </a:lnTo>
                  <a:lnTo>
                    <a:pt x="346" y="204"/>
                  </a:lnTo>
                  <a:lnTo>
                    <a:pt x="351" y="204"/>
                  </a:lnTo>
                  <a:lnTo>
                    <a:pt x="351" y="199"/>
                  </a:lnTo>
                  <a:lnTo>
                    <a:pt x="351" y="193"/>
                  </a:lnTo>
                  <a:lnTo>
                    <a:pt x="357" y="187"/>
                  </a:lnTo>
                  <a:lnTo>
                    <a:pt x="351" y="187"/>
                  </a:lnTo>
                  <a:lnTo>
                    <a:pt x="346" y="187"/>
                  </a:lnTo>
                  <a:lnTo>
                    <a:pt x="346" y="182"/>
                  </a:lnTo>
                  <a:lnTo>
                    <a:pt x="351" y="182"/>
                  </a:lnTo>
                  <a:lnTo>
                    <a:pt x="351" y="176"/>
                  </a:lnTo>
                  <a:lnTo>
                    <a:pt x="357" y="176"/>
                  </a:lnTo>
                  <a:lnTo>
                    <a:pt x="357" y="170"/>
                  </a:lnTo>
                  <a:lnTo>
                    <a:pt x="357" y="165"/>
                  </a:lnTo>
                  <a:lnTo>
                    <a:pt x="363" y="165"/>
                  </a:lnTo>
                  <a:lnTo>
                    <a:pt x="363" y="159"/>
                  </a:lnTo>
                  <a:lnTo>
                    <a:pt x="363" y="165"/>
                  </a:lnTo>
                  <a:lnTo>
                    <a:pt x="363" y="159"/>
                  </a:lnTo>
                  <a:lnTo>
                    <a:pt x="368" y="159"/>
                  </a:lnTo>
                  <a:lnTo>
                    <a:pt x="374" y="159"/>
                  </a:lnTo>
                  <a:lnTo>
                    <a:pt x="380" y="159"/>
                  </a:lnTo>
                  <a:lnTo>
                    <a:pt x="380" y="148"/>
                  </a:lnTo>
                  <a:lnTo>
                    <a:pt x="385" y="148"/>
                  </a:lnTo>
                  <a:lnTo>
                    <a:pt x="385" y="153"/>
                  </a:lnTo>
                  <a:lnTo>
                    <a:pt x="391" y="153"/>
                  </a:lnTo>
                  <a:lnTo>
                    <a:pt x="391" y="159"/>
                  </a:lnTo>
                  <a:lnTo>
                    <a:pt x="397" y="159"/>
                  </a:lnTo>
                  <a:lnTo>
                    <a:pt x="402" y="153"/>
                  </a:lnTo>
                  <a:lnTo>
                    <a:pt x="402" y="148"/>
                  </a:lnTo>
                  <a:lnTo>
                    <a:pt x="402" y="142"/>
                  </a:lnTo>
                  <a:lnTo>
                    <a:pt x="402" y="148"/>
                  </a:lnTo>
                  <a:lnTo>
                    <a:pt x="402" y="142"/>
                  </a:lnTo>
                  <a:lnTo>
                    <a:pt x="408" y="148"/>
                  </a:lnTo>
                  <a:lnTo>
                    <a:pt x="414" y="148"/>
                  </a:lnTo>
                  <a:lnTo>
                    <a:pt x="408" y="142"/>
                  </a:lnTo>
                  <a:lnTo>
                    <a:pt x="414" y="142"/>
                  </a:lnTo>
                  <a:lnTo>
                    <a:pt x="419" y="142"/>
                  </a:lnTo>
                  <a:lnTo>
                    <a:pt x="419" y="136"/>
                  </a:lnTo>
                  <a:lnTo>
                    <a:pt x="425" y="131"/>
                  </a:lnTo>
                  <a:lnTo>
                    <a:pt x="431" y="131"/>
                  </a:lnTo>
                  <a:lnTo>
                    <a:pt x="436" y="125"/>
                  </a:lnTo>
                  <a:lnTo>
                    <a:pt x="436" y="119"/>
                  </a:lnTo>
                  <a:lnTo>
                    <a:pt x="442" y="119"/>
                  </a:lnTo>
                  <a:lnTo>
                    <a:pt x="448" y="114"/>
                  </a:lnTo>
                  <a:lnTo>
                    <a:pt x="453" y="114"/>
                  </a:lnTo>
                  <a:lnTo>
                    <a:pt x="448" y="108"/>
                  </a:lnTo>
                  <a:lnTo>
                    <a:pt x="442" y="108"/>
                  </a:lnTo>
                  <a:lnTo>
                    <a:pt x="442" y="102"/>
                  </a:lnTo>
                  <a:lnTo>
                    <a:pt x="448" y="102"/>
                  </a:lnTo>
                  <a:lnTo>
                    <a:pt x="453" y="102"/>
                  </a:lnTo>
                  <a:lnTo>
                    <a:pt x="453" y="97"/>
                  </a:lnTo>
                  <a:lnTo>
                    <a:pt x="453" y="102"/>
                  </a:lnTo>
                  <a:lnTo>
                    <a:pt x="459" y="102"/>
                  </a:lnTo>
                  <a:lnTo>
                    <a:pt x="459" y="97"/>
                  </a:lnTo>
                  <a:lnTo>
                    <a:pt x="459" y="91"/>
                  </a:lnTo>
                  <a:lnTo>
                    <a:pt x="453" y="91"/>
                  </a:lnTo>
                  <a:lnTo>
                    <a:pt x="459" y="85"/>
                  </a:lnTo>
                  <a:lnTo>
                    <a:pt x="465" y="85"/>
                  </a:lnTo>
                  <a:lnTo>
                    <a:pt x="465" y="91"/>
                  </a:lnTo>
                  <a:lnTo>
                    <a:pt x="465" y="85"/>
                  </a:lnTo>
                  <a:lnTo>
                    <a:pt x="465" y="80"/>
                  </a:lnTo>
                  <a:lnTo>
                    <a:pt x="470" y="80"/>
                  </a:lnTo>
                  <a:lnTo>
                    <a:pt x="470" y="85"/>
                  </a:lnTo>
                  <a:lnTo>
                    <a:pt x="476" y="85"/>
                  </a:lnTo>
                  <a:lnTo>
                    <a:pt x="482" y="85"/>
                  </a:lnTo>
                  <a:lnTo>
                    <a:pt x="487" y="80"/>
                  </a:lnTo>
                  <a:lnTo>
                    <a:pt x="493" y="80"/>
                  </a:lnTo>
                  <a:lnTo>
                    <a:pt x="493" y="74"/>
                  </a:lnTo>
                  <a:lnTo>
                    <a:pt x="493" y="80"/>
                  </a:lnTo>
                  <a:lnTo>
                    <a:pt x="499" y="74"/>
                  </a:lnTo>
                  <a:lnTo>
                    <a:pt x="504" y="74"/>
                  </a:lnTo>
                  <a:lnTo>
                    <a:pt x="510" y="74"/>
                  </a:lnTo>
                  <a:lnTo>
                    <a:pt x="516" y="74"/>
                  </a:lnTo>
                  <a:lnTo>
                    <a:pt x="521" y="68"/>
                  </a:lnTo>
                  <a:lnTo>
                    <a:pt x="527" y="68"/>
                  </a:lnTo>
                  <a:lnTo>
                    <a:pt x="527" y="63"/>
                  </a:lnTo>
                  <a:lnTo>
                    <a:pt x="533" y="63"/>
                  </a:lnTo>
                  <a:lnTo>
                    <a:pt x="538" y="63"/>
                  </a:lnTo>
                  <a:lnTo>
                    <a:pt x="538" y="68"/>
                  </a:lnTo>
                  <a:lnTo>
                    <a:pt x="533" y="68"/>
                  </a:lnTo>
                  <a:lnTo>
                    <a:pt x="538" y="68"/>
                  </a:lnTo>
                  <a:lnTo>
                    <a:pt x="544" y="74"/>
                  </a:lnTo>
                  <a:lnTo>
                    <a:pt x="544" y="68"/>
                  </a:lnTo>
                  <a:lnTo>
                    <a:pt x="544" y="63"/>
                  </a:lnTo>
                  <a:lnTo>
                    <a:pt x="555" y="68"/>
                  </a:lnTo>
                  <a:lnTo>
                    <a:pt x="555" y="74"/>
                  </a:lnTo>
                  <a:lnTo>
                    <a:pt x="555" y="68"/>
                  </a:lnTo>
                  <a:lnTo>
                    <a:pt x="555" y="63"/>
                  </a:lnTo>
                  <a:lnTo>
                    <a:pt x="561" y="63"/>
                  </a:lnTo>
                  <a:lnTo>
                    <a:pt x="561" y="68"/>
                  </a:lnTo>
                  <a:lnTo>
                    <a:pt x="561" y="74"/>
                  </a:lnTo>
                  <a:lnTo>
                    <a:pt x="567" y="74"/>
                  </a:lnTo>
                  <a:lnTo>
                    <a:pt x="567" y="68"/>
                  </a:lnTo>
                  <a:lnTo>
                    <a:pt x="572" y="68"/>
                  </a:lnTo>
                  <a:lnTo>
                    <a:pt x="578" y="68"/>
                  </a:lnTo>
                  <a:lnTo>
                    <a:pt x="578" y="74"/>
                  </a:lnTo>
                  <a:lnTo>
                    <a:pt x="578" y="68"/>
                  </a:lnTo>
                  <a:lnTo>
                    <a:pt x="584" y="68"/>
                  </a:lnTo>
                  <a:lnTo>
                    <a:pt x="584" y="63"/>
                  </a:lnTo>
                  <a:lnTo>
                    <a:pt x="584" y="57"/>
                  </a:lnTo>
                  <a:lnTo>
                    <a:pt x="589" y="63"/>
                  </a:lnTo>
                  <a:lnTo>
                    <a:pt x="589" y="57"/>
                  </a:lnTo>
                  <a:lnTo>
                    <a:pt x="595" y="57"/>
                  </a:lnTo>
                  <a:lnTo>
                    <a:pt x="595" y="51"/>
                  </a:lnTo>
                  <a:lnTo>
                    <a:pt x="589" y="51"/>
                  </a:lnTo>
                  <a:lnTo>
                    <a:pt x="595" y="46"/>
                  </a:lnTo>
                  <a:lnTo>
                    <a:pt x="601" y="51"/>
                  </a:lnTo>
                  <a:lnTo>
                    <a:pt x="601" y="46"/>
                  </a:lnTo>
                  <a:lnTo>
                    <a:pt x="601" y="40"/>
                  </a:lnTo>
                  <a:lnTo>
                    <a:pt x="595" y="40"/>
                  </a:lnTo>
                  <a:lnTo>
                    <a:pt x="595" y="34"/>
                  </a:lnTo>
                  <a:lnTo>
                    <a:pt x="601" y="34"/>
                  </a:lnTo>
                  <a:lnTo>
                    <a:pt x="601" y="29"/>
                  </a:lnTo>
                  <a:lnTo>
                    <a:pt x="606" y="29"/>
                  </a:lnTo>
                  <a:lnTo>
                    <a:pt x="606" y="23"/>
                  </a:lnTo>
                  <a:lnTo>
                    <a:pt x="612" y="23"/>
                  </a:lnTo>
                  <a:lnTo>
                    <a:pt x="618" y="17"/>
                  </a:lnTo>
                  <a:lnTo>
                    <a:pt x="612" y="17"/>
                  </a:lnTo>
                  <a:lnTo>
                    <a:pt x="618" y="17"/>
                  </a:lnTo>
                  <a:lnTo>
                    <a:pt x="618" y="12"/>
                  </a:lnTo>
                  <a:lnTo>
                    <a:pt x="623" y="12"/>
                  </a:lnTo>
                  <a:lnTo>
                    <a:pt x="629" y="12"/>
                  </a:lnTo>
                  <a:lnTo>
                    <a:pt x="629" y="6"/>
                  </a:lnTo>
                  <a:lnTo>
                    <a:pt x="635" y="6"/>
                  </a:lnTo>
                  <a:lnTo>
                    <a:pt x="635" y="0"/>
                  </a:lnTo>
                  <a:lnTo>
                    <a:pt x="640" y="0"/>
                  </a:lnTo>
                  <a:lnTo>
                    <a:pt x="640" y="6"/>
                  </a:lnTo>
                  <a:lnTo>
                    <a:pt x="646" y="0"/>
                  </a:lnTo>
                  <a:lnTo>
                    <a:pt x="652" y="0"/>
                  </a:lnTo>
                  <a:lnTo>
                    <a:pt x="652" y="6"/>
                  </a:lnTo>
                  <a:lnTo>
                    <a:pt x="657" y="6"/>
                  </a:lnTo>
                  <a:lnTo>
                    <a:pt x="663" y="6"/>
                  </a:lnTo>
                  <a:lnTo>
                    <a:pt x="669" y="0"/>
                  </a:lnTo>
                  <a:lnTo>
                    <a:pt x="674" y="6"/>
                  </a:lnTo>
                  <a:lnTo>
                    <a:pt x="674" y="0"/>
                  </a:lnTo>
                  <a:lnTo>
                    <a:pt x="703" y="6"/>
                  </a:lnTo>
                  <a:lnTo>
                    <a:pt x="703" y="0"/>
                  </a:lnTo>
                  <a:lnTo>
                    <a:pt x="708" y="6"/>
                  </a:lnTo>
                  <a:lnTo>
                    <a:pt x="714" y="6"/>
                  </a:lnTo>
                  <a:lnTo>
                    <a:pt x="720" y="0"/>
                  </a:lnTo>
                  <a:lnTo>
                    <a:pt x="725" y="6"/>
                  </a:lnTo>
                  <a:lnTo>
                    <a:pt x="725" y="0"/>
                  </a:lnTo>
                  <a:lnTo>
                    <a:pt x="731" y="0"/>
                  </a:lnTo>
                  <a:lnTo>
                    <a:pt x="737" y="6"/>
                  </a:lnTo>
                  <a:lnTo>
                    <a:pt x="742" y="17"/>
                  </a:lnTo>
                  <a:lnTo>
                    <a:pt x="742" y="23"/>
                  </a:lnTo>
                  <a:lnTo>
                    <a:pt x="748" y="23"/>
                  </a:lnTo>
                  <a:lnTo>
                    <a:pt x="748" y="29"/>
                  </a:lnTo>
                  <a:lnTo>
                    <a:pt x="754" y="34"/>
                  </a:lnTo>
                  <a:lnTo>
                    <a:pt x="759" y="40"/>
                  </a:lnTo>
                  <a:lnTo>
                    <a:pt x="765" y="46"/>
                  </a:lnTo>
                  <a:lnTo>
                    <a:pt x="776" y="63"/>
                  </a:lnTo>
                  <a:lnTo>
                    <a:pt x="776" y="68"/>
                  </a:lnTo>
                  <a:lnTo>
                    <a:pt x="782" y="74"/>
                  </a:lnTo>
                  <a:lnTo>
                    <a:pt x="788" y="74"/>
                  </a:lnTo>
                  <a:lnTo>
                    <a:pt x="788" y="80"/>
                  </a:lnTo>
                  <a:lnTo>
                    <a:pt x="788" y="85"/>
                  </a:lnTo>
                  <a:lnTo>
                    <a:pt x="793" y="85"/>
                  </a:lnTo>
                  <a:lnTo>
                    <a:pt x="793" y="91"/>
                  </a:lnTo>
                  <a:lnTo>
                    <a:pt x="805" y="108"/>
                  </a:lnTo>
                  <a:lnTo>
                    <a:pt x="810" y="114"/>
                  </a:lnTo>
                  <a:lnTo>
                    <a:pt x="816" y="119"/>
                  </a:lnTo>
                  <a:lnTo>
                    <a:pt x="816" y="125"/>
                  </a:lnTo>
                  <a:lnTo>
                    <a:pt x="822" y="131"/>
                  </a:lnTo>
                  <a:lnTo>
                    <a:pt x="839" y="153"/>
                  </a:lnTo>
                  <a:lnTo>
                    <a:pt x="850" y="170"/>
                  </a:lnTo>
                  <a:lnTo>
                    <a:pt x="856" y="176"/>
                  </a:lnTo>
                  <a:lnTo>
                    <a:pt x="867" y="187"/>
                  </a:lnTo>
                  <a:lnTo>
                    <a:pt x="867" y="193"/>
                  </a:lnTo>
                  <a:lnTo>
                    <a:pt x="873" y="199"/>
                  </a:lnTo>
                  <a:lnTo>
                    <a:pt x="873" y="204"/>
                  </a:lnTo>
                  <a:lnTo>
                    <a:pt x="878" y="210"/>
                  </a:lnTo>
                  <a:lnTo>
                    <a:pt x="884" y="210"/>
                  </a:lnTo>
                  <a:lnTo>
                    <a:pt x="890" y="221"/>
                  </a:lnTo>
                  <a:lnTo>
                    <a:pt x="895" y="227"/>
                  </a:lnTo>
                  <a:lnTo>
                    <a:pt x="895" y="244"/>
                  </a:lnTo>
                  <a:lnTo>
                    <a:pt x="901" y="250"/>
                  </a:lnTo>
                  <a:lnTo>
                    <a:pt x="901" y="255"/>
                  </a:lnTo>
                  <a:lnTo>
                    <a:pt x="901" y="261"/>
                  </a:lnTo>
                  <a:lnTo>
                    <a:pt x="901" y="267"/>
                  </a:lnTo>
                  <a:lnTo>
                    <a:pt x="901" y="273"/>
                  </a:lnTo>
                  <a:lnTo>
                    <a:pt x="907" y="290"/>
                  </a:lnTo>
                  <a:lnTo>
                    <a:pt x="907" y="295"/>
                  </a:lnTo>
                  <a:lnTo>
                    <a:pt x="907" y="301"/>
                  </a:lnTo>
                  <a:lnTo>
                    <a:pt x="912" y="312"/>
                  </a:lnTo>
                  <a:lnTo>
                    <a:pt x="912" y="318"/>
                  </a:lnTo>
                  <a:lnTo>
                    <a:pt x="912" y="324"/>
                  </a:lnTo>
                  <a:lnTo>
                    <a:pt x="918" y="346"/>
                  </a:lnTo>
                  <a:lnTo>
                    <a:pt x="918" y="358"/>
                  </a:lnTo>
                  <a:lnTo>
                    <a:pt x="918" y="363"/>
                  </a:lnTo>
                  <a:lnTo>
                    <a:pt x="918" y="369"/>
                  </a:lnTo>
                  <a:lnTo>
                    <a:pt x="924" y="392"/>
                  </a:lnTo>
                  <a:lnTo>
                    <a:pt x="924" y="397"/>
                  </a:lnTo>
                  <a:lnTo>
                    <a:pt x="929" y="409"/>
                  </a:lnTo>
                  <a:lnTo>
                    <a:pt x="929" y="414"/>
                  </a:lnTo>
                  <a:lnTo>
                    <a:pt x="929" y="426"/>
                  </a:lnTo>
                  <a:lnTo>
                    <a:pt x="935" y="426"/>
                  </a:lnTo>
                  <a:lnTo>
                    <a:pt x="935" y="431"/>
                  </a:lnTo>
                  <a:lnTo>
                    <a:pt x="935" y="437"/>
                  </a:lnTo>
                  <a:lnTo>
                    <a:pt x="929" y="443"/>
                  </a:lnTo>
                  <a:lnTo>
                    <a:pt x="929" y="448"/>
                  </a:lnTo>
                  <a:lnTo>
                    <a:pt x="929" y="454"/>
                  </a:lnTo>
                  <a:lnTo>
                    <a:pt x="935" y="454"/>
                  </a:lnTo>
                  <a:lnTo>
                    <a:pt x="935" y="460"/>
                  </a:lnTo>
                  <a:lnTo>
                    <a:pt x="929" y="460"/>
                  </a:lnTo>
                  <a:lnTo>
                    <a:pt x="929" y="465"/>
                  </a:lnTo>
                  <a:lnTo>
                    <a:pt x="924" y="465"/>
                  </a:lnTo>
                  <a:lnTo>
                    <a:pt x="929" y="471"/>
                  </a:lnTo>
                  <a:lnTo>
                    <a:pt x="935" y="477"/>
                  </a:lnTo>
                  <a:lnTo>
                    <a:pt x="941" y="477"/>
                  </a:lnTo>
                  <a:lnTo>
                    <a:pt x="941" y="482"/>
                  </a:lnTo>
                  <a:lnTo>
                    <a:pt x="946" y="482"/>
                  </a:lnTo>
                  <a:lnTo>
                    <a:pt x="952" y="482"/>
                  </a:lnTo>
                  <a:lnTo>
                    <a:pt x="958" y="482"/>
                  </a:lnTo>
                  <a:lnTo>
                    <a:pt x="963" y="482"/>
                  </a:lnTo>
                  <a:lnTo>
                    <a:pt x="969" y="488"/>
                  </a:lnTo>
                  <a:lnTo>
                    <a:pt x="969" y="482"/>
                  </a:lnTo>
                  <a:lnTo>
                    <a:pt x="975" y="482"/>
                  </a:lnTo>
                  <a:lnTo>
                    <a:pt x="975" y="488"/>
                  </a:lnTo>
                  <a:lnTo>
                    <a:pt x="975" y="482"/>
                  </a:lnTo>
                  <a:lnTo>
                    <a:pt x="980" y="482"/>
                  </a:lnTo>
                  <a:lnTo>
                    <a:pt x="986" y="482"/>
                  </a:lnTo>
                  <a:lnTo>
                    <a:pt x="992" y="482"/>
                  </a:lnTo>
                  <a:lnTo>
                    <a:pt x="997" y="482"/>
                  </a:lnTo>
                  <a:lnTo>
                    <a:pt x="997" y="488"/>
                  </a:lnTo>
                  <a:lnTo>
                    <a:pt x="1003" y="488"/>
                  </a:lnTo>
                  <a:lnTo>
                    <a:pt x="1009" y="482"/>
                  </a:lnTo>
                  <a:lnTo>
                    <a:pt x="1014" y="482"/>
                  </a:lnTo>
                  <a:lnTo>
                    <a:pt x="1020" y="482"/>
                  </a:lnTo>
                  <a:lnTo>
                    <a:pt x="1026" y="488"/>
                  </a:lnTo>
                  <a:lnTo>
                    <a:pt x="1031" y="488"/>
                  </a:lnTo>
                  <a:lnTo>
                    <a:pt x="1037" y="488"/>
                  </a:lnTo>
                  <a:lnTo>
                    <a:pt x="1037" y="494"/>
                  </a:lnTo>
                  <a:lnTo>
                    <a:pt x="1043" y="494"/>
                  </a:lnTo>
                  <a:lnTo>
                    <a:pt x="1048" y="499"/>
                  </a:lnTo>
                  <a:lnTo>
                    <a:pt x="1054" y="499"/>
                  </a:lnTo>
                  <a:lnTo>
                    <a:pt x="1048" y="499"/>
                  </a:lnTo>
                  <a:lnTo>
                    <a:pt x="1048" y="505"/>
                  </a:lnTo>
                  <a:lnTo>
                    <a:pt x="1048" y="511"/>
                  </a:lnTo>
                  <a:lnTo>
                    <a:pt x="1048" y="505"/>
                  </a:lnTo>
                  <a:lnTo>
                    <a:pt x="1054" y="511"/>
                  </a:lnTo>
                  <a:lnTo>
                    <a:pt x="1060" y="511"/>
                  </a:lnTo>
                  <a:lnTo>
                    <a:pt x="1060" y="516"/>
                  </a:lnTo>
                  <a:lnTo>
                    <a:pt x="1060" y="522"/>
                  </a:lnTo>
                  <a:lnTo>
                    <a:pt x="1065" y="522"/>
                  </a:lnTo>
                  <a:lnTo>
                    <a:pt x="1065" y="528"/>
                  </a:lnTo>
                  <a:lnTo>
                    <a:pt x="1060" y="528"/>
                  </a:lnTo>
                  <a:lnTo>
                    <a:pt x="1065" y="528"/>
                  </a:lnTo>
                  <a:lnTo>
                    <a:pt x="1065" y="533"/>
                  </a:lnTo>
                  <a:lnTo>
                    <a:pt x="1071" y="533"/>
                  </a:lnTo>
                  <a:lnTo>
                    <a:pt x="1077" y="533"/>
                  </a:lnTo>
                  <a:lnTo>
                    <a:pt x="1077" y="539"/>
                  </a:lnTo>
                  <a:lnTo>
                    <a:pt x="1082" y="545"/>
                  </a:lnTo>
                  <a:lnTo>
                    <a:pt x="1077" y="545"/>
                  </a:lnTo>
                  <a:lnTo>
                    <a:pt x="1082" y="545"/>
                  </a:lnTo>
                  <a:lnTo>
                    <a:pt x="1088" y="550"/>
                  </a:lnTo>
                  <a:lnTo>
                    <a:pt x="1088" y="545"/>
                  </a:lnTo>
                  <a:lnTo>
                    <a:pt x="1094" y="545"/>
                  </a:lnTo>
                  <a:lnTo>
                    <a:pt x="1099" y="545"/>
                  </a:lnTo>
                  <a:lnTo>
                    <a:pt x="1099" y="550"/>
                  </a:lnTo>
                  <a:lnTo>
                    <a:pt x="1105" y="550"/>
                  </a:lnTo>
                  <a:lnTo>
                    <a:pt x="1105" y="556"/>
                  </a:lnTo>
                  <a:lnTo>
                    <a:pt x="1099" y="562"/>
                  </a:lnTo>
                  <a:lnTo>
                    <a:pt x="1099" y="567"/>
                  </a:lnTo>
                  <a:lnTo>
                    <a:pt x="1099" y="573"/>
                  </a:lnTo>
                  <a:lnTo>
                    <a:pt x="1094" y="579"/>
                  </a:lnTo>
                  <a:lnTo>
                    <a:pt x="1094" y="584"/>
                  </a:lnTo>
                  <a:lnTo>
                    <a:pt x="1099" y="590"/>
                  </a:lnTo>
                  <a:lnTo>
                    <a:pt x="1094" y="590"/>
                  </a:lnTo>
                  <a:lnTo>
                    <a:pt x="1088" y="596"/>
                  </a:lnTo>
                  <a:lnTo>
                    <a:pt x="1088" y="601"/>
                  </a:lnTo>
                  <a:lnTo>
                    <a:pt x="1088" y="607"/>
                  </a:lnTo>
                  <a:lnTo>
                    <a:pt x="1088" y="613"/>
                  </a:lnTo>
                  <a:lnTo>
                    <a:pt x="1094" y="613"/>
                  </a:lnTo>
                  <a:lnTo>
                    <a:pt x="1094" y="618"/>
                  </a:lnTo>
                  <a:lnTo>
                    <a:pt x="1094" y="624"/>
                  </a:lnTo>
                  <a:lnTo>
                    <a:pt x="1099" y="624"/>
                  </a:lnTo>
                  <a:lnTo>
                    <a:pt x="1099" y="630"/>
                  </a:lnTo>
                  <a:lnTo>
                    <a:pt x="1094" y="630"/>
                  </a:lnTo>
                  <a:lnTo>
                    <a:pt x="1094" y="635"/>
                  </a:lnTo>
                  <a:lnTo>
                    <a:pt x="1094" y="641"/>
                  </a:lnTo>
                  <a:lnTo>
                    <a:pt x="1094" y="647"/>
                  </a:lnTo>
                  <a:lnTo>
                    <a:pt x="1088" y="647"/>
                  </a:lnTo>
                  <a:lnTo>
                    <a:pt x="1088" y="652"/>
                  </a:lnTo>
                  <a:lnTo>
                    <a:pt x="1088" y="647"/>
                  </a:lnTo>
                  <a:lnTo>
                    <a:pt x="1088" y="652"/>
                  </a:lnTo>
                  <a:lnTo>
                    <a:pt x="1082" y="658"/>
                  </a:lnTo>
                  <a:lnTo>
                    <a:pt x="1082" y="664"/>
                  </a:lnTo>
                  <a:lnTo>
                    <a:pt x="1082" y="669"/>
                  </a:lnTo>
                  <a:lnTo>
                    <a:pt x="1082" y="675"/>
                  </a:lnTo>
                  <a:lnTo>
                    <a:pt x="1082" y="681"/>
                  </a:lnTo>
                  <a:lnTo>
                    <a:pt x="1082" y="686"/>
                  </a:lnTo>
                  <a:lnTo>
                    <a:pt x="1082" y="692"/>
                  </a:lnTo>
                  <a:lnTo>
                    <a:pt x="1077" y="698"/>
                  </a:lnTo>
                  <a:lnTo>
                    <a:pt x="1071" y="698"/>
                  </a:lnTo>
                  <a:lnTo>
                    <a:pt x="1071" y="703"/>
                  </a:lnTo>
                  <a:lnTo>
                    <a:pt x="1065" y="709"/>
                  </a:lnTo>
                  <a:lnTo>
                    <a:pt x="1060" y="709"/>
                  </a:lnTo>
                  <a:lnTo>
                    <a:pt x="1060" y="715"/>
                  </a:lnTo>
                  <a:lnTo>
                    <a:pt x="1065" y="715"/>
                  </a:lnTo>
                  <a:lnTo>
                    <a:pt x="1065" y="720"/>
                  </a:lnTo>
                  <a:lnTo>
                    <a:pt x="1071" y="720"/>
                  </a:lnTo>
                  <a:lnTo>
                    <a:pt x="1077" y="726"/>
                  </a:lnTo>
                  <a:lnTo>
                    <a:pt x="1082" y="726"/>
                  </a:lnTo>
                  <a:lnTo>
                    <a:pt x="1082" y="732"/>
                  </a:lnTo>
                  <a:lnTo>
                    <a:pt x="1088" y="737"/>
                  </a:lnTo>
                  <a:lnTo>
                    <a:pt x="1094" y="737"/>
                  </a:lnTo>
                  <a:lnTo>
                    <a:pt x="1094" y="743"/>
                  </a:lnTo>
                  <a:lnTo>
                    <a:pt x="1094" y="749"/>
                  </a:lnTo>
                  <a:lnTo>
                    <a:pt x="1094" y="754"/>
                  </a:lnTo>
                  <a:lnTo>
                    <a:pt x="1094" y="760"/>
                  </a:lnTo>
                  <a:lnTo>
                    <a:pt x="1094" y="771"/>
                  </a:lnTo>
                  <a:lnTo>
                    <a:pt x="1094" y="777"/>
                  </a:lnTo>
                  <a:lnTo>
                    <a:pt x="1088" y="783"/>
                  </a:lnTo>
                  <a:lnTo>
                    <a:pt x="1082" y="788"/>
                  </a:lnTo>
                  <a:lnTo>
                    <a:pt x="1071" y="788"/>
                  </a:lnTo>
                  <a:lnTo>
                    <a:pt x="1054" y="794"/>
                  </a:lnTo>
                  <a:lnTo>
                    <a:pt x="1048" y="800"/>
                  </a:lnTo>
                  <a:lnTo>
                    <a:pt x="1043" y="800"/>
                  </a:lnTo>
                  <a:lnTo>
                    <a:pt x="1037" y="800"/>
                  </a:lnTo>
                  <a:lnTo>
                    <a:pt x="1031" y="800"/>
                  </a:lnTo>
                  <a:lnTo>
                    <a:pt x="1026" y="805"/>
                  </a:lnTo>
                  <a:lnTo>
                    <a:pt x="1026" y="811"/>
                  </a:lnTo>
                  <a:lnTo>
                    <a:pt x="1020" y="817"/>
                  </a:lnTo>
                  <a:lnTo>
                    <a:pt x="1014" y="822"/>
                  </a:lnTo>
                  <a:lnTo>
                    <a:pt x="1009" y="828"/>
                  </a:lnTo>
                  <a:lnTo>
                    <a:pt x="1003" y="828"/>
                  </a:lnTo>
                  <a:lnTo>
                    <a:pt x="997" y="828"/>
                  </a:lnTo>
                  <a:lnTo>
                    <a:pt x="997" y="834"/>
                  </a:lnTo>
                  <a:lnTo>
                    <a:pt x="986" y="834"/>
                  </a:lnTo>
                  <a:lnTo>
                    <a:pt x="980" y="834"/>
                  </a:lnTo>
                  <a:lnTo>
                    <a:pt x="980" y="839"/>
                  </a:lnTo>
                  <a:lnTo>
                    <a:pt x="969" y="839"/>
                  </a:lnTo>
                  <a:lnTo>
                    <a:pt x="963" y="845"/>
                  </a:lnTo>
                  <a:lnTo>
                    <a:pt x="958" y="851"/>
                  </a:lnTo>
                  <a:lnTo>
                    <a:pt x="952" y="851"/>
                  </a:lnTo>
                  <a:lnTo>
                    <a:pt x="946" y="856"/>
                  </a:lnTo>
                  <a:lnTo>
                    <a:pt x="946" y="862"/>
                  </a:lnTo>
                  <a:lnTo>
                    <a:pt x="941" y="868"/>
                  </a:lnTo>
                  <a:lnTo>
                    <a:pt x="935" y="868"/>
                  </a:lnTo>
                  <a:lnTo>
                    <a:pt x="935" y="873"/>
                  </a:lnTo>
                  <a:lnTo>
                    <a:pt x="924" y="873"/>
                  </a:lnTo>
                  <a:lnTo>
                    <a:pt x="918" y="879"/>
                  </a:lnTo>
                  <a:lnTo>
                    <a:pt x="912" y="879"/>
                  </a:lnTo>
                  <a:lnTo>
                    <a:pt x="907" y="879"/>
                  </a:lnTo>
                  <a:lnTo>
                    <a:pt x="901" y="879"/>
                  </a:lnTo>
                  <a:lnTo>
                    <a:pt x="901" y="873"/>
                  </a:lnTo>
                  <a:lnTo>
                    <a:pt x="895" y="873"/>
                  </a:lnTo>
                  <a:lnTo>
                    <a:pt x="890" y="868"/>
                  </a:lnTo>
                  <a:lnTo>
                    <a:pt x="890" y="862"/>
                  </a:lnTo>
                  <a:lnTo>
                    <a:pt x="878" y="862"/>
                  </a:lnTo>
                  <a:lnTo>
                    <a:pt x="873" y="862"/>
                  </a:lnTo>
                  <a:lnTo>
                    <a:pt x="867" y="856"/>
                  </a:lnTo>
                  <a:lnTo>
                    <a:pt x="861" y="856"/>
                  </a:lnTo>
                  <a:lnTo>
                    <a:pt x="856" y="862"/>
                  </a:lnTo>
                  <a:lnTo>
                    <a:pt x="856" y="873"/>
                  </a:lnTo>
                  <a:lnTo>
                    <a:pt x="850" y="879"/>
                  </a:lnTo>
                  <a:lnTo>
                    <a:pt x="850" y="885"/>
                  </a:lnTo>
                  <a:lnTo>
                    <a:pt x="844" y="885"/>
                  </a:lnTo>
                  <a:lnTo>
                    <a:pt x="844" y="890"/>
                  </a:lnTo>
                  <a:lnTo>
                    <a:pt x="839" y="890"/>
                  </a:lnTo>
                  <a:lnTo>
                    <a:pt x="839" y="896"/>
                  </a:lnTo>
                  <a:lnTo>
                    <a:pt x="839" y="902"/>
                  </a:lnTo>
                  <a:lnTo>
                    <a:pt x="839" y="907"/>
                  </a:lnTo>
                  <a:lnTo>
                    <a:pt x="833" y="907"/>
                  </a:lnTo>
                  <a:lnTo>
                    <a:pt x="833" y="913"/>
                  </a:lnTo>
                  <a:lnTo>
                    <a:pt x="827" y="913"/>
                  </a:lnTo>
                  <a:lnTo>
                    <a:pt x="827" y="919"/>
                  </a:lnTo>
                  <a:lnTo>
                    <a:pt x="827" y="924"/>
                  </a:lnTo>
                  <a:lnTo>
                    <a:pt x="822" y="924"/>
                  </a:lnTo>
                  <a:lnTo>
                    <a:pt x="822" y="930"/>
                  </a:lnTo>
                  <a:lnTo>
                    <a:pt x="816" y="930"/>
                  </a:lnTo>
                  <a:lnTo>
                    <a:pt x="816" y="936"/>
                  </a:lnTo>
                  <a:lnTo>
                    <a:pt x="810" y="936"/>
                  </a:lnTo>
                  <a:lnTo>
                    <a:pt x="810" y="941"/>
                  </a:lnTo>
                  <a:lnTo>
                    <a:pt x="805" y="947"/>
                  </a:lnTo>
                  <a:lnTo>
                    <a:pt x="799" y="953"/>
                  </a:lnTo>
                  <a:lnTo>
                    <a:pt x="799" y="958"/>
                  </a:lnTo>
                  <a:lnTo>
                    <a:pt x="799" y="964"/>
                  </a:lnTo>
                  <a:lnTo>
                    <a:pt x="793" y="964"/>
                  </a:lnTo>
                  <a:lnTo>
                    <a:pt x="788" y="964"/>
                  </a:lnTo>
                  <a:lnTo>
                    <a:pt x="776" y="970"/>
                  </a:lnTo>
                  <a:lnTo>
                    <a:pt x="771" y="975"/>
                  </a:lnTo>
                  <a:lnTo>
                    <a:pt x="765" y="975"/>
                  </a:lnTo>
                  <a:lnTo>
                    <a:pt x="759" y="981"/>
                  </a:lnTo>
                  <a:lnTo>
                    <a:pt x="759" y="987"/>
                  </a:lnTo>
                  <a:lnTo>
                    <a:pt x="759" y="992"/>
                  </a:lnTo>
                  <a:lnTo>
                    <a:pt x="759" y="998"/>
                  </a:lnTo>
                  <a:lnTo>
                    <a:pt x="759" y="1004"/>
                  </a:lnTo>
                  <a:lnTo>
                    <a:pt x="754" y="1004"/>
                  </a:lnTo>
                  <a:lnTo>
                    <a:pt x="737" y="1004"/>
                  </a:lnTo>
                  <a:lnTo>
                    <a:pt x="725" y="1004"/>
                  </a:lnTo>
                  <a:lnTo>
                    <a:pt x="720" y="1009"/>
                  </a:lnTo>
                  <a:lnTo>
                    <a:pt x="714" y="1009"/>
                  </a:lnTo>
                  <a:lnTo>
                    <a:pt x="708" y="1009"/>
                  </a:lnTo>
                  <a:lnTo>
                    <a:pt x="703" y="1009"/>
                  </a:lnTo>
                  <a:lnTo>
                    <a:pt x="703" y="1015"/>
                  </a:lnTo>
                  <a:lnTo>
                    <a:pt x="697" y="1015"/>
                  </a:lnTo>
                  <a:lnTo>
                    <a:pt x="691" y="1015"/>
                  </a:lnTo>
                  <a:lnTo>
                    <a:pt x="680" y="1015"/>
                  </a:lnTo>
                  <a:lnTo>
                    <a:pt x="663" y="1015"/>
                  </a:lnTo>
                  <a:lnTo>
                    <a:pt x="657" y="1015"/>
                  </a:lnTo>
                  <a:lnTo>
                    <a:pt x="652" y="1015"/>
                  </a:lnTo>
                  <a:lnTo>
                    <a:pt x="646" y="1015"/>
                  </a:lnTo>
                  <a:lnTo>
                    <a:pt x="646" y="1021"/>
                  </a:lnTo>
                  <a:lnTo>
                    <a:pt x="640" y="1021"/>
                  </a:lnTo>
                  <a:lnTo>
                    <a:pt x="635" y="1026"/>
                  </a:lnTo>
                  <a:lnTo>
                    <a:pt x="635" y="1038"/>
                  </a:lnTo>
                  <a:lnTo>
                    <a:pt x="635" y="1043"/>
                  </a:lnTo>
                  <a:lnTo>
                    <a:pt x="629" y="1055"/>
                  </a:lnTo>
                  <a:lnTo>
                    <a:pt x="623" y="1072"/>
                  </a:lnTo>
                  <a:lnTo>
                    <a:pt x="618" y="1083"/>
                  </a:lnTo>
                  <a:lnTo>
                    <a:pt x="618" y="1089"/>
                  </a:lnTo>
                  <a:lnTo>
                    <a:pt x="612" y="1094"/>
                  </a:lnTo>
                  <a:lnTo>
                    <a:pt x="612" y="1100"/>
                  </a:lnTo>
                  <a:lnTo>
                    <a:pt x="612" y="1106"/>
                  </a:lnTo>
                  <a:lnTo>
                    <a:pt x="606" y="1106"/>
                  </a:lnTo>
                  <a:lnTo>
                    <a:pt x="606" y="1111"/>
                  </a:lnTo>
                  <a:lnTo>
                    <a:pt x="606" y="1117"/>
                  </a:lnTo>
                  <a:lnTo>
                    <a:pt x="606" y="1123"/>
                  </a:lnTo>
                  <a:lnTo>
                    <a:pt x="606" y="1128"/>
                  </a:lnTo>
                  <a:lnTo>
                    <a:pt x="606" y="1134"/>
                  </a:lnTo>
                  <a:lnTo>
                    <a:pt x="601" y="1134"/>
                  </a:lnTo>
                  <a:lnTo>
                    <a:pt x="601" y="1151"/>
                  </a:lnTo>
                  <a:lnTo>
                    <a:pt x="601" y="1157"/>
                  </a:lnTo>
                  <a:lnTo>
                    <a:pt x="595" y="1157"/>
                  </a:lnTo>
                  <a:lnTo>
                    <a:pt x="595" y="1162"/>
                  </a:lnTo>
                  <a:lnTo>
                    <a:pt x="589" y="1162"/>
                  </a:lnTo>
                  <a:lnTo>
                    <a:pt x="584" y="1162"/>
                  </a:lnTo>
                  <a:lnTo>
                    <a:pt x="584" y="1168"/>
                  </a:lnTo>
                  <a:lnTo>
                    <a:pt x="572" y="1168"/>
                  </a:lnTo>
                  <a:lnTo>
                    <a:pt x="555" y="1162"/>
                  </a:lnTo>
                  <a:lnTo>
                    <a:pt x="544" y="1162"/>
                  </a:lnTo>
                  <a:lnTo>
                    <a:pt x="538" y="1162"/>
                  </a:lnTo>
                  <a:lnTo>
                    <a:pt x="533" y="1162"/>
                  </a:lnTo>
                  <a:lnTo>
                    <a:pt x="527" y="1162"/>
                  </a:lnTo>
                  <a:lnTo>
                    <a:pt x="521" y="1157"/>
                  </a:lnTo>
                  <a:lnTo>
                    <a:pt x="516" y="1151"/>
                  </a:lnTo>
                  <a:lnTo>
                    <a:pt x="510" y="1151"/>
                  </a:lnTo>
                  <a:lnTo>
                    <a:pt x="504" y="1145"/>
                  </a:lnTo>
                  <a:lnTo>
                    <a:pt x="499" y="1145"/>
                  </a:lnTo>
                  <a:lnTo>
                    <a:pt x="493" y="1140"/>
                  </a:lnTo>
                  <a:lnTo>
                    <a:pt x="487" y="1134"/>
                  </a:lnTo>
                  <a:lnTo>
                    <a:pt x="482" y="1134"/>
                  </a:lnTo>
                  <a:lnTo>
                    <a:pt x="476" y="1128"/>
                  </a:lnTo>
                  <a:lnTo>
                    <a:pt x="470" y="1123"/>
                  </a:lnTo>
                  <a:lnTo>
                    <a:pt x="465" y="1123"/>
                  </a:lnTo>
                  <a:lnTo>
                    <a:pt x="459" y="1123"/>
                  </a:lnTo>
                  <a:lnTo>
                    <a:pt x="453" y="1123"/>
                  </a:lnTo>
                  <a:lnTo>
                    <a:pt x="448" y="1128"/>
                  </a:lnTo>
                  <a:lnTo>
                    <a:pt x="442" y="1128"/>
                  </a:lnTo>
                  <a:lnTo>
                    <a:pt x="442" y="1134"/>
                  </a:lnTo>
                  <a:lnTo>
                    <a:pt x="436" y="1134"/>
                  </a:lnTo>
                  <a:lnTo>
                    <a:pt x="431" y="1140"/>
                  </a:lnTo>
                  <a:lnTo>
                    <a:pt x="419" y="1145"/>
                  </a:lnTo>
                  <a:lnTo>
                    <a:pt x="419" y="1151"/>
                  </a:lnTo>
                  <a:lnTo>
                    <a:pt x="414" y="1157"/>
                  </a:lnTo>
                  <a:lnTo>
                    <a:pt x="402" y="1168"/>
                  </a:lnTo>
                  <a:lnTo>
                    <a:pt x="397" y="1168"/>
                  </a:lnTo>
                  <a:lnTo>
                    <a:pt x="391" y="1174"/>
                  </a:lnTo>
                  <a:lnTo>
                    <a:pt x="385" y="1179"/>
                  </a:lnTo>
                  <a:lnTo>
                    <a:pt x="385" y="1185"/>
                  </a:lnTo>
                  <a:lnTo>
                    <a:pt x="380" y="1185"/>
                  </a:lnTo>
                  <a:lnTo>
                    <a:pt x="363" y="1202"/>
                  </a:lnTo>
                  <a:lnTo>
                    <a:pt x="357" y="1208"/>
                  </a:lnTo>
                  <a:lnTo>
                    <a:pt x="351" y="1214"/>
                  </a:lnTo>
                  <a:lnTo>
                    <a:pt x="346" y="1219"/>
                  </a:lnTo>
                  <a:lnTo>
                    <a:pt x="340" y="1219"/>
                  </a:lnTo>
                  <a:lnTo>
                    <a:pt x="334" y="1219"/>
                  </a:lnTo>
                  <a:lnTo>
                    <a:pt x="323" y="1219"/>
                  </a:lnTo>
                  <a:lnTo>
                    <a:pt x="306" y="1219"/>
                  </a:lnTo>
                  <a:lnTo>
                    <a:pt x="294" y="1219"/>
                  </a:lnTo>
                  <a:lnTo>
                    <a:pt x="289" y="1219"/>
                  </a:lnTo>
                  <a:lnTo>
                    <a:pt x="277" y="1219"/>
                  </a:lnTo>
                  <a:lnTo>
                    <a:pt x="272" y="1225"/>
                  </a:lnTo>
                  <a:lnTo>
                    <a:pt x="266" y="1225"/>
                  </a:lnTo>
                  <a:lnTo>
                    <a:pt x="260" y="1225"/>
                  </a:lnTo>
                  <a:lnTo>
                    <a:pt x="260" y="1231"/>
                  </a:lnTo>
                  <a:lnTo>
                    <a:pt x="255" y="1231"/>
                  </a:lnTo>
                  <a:lnTo>
                    <a:pt x="249" y="1231"/>
                  </a:lnTo>
                  <a:lnTo>
                    <a:pt x="243" y="1236"/>
                  </a:lnTo>
                  <a:lnTo>
                    <a:pt x="238" y="1236"/>
                  </a:lnTo>
                  <a:lnTo>
                    <a:pt x="232" y="1242"/>
                  </a:lnTo>
                  <a:lnTo>
                    <a:pt x="226" y="1242"/>
                  </a:lnTo>
                  <a:lnTo>
                    <a:pt x="221" y="1248"/>
                  </a:lnTo>
                  <a:lnTo>
                    <a:pt x="215" y="1259"/>
                  </a:lnTo>
                  <a:lnTo>
                    <a:pt x="209" y="1259"/>
                  </a:lnTo>
                  <a:lnTo>
                    <a:pt x="209" y="1265"/>
                  </a:lnTo>
                  <a:lnTo>
                    <a:pt x="204" y="1265"/>
                  </a:lnTo>
                  <a:lnTo>
                    <a:pt x="204" y="1270"/>
                  </a:lnTo>
                  <a:lnTo>
                    <a:pt x="198" y="1276"/>
                  </a:lnTo>
                  <a:lnTo>
                    <a:pt x="192" y="1276"/>
                  </a:lnTo>
                  <a:lnTo>
                    <a:pt x="192" y="1282"/>
                  </a:lnTo>
                  <a:lnTo>
                    <a:pt x="192" y="1287"/>
                  </a:lnTo>
                  <a:lnTo>
                    <a:pt x="192" y="1293"/>
                  </a:lnTo>
                  <a:lnTo>
                    <a:pt x="187" y="1304"/>
                  </a:lnTo>
                  <a:lnTo>
                    <a:pt x="187" y="1316"/>
                  </a:lnTo>
                  <a:lnTo>
                    <a:pt x="187" y="1321"/>
                  </a:lnTo>
                  <a:lnTo>
                    <a:pt x="181" y="1321"/>
                  </a:lnTo>
                  <a:lnTo>
                    <a:pt x="170" y="1333"/>
                  </a:lnTo>
                  <a:lnTo>
                    <a:pt x="164" y="1333"/>
                  </a:lnTo>
                  <a:lnTo>
                    <a:pt x="153" y="1333"/>
                  </a:lnTo>
                  <a:lnTo>
                    <a:pt x="147" y="1333"/>
                  </a:lnTo>
                  <a:lnTo>
                    <a:pt x="141" y="1333"/>
                  </a:lnTo>
                  <a:lnTo>
                    <a:pt x="136" y="1333"/>
                  </a:lnTo>
                  <a:lnTo>
                    <a:pt x="124" y="1333"/>
                  </a:lnTo>
                  <a:lnTo>
                    <a:pt x="119" y="1333"/>
                  </a:lnTo>
                  <a:lnTo>
                    <a:pt x="96" y="1321"/>
                  </a:lnTo>
                  <a:close/>
                </a:path>
              </a:pathLst>
            </a:custGeom>
            <a:solidFill>
              <a:srgbClr val="006600"/>
            </a:solidFill>
            <a:ln w="25400">
              <a:solidFill>
                <a:srgbClr val="B4B4B4"/>
              </a:solidFill>
              <a:round/>
              <a:headEnd/>
              <a:tailEnd/>
            </a:ln>
          </p:spPr>
          <p:txBody>
            <a:bodyPr lIns="93296" tIns="46648" rIns="93296" bIns="46648"/>
            <a:lstStyle/>
            <a:p>
              <a:pPr>
                <a:defRPr/>
              </a:pPr>
              <a:endParaRPr lang="en-US" sz="1000" kern="0">
                <a:solidFill>
                  <a:prstClr val="black">
                    <a:lumMod val="65000"/>
                    <a:lumOff val="35000"/>
                  </a:prstClr>
                </a:solidFill>
              </a:endParaRPr>
            </a:p>
          </p:txBody>
        </p:sp>
        <p:sp>
          <p:nvSpPr>
            <p:cNvPr id="7" name="Freeform 5"/>
            <p:cNvSpPr>
              <a:spLocks/>
            </p:cNvSpPr>
            <p:nvPr/>
          </p:nvSpPr>
          <p:spPr bwMode="gray">
            <a:xfrm>
              <a:off x="2918787" y="1060131"/>
              <a:ext cx="1210694" cy="1005887"/>
            </a:xfrm>
            <a:custGeom>
              <a:avLst/>
              <a:gdLst>
                <a:gd name="T0" fmla="*/ 0 w 862"/>
                <a:gd name="T1" fmla="*/ 2147483647 h 754"/>
                <a:gd name="T2" fmla="*/ 2147483647 w 862"/>
                <a:gd name="T3" fmla="*/ 2147483647 h 754"/>
                <a:gd name="T4" fmla="*/ 2147483647 w 862"/>
                <a:gd name="T5" fmla="*/ 2147483647 h 754"/>
                <a:gd name="T6" fmla="*/ 2147483647 w 862"/>
                <a:gd name="T7" fmla="*/ 2147483647 h 754"/>
                <a:gd name="T8" fmla="*/ 2147483647 w 862"/>
                <a:gd name="T9" fmla="*/ 2147483647 h 754"/>
                <a:gd name="T10" fmla="*/ 2147483647 w 862"/>
                <a:gd name="T11" fmla="*/ 2147483647 h 754"/>
                <a:gd name="T12" fmla="*/ 2147483647 w 862"/>
                <a:gd name="T13" fmla="*/ 2147483647 h 754"/>
                <a:gd name="T14" fmla="*/ 2147483647 w 862"/>
                <a:gd name="T15" fmla="*/ 2147483647 h 754"/>
                <a:gd name="T16" fmla="*/ 2147483647 w 862"/>
                <a:gd name="T17" fmla="*/ 2147483647 h 754"/>
                <a:gd name="T18" fmla="*/ 2147483647 w 862"/>
                <a:gd name="T19" fmla="*/ 2147483647 h 754"/>
                <a:gd name="T20" fmla="*/ 2147483647 w 862"/>
                <a:gd name="T21" fmla="*/ 2147483647 h 754"/>
                <a:gd name="T22" fmla="*/ 2147483647 w 862"/>
                <a:gd name="T23" fmla="*/ 2147483647 h 754"/>
                <a:gd name="T24" fmla="*/ 2147483647 w 862"/>
                <a:gd name="T25" fmla="*/ 2147483647 h 754"/>
                <a:gd name="T26" fmla="*/ 2147483647 w 862"/>
                <a:gd name="T27" fmla="*/ 2147483647 h 754"/>
                <a:gd name="T28" fmla="*/ 2147483647 w 862"/>
                <a:gd name="T29" fmla="*/ 2147483647 h 754"/>
                <a:gd name="T30" fmla="*/ 2147483647 w 862"/>
                <a:gd name="T31" fmla="*/ 2147483647 h 754"/>
                <a:gd name="T32" fmla="*/ 2147483647 w 862"/>
                <a:gd name="T33" fmla="*/ 2147483647 h 754"/>
                <a:gd name="T34" fmla="*/ 2147483647 w 862"/>
                <a:gd name="T35" fmla="*/ 2147483647 h 754"/>
                <a:gd name="T36" fmla="*/ 2147483647 w 862"/>
                <a:gd name="T37" fmla="*/ 2147483647 h 754"/>
                <a:gd name="T38" fmla="*/ 2147483647 w 862"/>
                <a:gd name="T39" fmla="*/ 2147483647 h 754"/>
                <a:gd name="T40" fmla="*/ 2147483647 w 862"/>
                <a:gd name="T41" fmla="*/ 2147483647 h 754"/>
                <a:gd name="T42" fmla="*/ 2147483647 w 862"/>
                <a:gd name="T43" fmla="*/ 2147483647 h 754"/>
                <a:gd name="T44" fmla="*/ 2147483647 w 862"/>
                <a:gd name="T45" fmla="*/ 2147483647 h 754"/>
                <a:gd name="T46" fmla="*/ 2147483647 w 862"/>
                <a:gd name="T47" fmla="*/ 2147483647 h 754"/>
                <a:gd name="T48" fmla="*/ 2147483647 w 862"/>
                <a:gd name="T49" fmla="*/ 2147483647 h 754"/>
                <a:gd name="T50" fmla="*/ 2147483647 w 862"/>
                <a:gd name="T51" fmla="*/ 2147483647 h 754"/>
                <a:gd name="T52" fmla="*/ 2147483647 w 862"/>
                <a:gd name="T53" fmla="*/ 2147483647 h 754"/>
                <a:gd name="T54" fmla="*/ 2147483647 w 862"/>
                <a:gd name="T55" fmla="*/ 2147483647 h 754"/>
                <a:gd name="T56" fmla="*/ 2147483647 w 862"/>
                <a:gd name="T57" fmla="*/ 2147483647 h 754"/>
                <a:gd name="T58" fmla="*/ 2147483647 w 862"/>
                <a:gd name="T59" fmla="*/ 2147483647 h 754"/>
                <a:gd name="T60" fmla="*/ 2147483647 w 862"/>
                <a:gd name="T61" fmla="*/ 2147483647 h 754"/>
                <a:gd name="T62" fmla="*/ 2147483647 w 862"/>
                <a:gd name="T63" fmla="*/ 2147483647 h 754"/>
                <a:gd name="T64" fmla="*/ 2147483647 w 862"/>
                <a:gd name="T65" fmla="*/ 2147483647 h 754"/>
                <a:gd name="T66" fmla="*/ 2147483647 w 862"/>
                <a:gd name="T67" fmla="*/ 2147483647 h 754"/>
                <a:gd name="T68" fmla="*/ 2147483647 w 862"/>
                <a:gd name="T69" fmla="*/ 2147483647 h 754"/>
                <a:gd name="T70" fmla="*/ 2147483647 w 862"/>
                <a:gd name="T71" fmla="*/ 2147483647 h 754"/>
                <a:gd name="T72" fmla="*/ 2147483647 w 862"/>
                <a:gd name="T73" fmla="*/ 2147483647 h 754"/>
                <a:gd name="T74" fmla="*/ 2147483647 w 862"/>
                <a:gd name="T75" fmla="*/ 2147483647 h 754"/>
                <a:gd name="T76" fmla="*/ 2147483647 w 862"/>
                <a:gd name="T77" fmla="*/ 2147483647 h 754"/>
                <a:gd name="T78" fmla="*/ 2147483647 w 862"/>
                <a:gd name="T79" fmla="*/ 2147483647 h 754"/>
                <a:gd name="T80" fmla="*/ 2147483647 w 862"/>
                <a:gd name="T81" fmla="*/ 2147483647 h 754"/>
                <a:gd name="T82" fmla="*/ 2147483647 w 862"/>
                <a:gd name="T83" fmla="*/ 2147483647 h 754"/>
                <a:gd name="T84" fmla="*/ 2147483647 w 862"/>
                <a:gd name="T85" fmla="*/ 2147483647 h 754"/>
                <a:gd name="T86" fmla="*/ 2147483647 w 862"/>
                <a:gd name="T87" fmla="*/ 2147483647 h 754"/>
                <a:gd name="T88" fmla="*/ 2147483647 w 862"/>
                <a:gd name="T89" fmla="*/ 2147483647 h 754"/>
                <a:gd name="T90" fmla="*/ 2147483647 w 862"/>
                <a:gd name="T91" fmla="*/ 2147483647 h 754"/>
                <a:gd name="T92" fmla="*/ 2147483647 w 862"/>
                <a:gd name="T93" fmla="*/ 2147483647 h 754"/>
                <a:gd name="T94" fmla="*/ 2147483647 w 862"/>
                <a:gd name="T95" fmla="*/ 2147483647 h 754"/>
                <a:gd name="T96" fmla="*/ 2147483647 w 862"/>
                <a:gd name="T97" fmla="*/ 2147483647 h 754"/>
                <a:gd name="T98" fmla="*/ 2147483647 w 862"/>
                <a:gd name="T99" fmla="*/ 2147483647 h 754"/>
                <a:gd name="T100" fmla="*/ 2147483647 w 862"/>
                <a:gd name="T101" fmla="*/ 2147483647 h 754"/>
                <a:gd name="T102" fmla="*/ 2147483647 w 862"/>
                <a:gd name="T103" fmla="*/ 2147483647 h 754"/>
                <a:gd name="T104" fmla="*/ 2147483647 w 862"/>
                <a:gd name="T105" fmla="*/ 2147483647 h 754"/>
                <a:gd name="T106" fmla="*/ 2147483647 w 862"/>
                <a:gd name="T107" fmla="*/ 2147483647 h 754"/>
                <a:gd name="T108" fmla="*/ 2147483647 w 862"/>
                <a:gd name="T109" fmla="*/ 2147483647 h 754"/>
                <a:gd name="T110" fmla="*/ 2147483647 w 862"/>
                <a:gd name="T111" fmla="*/ 2147483647 h 754"/>
                <a:gd name="T112" fmla="*/ 2147483647 w 862"/>
                <a:gd name="T113" fmla="*/ 2147483647 h 754"/>
                <a:gd name="T114" fmla="*/ 2147483647 w 862"/>
                <a:gd name="T115" fmla="*/ 2147483647 h 75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62"/>
                <a:gd name="T175" fmla="*/ 0 h 754"/>
                <a:gd name="T176" fmla="*/ 862 w 862"/>
                <a:gd name="T177" fmla="*/ 754 h 75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62" h="754">
                  <a:moveTo>
                    <a:pt x="40" y="165"/>
                  </a:moveTo>
                  <a:lnTo>
                    <a:pt x="34" y="165"/>
                  </a:lnTo>
                  <a:lnTo>
                    <a:pt x="28" y="165"/>
                  </a:lnTo>
                  <a:lnTo>
                    <a:pt x="28" y="159"/>
                  </a:lnTo>
                  <a:lnTo>
                    <a:pt x="17" y="159"/>
                  </a:lnTo>
                  <a:lnTo>
                    <a:pt x="11" y="159"/>
                  </a:lnTo>
                  <a:lnTo>
                    <a:pt x="11" y="153"/>
                  </a:lnTo>
                  <a:lnTo>
                    <a:pt x="0" y="148"/>
                  </a:lnTo>
                  <a:lnTo>
                    <a:pt x="0" y="142"/>
                  </a:lnTo>
                  <a:lnTo>
                    <a:pt x="0" y="136"/>
                  </a:lnTo>
                  <a:lnTo>
                    <a:pt x="0" y="131"/>
                  </a:lnTo>
                  <a:lnTo>
                    <a:pt x="0" y="125"/>
                  </a:lnTo>
                  <a:lnTo>
                    <a:pt x="0" y="114"/>
                  </a:lnTo>
                  <a:lnTo>
                    <a:pt x="0" y="97"/>
                  </a:lnTo>
                  <a:lnTo>
                    <a:pt x="0" y="91"/>
                  </a:lnTo>
                  <a:lnTo>
                    <a:pt x="0" y="85"/>
                  </a:lnTo>
                  <a:lnTo>
                    <a:pt x="6" y="80"/>
                  </a:lnTo>
                  <a:lnTo>
                    <a:pt x="11" y="74"/>
                  </a:lnTo>
                  <a:lnTo>
                    <a:pt x="23" y="74"/>
                  </a:lnTo>
                  <a:lnTo>
                    <a:pt x="28" y="74"/>
                  </a:lnTo>
                  <a:lnTo>
                    <a:pt x="34" y="74"/>
                  </a:lnTo>
                  <a:lnTo>
                    <a:pt x="40" y="74"/>
                  </a:lnTo>
                  <a:lnTo>
                    <a:pt x="45" y="74"/>
                  </a:lnTo>
                  <a:lnTo>
                    <a:pt x="51" y="80"/>
                  </a:lnTo>
                  <a:lnTo>
                    <a:pt x="57" y="80"/>
                  </a:lnTo>
                  <a:lnTo>
                    <a:pt x="62" y="80"/>
                  </a:lnTo>
                  <a:lnTo>
                    <a:pt x="68" y="85"/>
                  </a:lnTo>
                  <a:lnTo>
                    <a:pt x="74" y="85"/>
                  </a:lnTo>
                  <a:lnTo>
                    <a:pt x="79" y="80"/>
                  </a:lnTo>
                  <a:lnTo>
                    <a:pt x="85" y="80"/>
                  </a:lnTo>
                  <a:lnTo>
                    <a:pt x="91" y="80"/>
                  </a:lnTo>
                  <a:lnTo>
                    <a:pt x="96" y="80"/>
                  </a:lnTo>
                  <a:lnTo>
                    <a:pt x="102" y="74"/>
                  </a:lnTo>
                  <a:lnTo>
                    <a:pt x="113" y="74"/>
                  </a:lnTo>
                  <a:lnTo>
                    <a:pt x="125" y="74"/>
                  </a:lnTo>
                  <a:lnTo>
                    <a:pt x="130" y="74"/>
                  </a:lnTo>
                  <a:lnTo>
                    <a:pt x="130" y="80"/>
                  </a:lnTo>
                  <a:lnTo>
                    <a:pt x="142" y="85"/>
                  </a:lnTo>
                  <a:lnTo>
                    <a:pt x="142" y="97"/>
                  </a:lnTo>
                  <a:lnTo>
                    <a:pt x="147" y="97"/>
                  </a:lnTo>
                  <a:lnTo>
                    <a:pt x="153" y="102"/>
                  </a:lnTo>
                  <a:lnTo>
                    <a:pt x="159" y="108"/>
                  </a:lnTo>
                  <a:lnTo>
                    <a:pt x="159" y="114"/>
                  </a:lnTo>
                  <a:lnTo>
                    <a:pt x="164" y="119"/>
                  </a:lnTo>
                  <a:lnTo>
                    <a:pt x="170" y="119"/>
                  </a:lnTo>
                  <a:lnTo>
                    <a:pt x="170" y="125"/>
                  </a:lnTo>
                  <a:lnTo>
                    <a:pt x="176" y="125"/>
                  </a:lnTo>
                  <a:lnTo>
                    <a:pt x="181" y="131"/>
                  </a:lnTo>
                  <a:lnTo>
                    <a:pt x="187" y="131"/>
                  </a:lnTo>
                  <a:lnTo>
                    <a:pt x="198" y="136"/>
                  </a:lnTo>
                  <a:lnTo>
                    <a:pt x="210" y="136"/>
                  </a:lnTo>
                  <a:lnTo>
                    <a:pt x="215" y="142"/>
                  </a:lnTo>
                  <a:lnTo>
                    <a:pt x="215" y="136"/>
                  </a:lnTo>
                  <a:lnTo>
                    <a:pt x="232" y="136"/>
                  </a:lnTo>
                  <a:lnTo>
                    <a:pt x="238" y="136"/>
                  </a:lnTo>
                  <a:lnTo>
                    <a:pt x="244" y="136"/>
                  </a:lnTo>
                  <a:lnTo>
                    <a:pt x="249" y="131"/>
                  </a:lnTo>
                  <a:lnTo>
                    <a:pt x="255" y="131"/>
                  </a:lnTo>
                  <a:lnTo>
                    <a:pt x="261" y="125"/>
                  </a:lnTo>
                  <a:lnTo>
                    <a:pt x="266" y="125"/>
                  </a:lnTo>
                  <a:lnTo>
                    <a:pt x="266" y="119"/>
                  </a:lnTo>
                  <a:lnTo>
                    <a:pt x="272" y="119"/>
                  </a:lnTo>
                  <a:lnTo>
                    <a:pt x="272" y="114"/>
                  </a:lnTo>
                  <a:lnTo>
                    <a:pt x="272" y="108"/>
                  </a:lnTo>
                  <a:lnTo>
                    <a:pt x="278" y="108"/>
                  </a:lnTo>
                  <a:lnTo>
                    <a:pt x="278" y="102"/>
                  </a:lnTo>
                  <a:lnTo>
                    <a:pt x="283" y="102"/>
                  </a:lnTo>
                  <a:lnTo>
                    <a:pt x="283" y="97"/>
                  </a:lnTo>
                  <a:lnTo>
                    <a:pt x="289" y="91"/>
                  </a:lnTo>
                  <a:lnTo>
                    <a:pt x="278" y="68"/>
                  </a:lnTo>
                  <a:lnTo>
                    <a:pt x="283" y="74"/>
                  </a:lnTo>
                  <a:lnTo>
                    <a:pt x="289" y="74"/>
                  </a:lnTo>
                  <a:lnTo>
                    <a:pt x="289" y="68"/>
                  </a:lnTo>
                  <a:lnTo>
                    <a:pt x="295" y="68"/>
                  </a:lnTo>
                  <a:lnTo>
                    <a:pt x="300" y="68"/>
                  </a:lnTo>
                  <a:lnTo>
                    <a:pt x="317" y="68"/>
                  </a:lnTo>
                  <a:lnTo>
                    <a:pt x="323" y="68"/>
                  </a:lnTo>
                  <a:lnTo>
                    <a:pt x="329" y="68"/>
                  </a:lnTo>
                  <a:lnTo>
                    <a:pt x="334" y="68"/>
                  </a:lnTo>
                  <a:lnTo>
                    <a:pt x="346" y="74"/>
                  </a:lnTo>
                  <a:lnTo>
                    <a:pt x="351" y="74"/>
                  </a:lnTo>
                  <a:lnTo>
                    <a:pt x="357" y="74"/>
                  </a:lnTo>
                  <a:lnTo>
                    <a:pt x="368" y="74"/>
                  </a:lnTo>
                  <a:lnTo>
                    <a:pt x="374" y="74"/>
                  </a:lnTo>
                  <a:lnTo>
                    <a:pt x="380" y="74"/>
                  </a:lnTo>
                  <a:lnTo>
                    <a:pt x="385" y="74"/>
                  </a:lnTo>
                  <a:lnTo>
                    <a:pt x="397" y="80"/>
                  </a:lnTo>
                  <a:lnTo>
                    <a:pt x="402" y="80"/>
                  </a:lnTo>
                  <a:lnTo>
                    <a:pt x="408" y="80"/>
                  </a:lnTo>
                  <a:lnTo>
                    <a:pt x="414" y="80"/>
                  </a:lnTo>
                  <a:lnTo>
                    <a:pt x="419" y="80"/>
                  </a:lnTo>
                  <a:lnTo>
                    <a:pt x="425" y="80"/>
                  </a:lnTo>
                  <a:lnTo>
                    <a:pt x="431" y="74"/>
                  </a:lnTo>
                  <a:lnTo>
                    <a:pt x="436" y="74"/>
                  </a:lnTo>
                  <a:lnTo>
                    <a:pt x="442" y="74"/>
                  </a:lnTo>
                  <a:lnTo>
                    <a:pt x="448" y="74"/>
                  </a:lnTo>
                  <a:lnTo>
                    <a:pt x="465" y="80"/>
                  </a:lnTo>
                  <a:lnTo>
                    <a:pt x="470" y="80"/>
                  </a:lnTo>
                  <a:lnTo>
                    <a:pt x="476" y="80"/>
                  </a:lnTo>
                  <a:lnTo>
                    <a:pt x="482" y="80"/>
                  </a:lnTo>
                  <a:lnTo>
                    <a:pt x="487" y="80"/>
                  </a:lnTo>
                  <a:lnTo>
                    <a:pt x="493" y="80"/>
                  </a:lnTo>
                  <a:lnTo>
                    <a:pt x="499" y="80"/>
                  </a:lnTo>
                  <a:lnTo>
                    <a:pt x="504" y="80"/>
                  </a:lnTo>
                  <a:lnTo>
                    <a:pt x="504" y="91"/>
                  </a:lnTo>
                  <a:lnTo>
                    <a:pt x="527" y="85"/>
                  </a:lnTo>
                  <a:lnTo>
                    <a:pt x="538" y="85"/>
                  </a:lnTo>
                  <a:lnTo>
                    <a:pt x="544" y="85"/>
                  </a:lnTo>
                  <a:lnTo>
                    <a:pt x="550" y="85"/>
                  </a:lnTo>
                  <a:lnTo>
                    <a:pt x="555" y="85"/>
                  </a:lnTo>
                  <a:lnTo>
                    <a:pt x="561" y="85"/>
                  </a:lnTo>
                  <a:lnTo>
                    <a:pt x="567" y="85"/>
                  </a:lnTo>
                  <a:lnTo>
                    <a:pt x="572" y="85"/>
                  </a:lnTo>
                  <a:lnTo>
                    <a:pt x="578" y="85"/>
                  </a:lnTo>
                  <a:lnTo>
                    <a:pt x="584" y="85"/>
                  </a:lnTo>
                  <a:lnTo>
                    <a:pt x="595" y="85"/>
                  </a:lnTo>
                  <a:lnTo>
                    <a:pt x="601" y="85"/>
                  </a:lnTo>
                  <a:lnTo>
                    <a:pt x="601" y="80"/>
                  </a:lnTo>
                  <a:lnTo>
                    <a:pt x="606" y="80"/>
                  </a:lnTo>
                  <a:lnTo>
                    <a:pt x="606" y="74"/>
                  </a:lnTo>
                  <a:lnTo>
                    <a:pt x="612" y="74"/>
                  </a:lnTo>
                  <a:lnTo>
                    <a:pt x="612" y="68"/>
                  </a:lnTo>
                  <a:lnTo>
                    <a:pt x="618" y="57"/>
                  </a:lnTo>
                  <a:lnTo>
                    <a:pt x="623" y="51"/>
                  </a:lnTo>
                  <a:lnTo>
                    <a:pt x="623" y="46"/>
                  </a:lnTo>
                  <a:lnTo>
                    <a:pt x="623" y="40"/>
                  </a:lnTo>
                  <a:lnTo>
                    <a:pt x="629" y="40"/>
                  </a:lnTo>
                  <a:lnTo>
                    <a:pt x="635" y="40"/>
                  </a:lnTo>
                  <a:lnTo>
                    <a:pt x="635" y="34"/>
                  </a:lnTo>
                  <a:lnTo>
                    <a:pt x="641" y="34"/>
                  </a:lnTo>
                  <a:lnTo>
                    <a:pt x="641" y="29"/>
                  </a:lnTo>
                  <a:lnTo>
                    <a:pt x="646" y="29"/>
                  </a:lnTo>
                  <a:lnTo>
                    <a:pt x="652" y="29"/>
                  </a:lnTo>
                  <a:lnTo>
                    <a:pt x="658" y="29"/>
                  </a:lnTo>
                  <a:lnTo>
                    <a:pt x="669" y="23"/>
                  </a:lnTo>
                  <a:lnTo>
                    <a:pt x="675" y="23"/>
                  </a:lnTo>
                  <a:lnTo>
                    <a:pt x="680" y="17"/>
                  </a:lnTo>
                  <a:lnTo>
                    <a:pt x="692" y="17"/>
                  </a:lnTo>
                  <a:lnTo>
                    <a:pt x="697" y="11"/>
                  </a:lnTo>
                  <a:lnTo>
                    <a:pt x="709" y="6"/>
                  </a:lnTo>
                  <a:lnTo>
                    <a:pt x="720" y="0"/>
                  </a:lnTo>
                  <a:lnTo>
                    <a:pt x="720" y="6"/>
                  </a:lnTo>
                  <a:lnTo>
                    <a:pt x="726" y="6"/>
                  </a:lnTo>
                  <a:lnTo>
                    <a:pt x="731" y="6"/>
                  </a:lnTo>
                  <a:lnTo>
                    <a:pt x="731" y="11"/>
                  </a:lnTo>
                  <a:lnTo>
                    <a:pt x="737" y="17"/>
                  </a:lnTo>
                  <a:lnTo>
                    <a:pt x="737" y="23"/>
                  </a:lnTo>
                  <a:lnTo>
                    <a:pt x="737" y="34"/>
                  </a:lnTo>
                  <a:lnTo>
                    <a:pt x="743" y="46"/>
                  </a:lnTo>
                  <a:lnTo>
                    <a:pt x="748" y="57"/>
                  </a:lnTo>
                  <a:lnTo>
                    <a:pt x="743" y="68"/>
                  </a:lnTo>
                  <a:lnTo>
                    <a:pt x="748" y="68"/>
                  </a:lnTo>
                  <a:lnTo>
                    <a:pt x="748" y="74"/>
                  </a:lnTo>
                  <a:lnTo>
                    <a:pt x="748" y="80"/>
                  </a:lnTo>
                  <a:lnTo>
                    <a:pt x="754" y="85"/>
                  </a:lnTo>
                  <a:lnTo>
                    <a:pt x="760" y="85"/>
                  </a:lnTo>
                  <a:lnTo>
                    <a:pt x="765" y="85"/>
                  </a:lnTo>
                  <a:lnTo>
                    <a:pt x="765" y="80"/>
                  </a:lnTo>
                  <a:lnTo>
                    <a:pt x="771" y="80"/>
                  </a:lnTo>
                  <a:lnTo>
                    <a:pt x="777" y="80"/>
                  </a:lnTo>
                  <a:lnTo>
                    <a:pt x="777" y="74"/>
                  </a:lnTo>
                  <a:lnTo>
                    <a:pt x="782" y="74"/>
                  </a:lnTo>
                  <a:lnTo>
                    <a:pt x="788" y="80"/>
                  </a:lnTo>
                  <a:lnTo>
                    <a:pt x="794" y="80"/>
                  </a:lnTo>
                  <a:lnTo>
                    <a:pt x="794" y="85"/>
                  </a:lnTo>
                  <a:lnTo>
                    <a:pt x="799" y="85"/>
                  </a:lnTo>
                  <a:lnTo>
                    <a:pt x="805" y="85"/>
                  </a:lnTo>
                  <a:lnTo>
                    <a:pt x="811" y="85"/>
                  </a:lnTo>
                  <a:lnTo>
                    <a:pt x="833" y="85"/>
                  </a:lnTo>
                  <a:lnTo>
                    <a:pt x="839" y="85"/>
                  </a:lnTo>
                  <a:lnTo>
                    <a:pt x="845" y="91"/>
                  </a:lnTo>
                  <a:lnTo>
                    <a:pt x="850" y="97"/>
                  </a:lnTo>
                  <a:lnTo>
                    <a:pt x="850" y="108"/>
                  </a:lnTo>
                  <a:lnTo>
                    <a:pt x="850" y="119"/>
                  </a:lnTo>
                  <a:lnTo>
                    <a:pt x="856" y="131"/>
                  </a:lnTo>
                  <a:lnTo>
                    <a:pt x="856" y="142"/>
                  </a:lnTo>
                  <a:lnTo>
                    <a:pt x="862" y="165"/>
                  </a:lnTo>
                  <a:lnTo>
                    <a:pt x="862" y="182"/>
                  </a:lnTo>
                  <a:lnTo>
                    <a:pt x="862" y="187"/>
                  </a:lnTo>
                  <a:lnTo>
                    <a:pt x="862" y="193"/>
                  </a:lnTo>
                  <a:lnTo>
                    <a:pt x="856" y="193"/>
                  </a:lnTo>
                  <a:lnTo>
                    <a:pt x="850" y="193"/>
                  </a:lnTo>
                  <a:lnTo>
                    <a:pt x="850" y="199"/>
                  </a:lnTo>
                  <a:lnTo>
                    <a:pt x="845" y="199"/>
                  </a:lnTo>
                  <a:lnTo>
                    <a:pt x="839" y="204"/>
                  </a:lnTo>
                  <a:lnTo>
                    <a:pt x="833" y="210"/>
                  </a:lnTo>
                  <a:lnTo>
                    <a:pt x="828" y="210"/>
                  </a:lnTo>
                  <a:lnTo>
                    <a:pt x="822" y="210"/>
                  </a:lnTo>
                  <a:lnTo>
                    <a:pt x="822" y="216"/>
                  </a:lnTo>
                  <a:lnTo>
                    <a:pt x="822" y="221"/>
                  </a:lnTo>
                  <a:lnTo>
                    <a:pt x="816" y="221"/>
                  </a:lnTo>
                  <a:lnTo>
                    <a:pt x="811" y="221"/>
                  </a:lnTo>
                  <a:lnTo>
                    <a:pt x="805" y="221"/>
                  </a:lnTo>
                  <a:lnTo>
                    <a:pt x="799" y="216"/>
                  </a:lnTo>
                  <a:lnTo>
                    <a:pt x="794" y="216"/>
                  </a:lnTo>
                  <a:lnTo>
                    <a:pt x="782" y="221"/>
                  </a:lnTo>
                  <a:lnTo>
                    <a:pt x="777" y="221"/>
                  </a:lnTo>
                  <a:lnTo>
                    <a:pt x="771" y="221"/>
                  </a:lnTo>
                  <a:lnTo>
                    <a:pt x="760" y="221"/>
                  </a:lnTo>
                  <a:lnTo>
                    <a:pt x="754" y="221"/>
                  </a:lnTo>
                  <a:lnTo>
                    <a:pt x="748" y="227"/>
                  </a:lnTo>
                  <a:lnTo>
                    <a:pt x="743" y="227"/>
                  </a:lnTo>
                  <a:lnTo>
                    <a:pt x="737" y="233"/>
                  </a:lnTo>
                  <a:lnTo>
                    <a:pt x="737" y="238"/>
                  </a:lnTo>
                  <a:lnTo>
                    <a:pt x="731" y="238"/>
                  </a:lnTo>
                  <a:lnTo>
                    <a:pt x="726" y="238"/>
                  </a:lnTo>
                  <a:lnTo>
                    <a:pt x="726" y="244"/>
                  </a:lnTo>
                  <a:lnTo>
                    <a:pt x="726" y="250"/>
                  </a:lnTo>
                  <a:lnTo>
                    <a:pt x="720" y="255"/>
                  </a:lnTo>
                  <a:lnTo>
                    <a:pt x="720" y="267"/>
                  </a:lnTo>
                  <a:lnTo>
                    <a:pt x="714" y="278"/>
                  </a:lnTo>
                  <a:lnTo>
                    <a:pt x="714" y="284"/>
                  </a:lnTo>
                  <a:lnTo>
                    <a:pt x="709" y="295"/>
                  </a:lnTo>
                  <a:lnTo>
                    <a:pt x="709" y="318"/>
                  </a:lnTo>
                  <a:lnTo>
                    <a:pt x="709" y="340"/>
                  </a:lnTo>
                  <a:lnTo>
                    <a:pt x="709" y="346"/>
                  </a:lnTo>
                  <a:lnTo>
                    <a:pt x="709" y="352"/>
                  </a:lnTo>
                  <a:lnTo>
                    <a:pt x="703" y="352"/>
                  </a:lnTo>
                  <a:lnTo>
                    <a:pt x="703" y="357"/>
                  </a:lnTo>
                  <a:lnTo>
                    <a:pt x="703" y="363"/>
                  </a:lnTo>
                  <a:lnTo>
                    <a:pt x="697" y="369"/>
                  </a:lnTo>
                  <a:lnTo>
                    <a:pt x="692" y="374"/>
                  </a:lnTo>
                  <a:lnTo>
                    <a:pt x="692" y="380"/>
                  </a:lnTo>
                  <a:lnTo>
                    <a:pt x="686" y="380"/>
                  </a:lnTo>
                  <a:lnTo>
                    <a:pt x="680" y="380"/>
                  </a:lnTo>
                  <a:lnTo>
                    <a:pt x="675" y="380"/>
                  </a:lnTo>
                  <a:lnTo>
                    <a:pt x="663" y="386"/>
                  </a:lnTo>
                  <a:lnTo>
                    <a:pt x="658" y="386"/>
                  </a:lnTo>
                  <a:lnTo>
                    <a:pt x="652" y="391"/>
                  </a:lnTo>
                  <a:lnTo>
                    <a:pt x="646" y="391"/>
                  </a:lnTo>
                  <a:lnTo>
                    <a:pt x="641" y="397"/>
                  </a:lnTo>
                  <a:lnTo>
                    <a:pt x="635" y="397"/>
                  </a:lnTo>
                  <a:lnTo>
                    <a:pt x="635" y="403"/>
                  </a:lnTo>
                  <a:lnTo>
                    <a:pt x="629" y="403"/>
                  </a:lnTo>
                  <a:lnTo>
                    <a:pt x="623" y="403"/>
                  </a:lnTo>
                  <a:lnTo>
                    <a:pt x="618" y="408"/>
                  </a:lnTo>
                  <a:lnTo>
                    <a:pt x="601" y="414"/>
                  </a:lnTo>
                  <a:lnTo>
                    <a:pt x="595" y="414"/>
                  </a:lnTo>
                  <a:lnTo>
                    <a:pt x="595" y="420"/>
                  </a:lnTo>
                  <a:lnTo>
                    <a:pt x="589" y="420"/>
                  </a:lnTo>
                  <a:lnTo>
                    <a:pt x="584" y="420"/>
                  </a:lnTo>
                  <a:lnTo>
                    <a:pt x="578" y="420"/>
                  </a:lnTo>
                  <a:lnTo>
                    <a:pt x="572" y="420"/>
                  </a:lnTo>
                  <a:lnTo>
                    <a:pt x="567" y="425"/>
                  </a:lnTo>
                  <a:lnTo>
                    <a:pt x="561" y="425"/>
                  </a:lnTo>
                  <a:lnTo>
                    <a:pt x="555" y="431"/>
                  </a:lnTo>
                  <a:lnTo>
                    <a:pt x="550" y="431"/>
                  </a:lnTo>
                  <a:lnTo>
                    <a:pt x="544" y="437"/>
                  </a:lnTo>
                  <a:lnTo>
                    <a:pt x="538" y="437"/>
                  </a:lnTo>
                  <a:lnTo>
                    <a:pt x="538" y="442"/>
                  </a:lnTo>
                  <a:lnTo>
                    <a:pt x="538" y="448"/>
                  </a:lnTo>
                  <a:lnTo>
                    <a:pt x="533" y="448"/>
                  </a:lnTo>
                  <a:lnTo>
                    <a:pt x="533" y="454"/>
                  </a:lnTo>
                  <a:lnTo>
                    <a:pt x="527" y="454"/>
                  </a:lnTo>
                  <a:lnTo>
                    <a:pt x="527" y="459"/>
                  </a:lnTo>
                  <a:lnTo>
                    <a:pt x="521" y="459"/>
                  </a:lnTo>
                  <a:lnTo>
                    <a:pt x="521" y="465"/>
                  </a:lnTo>
                  <a:lnTo>
                    <a:pt x="527" y="471"/>
                  </a:lnTo>
                  <a:lnTo>
                    <a:pt x="527" y="476"/>
                  </a:lnTo>
                  <a:lnTo>
                    <a:pt x="533" y="476"/>
                  </a:lnTo>
                  <a:lnTo>
                    <a:pt x="538" y="476"/>
                  </a:lnTo>
                  <a:lnTo>
                    <a:pt x="544" y="476"/>
                  </a:lnTo>
                  <a:lnTo>
                    <a:pt x="550" y="471"/>
                  </a:lnTo>
                  <a:lnTo>
                    <a:pt x="555" y="471"/>
                  </a:lnTo>
                  <a:lnTo>
                    <a:pt x="561" y="471"/>
                  </a:lnTo>
                  <a:lnTo>
                    <a:pt x="561" y="465"/>
                  </a:lnTo>
                  <a:lnTo>
                    <a:pt x="567" y="465"/>
                  </a:lnTo>
                  <a:lnTo>
                    <a:pt x="572" y="465"/>
                  </a:lnTo>
                  <a:lnTo>
                    <a:pt x="578" y="471"/>
                  </a:lnTo>
                  <a:lnTo>
                    <a:pt x="578" y="476"/>
                  </a:lnTo>
                  <a:lnTo>
                    <a:pt x="584" y="482"/>
                  </a:lnTo>
                  <a:lnTo>
                    <a:pt x="589" y="488"/>
                  </a:lnTo>
                  <a:lnTo>
                    <a:pt x="589" y="493"/>
                  </a:lnTo>
                  <a:lnTo>
                    <a:pt x="589" y="499"/>
                  </a:lnTo>
                  <a:lnTo>
                    <a:pt x="589" y="505"/>
                  </a:lnTo>
                  <a:lnTo>
                    <a:pt x="595" y="505"/>
                  </a:lnTo>
                  <a:lnTo>
                    <a:pt x="589" y="516"/>
                  </a:lnTo>
                  <a:lnTo>
                    <a:pt x="589" y="522"/>
                  </a:lnTo>
                  <a:lnTo>
                    <a:pt x="589" y="527"/>
                  </a:lnTo>
                  <a:lnTo>
                    <a:pt x="589" y="533"/>
                  </a:lnTo>
                  <a:lnTo>
                    <a:pt x="589" y="539"/>
                  </a:lnTo>
                  <a:lnTo>
                    <a:pt x="584" y="539"/>
                  </a:lnTo>
                  <a:lnTo>
                    <a:pt x="584" y="544"/>
                  </a:lnTo>
                  <a:lnTo>
                    <a:pt x="578" y="544"/>
                  </a:lnTo>
                  <a:lnTo>
                    <a:pt x="578" y="550"/>
                  </a:lnTo>
                  <a:lnTo>
                    <a:pt x="578" y="556"/>
                  </a:lnTo>
                  <a:lnTo>
                    <a:pt x="578" y="561"/>
                  </a:lnTo>
                  <a:lnTo>
                    <a:pt x="584" y="561"/>
                  </a:lnTo>
                  <a:lnTo>
                    <a:pt x="584" y="567"/>
                  </a:lnTo>
                  <a:lnTo>
                    <a:pt x="589" y="567"/>
                  </a:lnTo>
                  <a:lnTo>
                    <a:pt x="589" y="573"/>
                  </a:lnTo>
                  <a:lnTo>
                    <a:pt x="595" y="573"/>
                  </a:lnTo>
                  <a:lnTo>
                    <a:pt x="601" y="573"/>
                  </a:lnTo>
                  <a:lnTo>
                    <a:pt x="606" y="578"/>
                  </a:lnTo>
                  <a:lnTo>
                    <a:pt x="606" y="584"/>
                  </a:lnTo>
                  <a:lnTo>
                    <a:pt x="618" y="595"/>
                  </a:lnTo>
                  <a:lnTo>
                    <a:pt x="618" y="601"/>
                  </a:lnTo>
                  <a:lnTo>
                    <a:pt x="618" y="607"/>
                  </a:lnTo>
                  <a:lnTo>
                    <a:pt x="623" y="607"/>
                  </a:lnTo>
                  <a:lnTo>
                    <a:pt x="623" y="612"/>
                  </a:lnTo>
                  <a:lnTo>
                    <a:pt x="623" y="618"/>
                  </a:lnTo>
                  <a:lnTo>
                    <a:pt x="629" y="618"/>
                  </a:lnTo>
                  <a:lnTo>
                    <a:pt x="635" y="624"/>
                  </a:lnTo>
                  <a:lnTo>
                    <a:pt x="635" y="629"/>
                  </a:lnTo>
                  <a:lnTo>
                    <a:pt x="641" y="635"/>
                  </a:lnTo>
                  <a:lnTo>
                    <a:pt x="652" y="641"/>
                  </a:lnTo>
                  <a:lnTo>
                    <a:pt x="663" y="641"/>
                  </a:lnTo>
                  <a:lnTo>
                    <a:pt x="669" y="641"/>
                  </a:lnTo>
                  <a:lnTo>
                    <a:pt x="675" y="641"/>
                  </a:lnTo>
                  <a:lnTo>
                    <a:pt x="680" y="641"/>
                  </a:lnTo>
                  <a:lnTo>
                    <a:pt x="692" y="641"/>
                  </a:lnTo>
                  <a:lnTo>
                    <a:pt x="703" y="646"/>
                  </a:lnTo>
                  <a:lnTo>
                    <a:pt x="714" y="646"/>
                  </a:lnTo>
                  <a:lnTo>
                    <a:pt x="720" y="646"/>
                  </a:lnTo>
                  <a:lnTo>
                    <a:pt x="731" y="652"/>
                  </a:lnTo>
                  <a:lnTo>
                    <a:pt x="743" y="658"/>
                  </a:lnTo>
                  <a:lnTo>
                    <a:pt x="748" y="658"/>
                  </a:lnTo>
                  <a:lnTo>
                    <a:pt x="754" y="658"/>
                  </a:lnTo>
                  <a:lnTo>
                    <a:pt x="760" y="658"/>
                  </a:lnTo>
                  <a:lnTo>
                    <a:pt x="771" y="658"/>
                  </a:lnTo>
                  <a:lnTo>
                    <a:pt x="777" y="663"/>
                  </a:lnTo>
                  <a:lnTo>
                    <a:pt x="777" y="669"/>
                  </a:lnTo>
                  <a:lnTo>
                    <a:pt x="777" y="675"/>
                  </a:lnTo>
                  <a:lnTo>
                    <a:pt x="777" y="680"/>
                  </a:lnTo>
                  <a:lnTo>
                    <a:pt x="771" y="680"/>
                  </a:lnTo>
                  <a:lnTo>
                    <a:pt x="771" y="686"/>
                  </a:lnTo>
                  <a:lnTo>
                    <a:pt x="765" y="686"/>
                  </a:lnTo>
                  <a:lnTo>
                    <a:pt x="760" y="692"/>
                  </a:lnTo>
                  <a:lnTo>
                    <a:pt x="760" y="697"/>
                  </a:lnTo>
                  <a:lnTo>
                    <a:pt x="754" y="697"/>
                  </a:lnTo>
                  <a:lnTo>
                    <a:pt x="748" y="697"/>
                  </a:lnTo>
                  <a:lnTo>
                    <a:pt x="743" y="697"/>
                  </a:lnTo>
                  <a:lnTo>
                    <a:pt x="731" y="697"/>
                  </a:lnTo>
                  <a:lnTo>
                    <a:pt x="726" y="703"/>
                  </a:lnTo>
                  <a:lnTo>
                    <a:pt x="720" y="703"/>
                  </a:lnTo>
                  <a:lnTo>
                    <a:pt x="714" y="709"/>
                  </a:lnTo>
                  <a:lnTo>
                    <a:pt x="709" y="709"/>
                  </a:lnTo>
                  <a:lnTo>
                    <a:pt x="703" y="714"/>
                  </a:lnTo>
                  <a:lnTo>
                    <a:pt x="703" y="726"/>
                  </a:lnTo>
                  <a:lnTo>
                    <a:pt x="703" y="731"/>
                  </a:lnTo>
                  <a:lnTo>
                    <a:pt x="703" y="737"/>
                  </a:lnTo>
                  <a:lnTo>
                    <a:pt x="709" y="737"/>
                  </a:lnTo>
                  <a:lnTo>
                    <a:pt x="714" y="743"/>
                  </a:lnTo>
                  <a:lnTo>
                    <a:pt x="720" y="748"/>
                  </a:lnTo>
                  <a:lnTo>
                    <a:pt x="720" y="754"/>
                  </a:lnTo>
                  <a:lnTo>
                    <a:pt x="714" y="754"/>
                  </a:lnTo>
                  <a:lnTo>
                    <a:pt x="709" y="754"/>
                  </a:lnTo>
                  <a:lnTo>
                    <a:pt x="703" y="748"/>
                  </a:lnTo>
                  <a:lnTo>
                    <a:pt x="697" y="748"/>
                  </a:lnTo>
                  <a:lnTo>
                    <a:pt x="697" y="743"/>
                  </a:lnTo>
                  <a:lnTo>
                    <a:pt x="692" y="743"/>
                  </a:lnTo>
                  <a:lnTo>
                    <a:pt x="686" y="743"/>
                  </a:lnTo>
                  <a:lnTo>
                    <a:pt x="663" y="743"/>
                  </a:lnTo>
                  <a:lnTo>
                    <a:pt x="646" y="737"/>
                  </a:lnTo>
                  <a:lnTo>
                    <a:pt x="641" y="737"/>
                  </a:lnTo>
                  <a:lnTo>
                    <a:pt x="635" y="743"/>
                  </a:lnTo>
                  <a:lnTo>
                    <a:pt x="629" y="737"/>
                  </a:lnTo>
                  <a:lnTo>
                    <a:pt x="623" y="731"/>
                  </a:lnTo>
                  <a:lnTo>
                    <a:pt x="623" y="726"/>
                  </a:lnTo>
                  <a:lnTo>
                    <a:pt x="618" y="714"/>
                  </a:lnTo>
                  <a:lnTo>
                    <a:pt x="618" y="697"/>
                  </a:lnTo>
                  <a:lnTo>
                    <a:pt x="612" y="686"/>
                  </a:lnTo>
                  <a:lnTo>
                    <a:pt x="612" y="680"/>
                  </a:lnTo>
                  <a:lnTo>
                    <a:pt x="606" y="669"/>
                  </a:lnTo>
                  <a:lnTo>
                    <a:pt x="606" y="663"/>
                  </a:lnTo>
                  <a:lnTo>
                    <a:pt x="601" y="658"/>
                  </a:lnTo>
                  <a:lnTo>
                    <a:pt x="601" y="652"/>
                  </a:lnTo>
                  <a:lnTo>
                    <a:pt x="595" y="652"/>
                  </a:lnTo>
                  <a:lnTo>
                    <a:pt x="595" y="646"/>
                  </a:lnTo>
                  <a:lnTo>
                    <a:pt x="589" y="646"/>
                  </a:lnTo>
                  <a:lnTo>
                    <a:pt x="589" y="641"/>
                  </a:lnTo>
                  <a:lnTo>
                    <a:pt x="584" y="641"/>
                  </a:lnTo>
                  <a:lnTo>
                    <a:pt x="578" y="641"/>
                  </a:lnTo>
                  <a:lnTo>
                    <a:pt x="572" y="641"/>
                  </a:lnTo>
                  <a:lnTo>
                    <a:pt x="561" y="641"/>
                  </a:lnTo>
                  <a:lnTo>
                    <a:pt x="555" y="646"/>
                  </a:lnTo>
                  <a:lnTo>
                    <a:pt x="550" y="646"/>
                  </a:lnTo>
                  <a:lnTo>
                    <a:pt x="544" y="646"/>
                  </a:lnTo>
                  <a:lnTo>
                    <a:pt x="538" y="646"/>
                  </a:lnTo>
                  <a:lnTo>
                    <a:pt x="533" y="646"/>
                  </a:lnTo>
                  <a:lnTo>
                    <a:pt x="521" y="646"/>
                  </a:lnTo>
                  <a:lnTo>
                    <a:pt x="516" y="646"/>
                  </a:lnTo>
                  <a:lnTo>
                    <a:pt x="510" y="646"/>
                  </a:lnTo>
                  <a:lnTo>
                    <a:pt x="510" y="641"/>
                  </a:lnTo>
                  <a:lnTo>
                    <a:pt x="504" y="635"/>
                  </a:lnTo>
                  <a:lnTo>
                    <a:pt x="504" y="629"/>
                  </a:lnTo>
                  <a:lnTo>
                    <a:pt x="504" y="624"/>
                  </a:lnTo>
                  <a:lnTo>
                    <a:pt x="499" y="618"/>
                  </a:lnTo>
                  <a:lnTo>
                    <a:pt x="493" y="618"/>
                  </a:lnTo>
                  <a:lnTo>
                    <a:pt x="487" y="618"/>
                  </a:lnTo>
                  <a:lnTo>
                    <a:pt x="482" y="618"/>
                  </a:lnTo>
                  <a:lnTo>
                    <a:pt x="476" y="624"/>
                  </a:lnTo>
                  <a:lnTo>
                    <a:pt x="465" y="629"/>
                  </a:lnTo>
                  <a:lnTo>
                    <a:pt x="453" y="624"/>
                  </a:lnTo>
                  <a:lnTo>
                    <a:pt x="448" y="624"/>
                  </a:lnTo>
                  <a:lnTo>
                    <a:pt x="448" y="618"/>
                  </a:lnTo>
                  <a:lnTo>
                    <a:pt x="442" y="618"/>
                  </a:lnTo>
                  <a:lnTo>
                    <a:pt x="436" y="618"/>
                  </a:lnTo>
                  <a:lnTo>
                    <a:pt x="436" y="612"/>
                  </a:lnTo>
                  <a:lnTo>
                    <a:pt x="431" y="612"/>
                  </a:lnTo>
                  <a:lnTo>
                    <a:pt x="425" y="612"/>
                  </a:lnTo>
                  <a:lnTo>
                    <a:pt x="419" y="612"/>
                  </a:lnTo>
                  <a:lnTo>
                    <a:pt x="419" y="607"/>
                  </a:lnTo>
                  <a:lnTo>
                    <a:pt x="408" y="607"/>
                  </a:lnTo>
                  <a:lnTo>
                    <a:pt x="402" y="607"/>
                  </a:lnTo>
                  <a:lnTo>
                    <a:pt x="397" y="612"/>
                  </a:lnTo>
                  <a:lnTo>
                    <a:pt x="391" y="607"/>
                  </a:lnTo>
                  <a:lnTo>
                    <a:pt x="397" y="601"/>
                  </a:lnTo>
                  <a:lnTo>
                    <a:pt x="397" y="595"/>
                  </a:lnTo>
                  <a:lnTo>
                    <a:pt x="397" y="590"/>
                  </a:lnTo>
                  <a:lnTo>
                    <a:pt x="391" y="584"/>
                  </a:lnTo>
                  <a:lnTo>
                    <a:pt x="397" y="578"/>
                  </a:lnTo>
                  <a:lnTo>
                    <a:pt x="397" y="573"/>
                  </a:lnTo>
                  <a:lnTo>
                    <a:pt x="402" y="561"/>
                  </a:lnTo>
                  <a:lnTo>
                    <a:pt x="408" y="556"/>
                  </a:lnTo>
                  <a:lnTo>
                    <a:pt x="414" y="556"/>
                  </a:lnTo>
                  <a:lnTo>
                    <a:pt x="419" y="556"/>
                  </a:lnTo>
                  <a:lnTo>
                    <a:pt x="425" y="556"/>
                  </a:lnTo>
                  <a:lnTo>
                    <a:pt x="425" y="550"/>
                  </a:lnTo>
                  <a:lnTo>
                    <a:pt x="431" y="544"/>
                  </a:lnTo>
                  <a:lnTo>
                    <a:pt x="436" y="539"/>
                  </a:lnTo>
                  <a:lnTo>
                    <a:pt x="436" y="533"/>
                  </a:lnTo>
                  <a:lnTo>
                    <a:pt x="436" y="527"/>
                  </a:lnTo>
                  <a:lnTo>
                    <a:pt x="431" y="527"/>
                  </a:lnTo>
                  <a:lnTo>
                    <a:pt x="425" y="527"/>
                  </a:lnTo>
                  <a:lnTo>
                    <a:pt x="419" y="527"/>
                  </a:lnTo>
                  <a:lnTo>
                    <a:pt x="419" y="522"/>
                  </a:lnTo>
                  <a:lnTo>
                    <a:pt x="419" y="516"/>
                  </a:lnTo>
                  <a:lnTo>
                    <a:pt x="414" y="516"/>
                  </a:lnTo>
                  <a:lnTo>
                    <a:pt x="408" y="510"/>
                  </a:lnTo>
                  <a:lnTo>
                    <a:pt x="402" y="505"/>
                  </a:lnTo>
                  <a:lnTo>
                    <a:pt x="397" y="505"/>
                  </a:lnTo>
                  <a:lnTo>
                    <a:pt x="391" y="499"/>
                  </a:lnTo>
                  <a:lnTo>
                    <a:pt x="391" y="493"/>
                  </a:lnTo>
                  <a:lnTo>
                    <a:pt x="391" y="488"/>
                  </a:lnTo>
                  <a:lnTo>
                    <a:pt x="391" y="482"/>
                  </a:lnTo>
                  <a:lnTo>
                    <a:pt x="397" y="482"/>
                  </a:lnTo>
                  <a:lnTo>
                    <a:pt x="397" y="476"/>
                  </a:lnTo>
                  <a:lnTo>
                    <a:pt x="397" y="471"/>
                  </a:lnTo>
                  <a:lnTo>
                    <a:pt x="391" y="471"/>
                  </a:lnTo>
                  <a:lnTo>
                    <a:pt x="380" y="476"/>
                  </a:lnTo>
                  <a:lnTo>
                    <a:pt x="368" y="476"/>
                  </a:lnTo>
                  <a:lnTo>
                    <a:pt x="363" y="476"/>
                  </a:lnTo>
                  <a:lnTo>
                    <a:pt x="363" y="471"/>
                  </a:lnTo>
                  <a:lnTo>
                    <a:pt x="363" y="465"/>
                  </a:lnTo>
                  <a:lnTo>
                    <a:pt x="363" y="459"/>
                  </a:lnTo>
                  <a:lnTo>
                    <a:pt x="363" y="448"/>
                  </a:lnTo>
                  <a:lnTo>
                    <a:pt x="363" y="442"/>
                  </a:lnTo>
                  <a:lnTo>
                    <a:pt x="363" y="437"/>
                  </a:lnTo>
                  <a:lnTo>
                    <a:pt x="368" y="437"/>
                  </a:lnTo>
                  <a:lnTo>
                    <a:pt x="368" y="431"/>
                  </a:lnTo>
                  <a:lnTo>
                    <a:pt x="374" y="431"/>
                  </a:lnTo>
                  <a:lnTo>
                    <a:pt x="380" y="431"/>
                  </a:lnTo>
                  <a:lnTo>
                    <a:pt x="380" y="425"/>
                  </a:lnTo>
                  <a:lnTo>
                    <a:pt x="385" y="420"/>
                  </a:lnTo>
                  <a:lnTo>
                    <a:pt x="385" y="403"/>
                  </a:lnTo>
                  <a:lnTo>
                    <a:pt x="385" y="391"/>
                  </a:lnTo>
                  <a:lnTo>
                    <a:pt x="385" y="386"/>
                  </a:lnTo>
                  <a:lnTo>
                    <a:pt x="385" y="380"/>
                  </a:lnTo>
                  <a:lnTo>
                    <a:pt x="380" y="374"/>
                  </a:lnTo>
                  <a:lnTo>
                    <a:pt x="380" y="363"/>
                  </a:lnTo>
                  <a:lnTo>
                    <a:pt x="380" y="352"/>
                  </a:lnTo>
                  <a:lnTo>
                    <a:pt x="374" y="346"/>
                  </a:lnTo>
                  <a:lnTo>
                    <a:pt x="368" y="346"/>
                  </a:lnTo>
                  <a:lnTo>
                    <a:pt x="368" y="340"/>
                  </a:lnTo>
                  <a:lnTo>
                    <a:pt x="363" y="346"/>
                  </a:lnTo>
                  <a:lnTo>
                    <a:pt x="363" y="352"/>
                  </a:lnTo>
                  <a:lnTo>
                    <a:pt x="357" y="352"/>
                  </a:lnTo>
                  <a:lnTo>
                    <a:pt x="357" y="357"/>
                  </a:lnTo>
                  <a:lnTo>
                    <a:pt x="357" y="363"/>
                  </a:lnTo>
                  <a:lnTo>
                    <a:pt x="357" y="369"/>
                  </a:lnTo>
                  <a:lnTo>
                    <a:pt x="351" y="369"/>
                  </a:lnTo>
                  <a:lnTo>
                    <a:pt x="346" y="369"/>
                  </a:lnTo>
                  <a:lnTo>
                    <a:pt x="340" y="363"/>
                  </a:lnTo>
                  <a:lnTo>
                    <a:pt x="334" y="363"/>
                  </a:lnTo>
                  <a:lnTo>
                    <a:pt x="334" y="357"/>
                  </a:lnTo>
                  <a:lnTo>
                    <a:pt x="334" y="352"/>
                  </a:lnTo>
                  <a:lnTo>
                    <a:pt x="334" y="346"/>
                  </a:lnTo>
                  <a:lnTo>
                    <a:pt x="329" y="340"/>
                  </a:lnTo>
                  <a:lnTo>
                    <a:pt x="317" y="346"/>
                  </a:lnTo>
                  <a:lnTo>
                    <a:pt x="312" y="346"/>
                  </a:lnTo>
                  <a:lnTo>
                    <a:pt x="306" y="352"/>
                  </a:lnTo>
                  <a:lnTo>
                    <a:pt x="300" y="352"/>
                  </a:lnTo>
                  <a:lnTo>
                    <a:pt x="289" y="346"/>
                  </a:lnTo>
                  <a:lnTo>
                    <a:pt x="283" y="346"/>
                  </a:lnTo>
                  <a:lnTo>
                    <a:pt x="283" y="340"/>
                  </a:lnTo>
                  <a:lnTo>
                    <a:pt x="278" y="340"/>
                  </a:lnTo>
                  <a:lnTo>
                    <a:pt x="278" y="335"/>
                  </a:lnTo>
                  <a:lnTo>
                    <a:pt x="283" y="335"/>
                  </a:lnTo>
                  <a:lnTo>
                    <a:pt x="283" y="329"/>
                  </a:lnTo>
                  <a:lnTo>
                    <a:pt x="283" y="323"/>
                  </a:lnTo>
                  <a:lnTo>
                    <a:pt x="289" y="323"/>
                  </a:lnTo>
                  <a:lnTo>
                    <a:pt x="289" y="318"/>
                  </a:lnTo>
                  <a:lnTo>
                    <a:pt x="289" y="312"/>
                  </a:lnTo>
                  <a:lnTo>
                    <a:pt x="295" y="312"/>
                  </a:lnTo>
                  <a:lnTo>
                    <a:pt x="295" y="306"/>
                  </a:lnTo>
                  <a:lnTo>
                    <a:pt x="289" y="306"/>
                  </a:lnTo>
                  <a:lnTo>
                    <a:pt x="289" y="301"/>
                  </a:lnTo>
                  <a:lnTo>
                    <a:pt x="283" y="301"/>
                  </a:lnTo>
                  <a:lnTo>
                    <a:pt x="283" y="295"/>
                  </a:lnTo>
                  <a:lnTo>
                    <a:pt x="283" y="284"/>
                  </a:lnTo>
                  <a:lnTo>
                    <a:pt x="278" y="284"/>
                  </a:lnTo>
                  <a:lnTo>
                    <a:pt x="278" y="278"/>
                  </a:lnTo>
                  <a:lnTo>
                    <a:pt x="278" y="272"/>
                  </a:lnTo>
                  <a:lnTo>
                    <a:pt x="272" y="272"/>
                  </a:lnTo>
                  <a:lnTo>
                    <a:pt x="272" y="267"/>
                  </a:lnTo>
                  <a:lnTo>
                    <a:pt x="266" y="267"/>
                  </a:lnTo>
                  <a:lnTo>
                    <a:pt x="255" y="267"/>
                  </a:lnTo>
                  <a:lnTo>
                    <a:pt x="249" y="267"/>
                  </a:lnTo>
                  <a:lnTo>
                    <a:pt x="238" y="272"/>
                  </a:lnTo>
                  <a:lnTo>
                    <a:pt x="232" y="272"/>
                  </a:lnTo>
                  <a:lnTo>
                    <a:pt x="227" y="267"/>
                  </a:lnTo>
                  <a:lnTo>
                    <a:pt x="221" y="267"/>
                  </a:lnTo>
                  <a:lnTo>
                    <a:pt x="221" y="255"/>
                  </a:lnTo>
                  <a:lnTo>
                    <a:pt x="221" y="250"/>
                  </a:lnTo>
                  <a:lnTo>
                    <a:pt x="227" y="244"/>
                  </a:lnTo>
                  <a:lnTo>
                    <a:pt x="227" y="238"/>
                  </a:lnTo>
                  <a:lnTo>
                    <a:pt x="227" y="233"/>
                  </a:lnTo>
                  <a:lnTo>
                    <a:pt x="227" y="227"/>
                  </a:lnTo>
                  <a:lnTo>
                    <a:pt x="221" y="227"/>
                  </a:lnTo>
                  <a:lnTo>
                    <a:pt x="221" y="221"/>
                  </a:lnTo>
                  <a:lnTo>
                    <a:pt x="215" y="221"/>
                  </a:lnTo>
                  <a:lnTo>
                    <a:pt x="210" y="221"/>
                  </a:lnTo>
                  <a:lnTo>
                    <a:pt x="198" y="221"/>
                  </a:lnTo>
                  <a:lnTo>
                    <a:pt x="193" y="216"/>
                  </a:lnTo>
                  <a:lnTo>
                    <a:pt x="193" y="210"/>
                  </a:lnTo>
                  <a:lnTo>
                    <a:pt x="187" y="210"/>
                  </a:lnTo>
                  <a:lnTo>
                    <a:pt x="187" y="204"/>
                  </a:lnTo>
                  <a:lnTo>
                    <a:pt x="187" y="199"/>
                  </a:lnTo>
                  <a:lnTo>
                    <a:pt x="193" y="193"/>
                  </a:lnTo>
                  <a:lnTo>
                    <a:pt x="198" y="193"/>
                  </a:lnTo>
                  <a:lnTo>
                    <a:pt x="198" y="182"/>
                  </a:lnTo>
                  <a:lnTo>
                    <a:pt x="198" y="176"/>
                  </a:lnTo>
                  <a:lnTo>
                    <a:pt x="198" y="170"/>
                  </a:lnTo>
                  <a:lnTo>
                    <a:pt x="193" y="170"/>
                  </a:lnTo>
                  <a:lnTo>
                    <a:pt x="187" y="170"/>
                  </a:lnTo>
                  <a:lnTo>
                    <a:pt x="181" y="170"/>
                  </a:lnTo>
                  <a:lnTo>
                    <a:pt x="176" y="170"/>
                  </a:lnTo>
                  <a:lnTo>
                    <a:pt x="170" y="170"/>
                  </a:lnTo>
                  <a:lnTo>
                    <a:pt x="164" y="170"/>
                  </a:lnTo>
                  <a:lnTo>
                    <a:pt x="159" y="170"/>
                  </a:lnTo>
                  <a:lnTo>
                    <a:pt x="159" y="165"/>
                  </a:lnTo>
                  <a:lnTo>
                    <a:pt x="153" y="165"/>
                  </a:lnTo>
                  <a:lnTo>
                    <a:pt x="153" y="159"/>
                  </a:lnTo>
                  <a:lnTo>
                    <a:pt x="147" y="159"/>
                  </a:lnTo>
                  <a:lnTo>
                    <a:pt x="142" y="159"/>
                  </a:lnTo>
                  <a:lnTo>
                    <a:pt x="142" y="165"/>
                  </a:lnTo>
                  <a:lnTo>
                    <a:pt x="136" y="165"/>
                  </a:lnTo>
                  <a:lnTo>
                    <a:pt x="130" y="165"/>
                  </a:lnTo>
                  <a:lnTo>
                    <a:pt x="130" y="170"/>
                  </a:lnTo>
                  <a:lnTo>
                    <a:pt x="119" y="170"/>
                  </a:lnTo>
                  <a:lnTo>
                    <a:pt x="113" y="170"/>
                  </a:lnTo>
                  <a:lnTo>
                    <a:pt x="108" y="170"/>
                  </a:lnTo>
                  <a:lnTo>
                    <a:pt x="102" y="170"/>
                  </a:lnTo>
                  <a:lnTo>
                    <a:pt x="96" y="176"/>
                  </a:lnTo>
                  <a:lnTo>
                    <a:pt x="96" y="182"/>
                  </a:lnTo>
                  <a:lnTo>
                    <a:pt x="91" y="182"/>
                  </a:lnTo>
                  <a:lnTo>
                    <a:pt x="91" y="187"/>
                  </a:lnTo>
                  <a:lnTo>
                    <a:pt x="91" y="193"/>
                  </a:lnTo>
                  <a:lnTo>
                    <a:pt x="85" y="193"/>
                  </a:lnTo>
                  <a:lnTo>
                    <a:pt x="85" y="199"/>
                  </a:lnTo>
                  <a:lnTo>
                    <a:pt x="85" y="204"/>
                  </a:lnTo>
                  <a:lnTo>
                    <a:pt x="79" y="204"/>
                  </a:lnTo>
                  <a:lnTo>
                    <a:pt x="79" y="210"/>
                  </a:lnTo>
                  <a:lnTo>
                    <a:pt x="79" y="216"/>
                  </a:lnTo>
                  <a:lnTo>
                    <a:pt x="79" y="221"/>
                  </a:lnTo>
                  <a:lnTo>
                    <a:pt x="74" y="227"/>
                  </a:lnTo>
                  <a:lnTo>
                    <a:pt x="74" y="221"/>
                  </a:lnTo>
                  <a:lnTo>
                    <a:pt x="68" y="221"/>
                  </a:lnTo>
                  <a:lnTo>
                    <a:pt x="68" y="210"/>
                  </a:lnTo>
                  <a:lnTo>
                    <a:pt x="68" y="204"/>
                  </a:lnTo>
                  <a:lnTo>
                    <a:pt x="68" y="199"/>
                  </a:lnTo>
                  <a:lnTo>
                    <a:pt x="68" y="193"/>
                  </a:lnTo>
                  <a:lnTo>
                    <a:pt x="62" y="193"/>
                  </a:lnTo>
                  <a:lnTo>
                    <a:pt x="57" y="187"/>
                  </a:lnTo>
                  <a:lnTo>
                    <a:pt x="57" y="182"/>
                  </a:lnTo>
                  <a:lnTo>
                    <a:pt x="51" y="182"/>
                  </a:lnTo>
                  <a:lnTo>
                    <a:pt x="45" y="176"/>
                  </a:lnTo>
                  <a:lnTo>
                    <a:pt x="45" y="170"/>
                  </a:lnTo>
                  <a:lnTo>
                    <a:pt x="40" y="170"/>
                  </a:lnTo>
                  <a:lnTo>
                    <a:pt x="40" y="165"/>
                  </a:lnTo>
                  <a:close/>
                </a:path>
              </a:pathLst>
            </a:custGeom>
            <a:solidFill>
              <a:srgbClr val="00CC00"/>
            </a:solidFill>
            <a:ln w="25400">
              <a:solidFill>
                <a:srgbClr val="B4B4B4"/>
              </a:solidFill>
              <a:round/>
              <a:headEnd/>
              <a:tailEnd/>
            </a:ln>
          </p:spPr>
          <p:txBody>
            <a:bodyPr lIns="93296" tIns="46648" rIns="93296" bIns="46648"/>
            <a:lstStyle/>
            <a:p>
              <a:pPr>
                <a:defRPr/>
              </a:pPr>
              <a:endParaRPr lang="en-US" sz="1000" kern="0">
                <a:solidFill>
                  <a:prstClr val="black">
                    <a:lumMod val="65000"/>
                    <a:lumOff val="35000"/>
                  </a:prstClr>
                </a:solidFill>
              </a:endParaRPr>
            </a:p>
          </p:txBody>
        </p:sp>
        <p:sp>
          <p:nvSpPr>
            <p:cNvPr id="8" name="Freeform 7"/>
            <p:cNvSpPr>
              <a:spLocks/>
            </p:cNvSpPr>
            <p:nvPr/>
          </p:nvSpPr>
          <p:spPr bwMode="gray">
            <a:xfrm>
              <a:off x="2671816" y="1272031"/>
              <a:ext cx="859029" cy="982910"/>
            </a:xfrm>
            <a:custGeom>
              <a:avLst/>
              <a:gdLst>
                <a:gd name="T0" fmla="*/ 2147483647 w 612"/>
                <a:gd name="T1" fmla="*/ 2147483647 h 737"/>
                <a:gd name="T2" fmla="*/ 2147483647 w 612"/>
                <a:gd name="T3" fmla="*/ 2147483647 h 737"/>
                <a:gd name="T4" fmla="*/ 2147483647 w 612"/>
                <a:gd name="T5" fmla="*/ 2147483647 h 737"/>
                <a:gd name="T6" fmla="*/ 2147483647 w 612"/>
                <a:gd name="T7" fmla="*/ 2147483647 h 737"/>
                <a:gd name="T8" fmla="*/ 2147483647 w 612"/>
                <a:gd name="T9" fmla="*/ 2147483647 h 737"/>
                <a:gd name="T10" fmla="*/ 2147483647 w 612"/>
                <a:gd name="T11" fmla="*/ 2147483647 h 737"/>
                <a:gd name="T12" fmla="*/ 2147483647 w 612"/>
                <a:gd name="T13" fmla="*/ 2147483647 h 737"/>
                <a:gd name="T14" fmla="*/ 2147483647 w 612"/>
                <a:gd name="T15" fmla="*/ 2147483647 h 737"/>
                <a:gd name="T16" fmla="*/ 2147483647 w 612"/>
                <a:gd name="T17" fmla="*/ 2147483647 h 737"/>
                <a:gd name="T18" fmla="*/ 2147483647 w 612"/>
                <a:gd name="T19" fmla="*/ 2147483647 h 737"/>
                <a:gd name="T20" fmla="*/ 2147483647 w 612"/>
                <a:gd name="T21" fmla="*/ 2147483647 h 737"/>
                <a:gd name="T22" fmla="*/ 2147483647 w 612"/>
                <a:gd name="T23" fmla="*/ 2147483647 h 737"/>
                <a:gd name="T24" fmla="*/ 2147483647 w 612"/>
                <a:gd name="T25" fmla="*/ 2147483647 h 737"/>
                <a:gd name="T26" fmla="*/ 2147483647 w 612"/>
                <a:gd name="T27" fmla="*/ 2147483647 h 737"/>
                <a:gd name="T28" fmla="*/ 2147483647 w 612"/>
                <a:gd name="T29" fmla="*/ 2147483647 h 737"/>
                <a:gd name="T30" fmla="*/ 2147483647 w 612"/>
                <a:gd name="T31" fmla="*/ 2147483647 h 737"/>
                <a:gd name="T32" fmla="*/ 2147483647 w 612"/>
                <a:gd name="T33" fmla="*/ 2147483647 h 737"/>
                <a:gd name="T34" fmla="*/ 2147483647 w 612"/>
                <a:gd name="T35" fmla="*/ 2147483647 h 737"/>
                <a:gd name="T36" fmla="*/ 2147483647 w 612"/>
                <a:gd name="T37" fmla="*/ 2147483647 h 737"/>
                <a:gd name="T38" fmla="*/ 2147483647 w 612"/>
                <a:gd name="T39" fmla="*/ 2147483647 h 737"/>
                <a:gd name="T40" fmla="*/ 2147483647 w 612"/>
                <a:gd name="T41" fmla="*/ 2147483647 h 737"/>
                <a:gd name="T42" fmla="*/ 2147483647 w 612"/>
                <a:gd name="T43" fmla="*/ 2147483647 h 737"/>
                <a:gd name="T44" fmla="*/ 2147483647 w 612"/>
                <a:gd name="T45" fmla="*/ 2147483647 h 737"/>
                <a:gd name="T46" fmla="*/ 2147483647 w 612"/>
                <a:gd name="T47" fmla="*/ 2147483647 h 737"/>
                <a:gd name="T48" fmla="*/ 2147483647 w 612"/>
                <a:gd name="T49" fmla="*/ 2147483647 h 737"/>
                <a:gd name="T50" fmla="*/ 2147483647 w 612"/>
                <a:gd name="T51" fmla="*/ 2147483647 h 737"/>
                <a:gd name="T52" fmla="*/ 2147483647 w 612"/>
                <a:gd name="T53" fmla="*/ 2147483647 h 737"/>
                <a:gd name="T54" fmla="*/ 2147483647 w 612"/>
                <a:gd name="T55" fmla="*/ 2147483647 h 737"/>
                <a:gd name="T56" fmla="*/ 2147483647 w 612"/>
                <a:gd name="T57" fmla="*/ 2147483647 h 737"/>
                <a:gd name="T58" fmla="*/ 2147483647 w 612"/>
                <a:gd name="T59" fmla="*/ 2147483647 h 737"/>
                <a:gd name="T60" fmla="*/ 2147483647 w 612"/>
                <a:gd name="T61" fmla="*/ 2147483647 h 737"/>
                <a:gd name="T62" fmla="*/ 2147483647 w 612"/>
                <a:gd name="T63" fmla="*/ 2147483647 h 737"/>
                <a:gd name="T64" fmla="*/ 2147483647 w 612"/>
                <a:gd name="T65" fmla="*/ 2147483647 h 737"/>
                <a:gd name="T66" fmla="*/ 2147483647 w 612"/>
                <a:gd name="T67" fmla="*/ 2147483647 h 737"/>
                <a:gd name="T68" fmla="*/ 2147483647 w 612"/>
                <a:gd name="T69" fmla="*/ 2147483647 h 737"/>
                <a:gd name="T70" fmla="*/ 2147483647 w 612"/>
                <a:gd name="T71" fmla="*/ 2147483647 h 737"/>
                <a:gd name="T72" fmla="*/ 2147483647 w 612"/>
                <a:gd name="T73" fmla="*/ 2147483647 h 737"/>
                <a:gd name="T74" fmla="*/ 2147483647 w 612"/>
                <a:gd name="T75" fmla="*/ 2147483647 h 737"/>
                <a:gd name="T76" fmla="*/ 2147483647 w 612"/>
                <a:gd name="T77" fmla="*/ 2147483647 h 737"/>
                <a:gd name="T78" fmla="*/ 2147483647 w 612"/>
                <a:gd name="T79" fmla="*/ 2147483647 h 737"/>
                <a:gd name="T80" fmla="*/ 2147483647 w 612"/>
                <a:gd name="T81" fmla="*/ 2147483647 h 737"/>
                <a:gd name="T82" fmla="*/ 2147483647 w 612"/>
                <a:gd name="T83" fmla="*/ 2147483647 h 737"/>
                <a:gd name="T84" fmla="*/ 2147483647 w 612"/>
                <a:gd name="T85" fmla="*/ 2147483647 h 737"/>
                <a:gd name="T86" fmla="*/ 2147483647 w 612"/>
                <a:gd name="T87" fmla="*/ 2147483647 h 737"/>
                <a:gd name="T88" fmla="*/ 2147483647 w 612"/>
                <a:gd name="T89" fmla="*/ 2147483647 h 737"/>
                <a:gd name="T90" fmla="*/ 2147483647 w 612"/>
                <a:gd name="T91" fmla="*/ 2147483647 h 737"/>
                <a:gd name="T92" fmla="*/ 2147483647 w 612"/>
                <a:gd name="T93" fmla="*/ 2147483647 h 737"/>
                <a:gd name="T94" fmla="*/ 2147483647 w 612"/>
                <a:gd name="T95" fmla="*/ 2147483647 h 737"/>
                <a:gd name="T96" fmla="*/ 2147483647 w 612"/>
                <a:gd name="T97" fmla="*/ 2147483647 h 737"/>
                <a:gd name="T98" fmla="*/ 2147483647 w 612"/>
                <a:gd name="T99" fmla="*/ 2147483647 h 737"/>
                <a:gd name="T100" fmla="*/ 2147483647 w 612"/>
                <a:gd name="T101" fmla="*/ 2147483647 h 737"/>
                <a:gd name="T102" fmla="*/ 2147483647 w 612"/>
                <a:gd name="T103" fmla="*/ 2147483647 h 737"/>
                <a:gd name="T104" fmla="*/ 2147483647 w 612"/>
                <a:gd name="T105" fmla="*/ 2147483647 h 737"/>
                <a:gd name="T106" fmla="*/ 2147483647 w 612"/>
                <a:gd name="T107" fmla="*/ 2147483647 h 737"/>
                <a:gd name="T108" fmla="*/ 2147483647 w 612"/>
                <a:gd name="T109" fmla="*/ 2147483647 h 737"/>
                <a:gd name="T110" fmla="*/ 2147483647 w 612"/>
                <a:gd name="T111" fmla="*/ 2147483647 h 73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12"/>
                <a:gd name="T169" fmla="*/ 0 h 737"/>
                <a:gd name="T170" fmla="*/ 612 w 612"/>
                <a:gd name="T171" fmla="*/ 737 h 73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12" h="737">
                  <a:moveTo>
                    <a:pt x="63" y="448"/>
                  </a:moveTo>
                  <a:lnTo>
                    <a:pt x="57" y="448"/>
                  </a:lnTo>
                  <a:lnTo>
                    <a:pt x="51" y="448"/>
                  </a:lnTo>
                  <a:lnTo>
                    <a:pt x="46" y="448"/>
                  </a:lnTo>
                  <a:lnTo>
                    <a:pt x="40" y="448"/>
                  </a:lnTo>
                  <a:lnTo>
                    <a:pt x="34" y="448"/>
                  </a:lnTo>
                  <a:lnTo>
                    <a:pt x="29" y="442"/>
                  </a:lnTo>
                  <a:lnTo>
                    <a:pt x="29" y="436"/>
                  </a:lnTo>
                  <a:lnTo>
                    <a:pt x="29" y="431"/>
                  </a:lnTo>
                  <a:lnTo>
                    <a:pt x="17" y="431"/>
                  </a:lnTo>
                  <a:lnTo>
                    <a:pt x="17" y="425"/>
                  </a:lnTo>
                  <a:lnTo>
                    <a:pt x="17" y="419"/>
                  </a:lnTo>
                  <a:lnTo>
                    <a:pt x="12" y="419"/>
                  </a:lnTo>
                  <a:lnTo>
                    <a:pt x="12" y="414"/>
                  </a:lnTo>
                  <a:lnTo>
                    <a:pt x="6" y="414"/>
                  </a:lnTo>
                  <a:lnTo>
                    <a:pt x="6" y="408"/>
                  </a:lnTo>
                  <a:lnTo>
                    <a:pt x="6" y="402"/>
                  </a:lnTo>
                  <a:lnTo>
                    <a:pt x="0" y="402"/>
                  </a:lnTo>
                  <a:lnTo>
                    <a:pt x="0" y="397"/>
                  </a:lnTo>
                  <a:lnTo>
                    <a:pt x="6" y="397"/>
                  </a:lnTo>
                  <a:lnTo>
                    <a:pt x="6" y="391"/>
                  </a:lnTo>
                  <a:lnTo>
                    <a:pt x="12" y="391"/>
                  </a:lnTo>
                  <a:lnTo>
                    <a:pt x="12" y="385"/>
                  </a:lnTo>
                  <a:lnTo>
                    <a:pt x="17" y="385"/>
                  </a:lnTo>
                  <a:lnTo>
                    <a:pt x="17" y="374"/>
                  </a:lnTo>
                  <a:lnTo>
                    <a:pt x="23" y="374"/>
                  </a:lnTo>
                  <a:lnTo>
                    <a:pt x="29" y="368"/>
                  </a:lnTo>
                  <a:lnTo>
                    <a:pt x="34" y="368"/>
                  </a:lnTo>
                  <a:lnTo>
                    <a:pt x="34" y="363"/>
                  </a:lnTo>
                  <a:lnTo>
                    <a:pt x="40" y="363"/>
                  </a:lnTo>
                  <a:lnTo>
                    <a:pt x="46" y="357"/>
                  </a:lnTo>
                  <a:lnTo>
                    <a:pt x="51" y="357"/>
                  </a:lnTo>
                  <a:lnTo>
                    <a:pt x="57" y="357"/>
                  </a:lnTo>
                  <a:lnTo>
                    <a:pt x="68" y="357"/>
                  </a:lnTo>
                  <a:lnTo>
                    <a:pt x="74" y="357"/>
                  </a:lnTo>
                  <a:lnTo>
                    <a:pt x="85" y="351"/>
                  </a:lnTo>
                  <a:lnTo>
                    <a:pt x="85" y="346"/>
                  </a:lnTo>
                  <a:lnTo>
                    <a:pt x="85" y="340"/>
                  </a:lnTo>
                  <a:lnTo>
                    <a:pt x="85" y="334"/>
                  </a:lnTo>
                  <a:lnTo>
                    <a:pt x="85" y="329"/>
                  </a:lnTo>
                  <a:lnTo>
                    <a:pt x="80" y="323"/>
                  </a:lnTo>
                  <a:lnTo>
                    <a:pt x="74" y="317"/>
                  </a:lnTo>
                  <a:lnTo>
                    <a:pt x="74" y="312"/>
                  </a:lnTo>
                  <a:lnTo>
                    <a:pt x="74" y="300"/>
                  </a:lnTo>
                  <a:lnTo>
                    <a:pt x="74" y="295"/>
                  </a:lnTo>
                  <a:lnTo>
                    <a:pt x="74" y="289"/>
                  </a:lnTo>
                  <a:lnTo>
                    <a:pt x="74" y="283"/>
                  </a:lnTo>
                  <a:lnTo>
                    <a:pt x="74" y="278"/>
                  </a:lnTo>
                  <a:lnTo>
                    <a:pt x="68" y="272"/>
                  </a:lnTo>
                  <a:lnTo>
                    <a:pt x="68" y="266"/>
                  </a:lnTo>
                  <a:lnTo>
                    <a:pt x="63" y="266"/>
                  </a:lnTo>
                  <a:lnTo>
                    <a:pt x="63" y="261"/>
                  </a:lnTo>
                  <a:lnTo>
                    <a:pt x="63" y="255"/>
                  </a:lnTo>
                  <a:lnTo>
                    <a:pt x="57" y="255"/>
                  </a:lnTo>
                  <a:lnTo>
                    <a:pt x="57" y="249"/>
                  </a:lnTo>
                  <a:lnTo>
                    <a:pt x="57" y="244"/>
                  </a:lnTo>
                  <a:lnTo>
                    <a:pt x="57" y="238"/>
                  </a:lnTo>
                  <a:lnTo>
                    <a:pt x="57" y="227"/>
                  </a:lnTo>
                  <a:lnTo>
                    <a:pt x="57" y="221"/>
                  </a:lnTo>
                  <a:lnTo>
                    <a:pt x="63" y="210"/>
                  </a:lnTo>
                  <a:lnTo>
                    <a:pt x="63" y="204"/>
                  </a:lnTo>
                  <a:lnTo>
                    <a:pt x="63" y="198"/>
                  </a:lnTo>
                  <a:lnTo>
                    <a:pt x="57" y="187"/>
                  </a:lnTo>
                  <a:lnTo>
                    <a:pt x="57" y="181"/>
                  </a:lnTo>
                  <a:lnTo>
                    <a:pt x="57" y="176"/>
                  </a:lnTo>
                  <a:lnTo>
                    <a:pt x="57" y="164"/>
                  </a:lnTo>
                  <a:lnTo>
                    <a:pt x="51" y="159"/>
                  </a:lnTo>
                  <a:lnTo>
                    <a:pt x="51" y="153"/>
                  </a:lnTo>
                  <a:lnTo>
                    <a:pt x="51" y="147"/>
                  </a:lnTo>
                  <a:lnTo>
                    <a:pt x="51" y="142"/>
                  </a:lnTo>
                  <a:lnTo>
                    <a:pt x="51" y="136"/>
                  </a:lnTo>
                  <a:lnTo>
                    <a:pt x="57" y="125"/>
                  </a:lnTo>
                  <a:lnTo>
                    <a:pt x="63" y="119"/>
                  </a:lnTo>
                  <a:lnTo>
                    <a:pt x="68" y="113"/>
                  </a:lnTo>
                  <a:lnTo>
                    <a:pt x="74" y="113"/>
                  </a:lnTo>
                  <a:lnTo>
                    <a:pt x="74" y="108"/>
                  </a:lnTo>
                  <a:lnTo>
                    <a:pt x="80" y="108"/>
                  </a:lnTo>
                  <a:lnTo>
                    <a:pt x="91" y="102"/>
                  </a:lnTo>
                  <a:lnTo>
                    <a:pt x="91" y="96"/>
                  </a:lnTo>
                  <a:lnTo>
                    <a:pt x="97" y="96"/>
                  </a:lnTo>
                  <a:lnTo>
                    <a:pt x="102" y="96"/>
                  </a:lnTo>
                  <a:lnTo>
                    <a:pt x="108" y="96"/>
                  </a:lnTo>
                  <a:lnTo>
                    <a:pt x="114" y="96"/>
                  </a:lnTo>
                  <a:lnTo>
                    <a:pt x="119" y="91"/>
                  </a:lnTo>
                  <a:lnTo>
                    <a:pt x="125" y="91"/>
                  </a:lnTo>
                  <a:lnTo>
                    <a:pt x="131" y="91"/>
                  </a:lnTo>
                  <a:lnTo>
                    <a:pt x="142" y="91"/>
                  </a:lnTo>
                  <a:lnTo>
                    <a:pt x="142" y="85"/>
                  </a:lnTo>
                  <a:lnTo>
                    <a:pt x="148" y="85"/>
                  </a:lnTo>
                  <a:lnTo>
                    <a:pt x="153" y="79"/>
                  </a:lnTo>
                  <a:lnTo>
                    <a:pt x="159" y="79"/>
                  </a:lnTo>
                  <a:lnTo>
                    <a:pt x="165" y="74"/>
                  </a:lnTo>
                  <a:lnTo>
                    <a:pt x="170" y="68"/>
                  </a:lnTo>
                  <a:lnTo>
                    <a:pt x="170" y="62"/>
                  </a:lnTo>
                  <a:lnTo>
                    <a:pt x="176" y="62"/>
                  </a:lnTo>
                  <a:lnTo>
                    <a:pt x="176" y="57"/>
                  </a:lnTo>
                  <a:lnTo>
                    <a:pt x="176" y="45"/>
                  </a:lnTo>
                  <a:lnTo>
                    <a:pt x="182" y="40"/>
                  </a:lnTo>
                  <a:lnTo>
                    <a:pt x="187" y="40"/>
                  </a:lnTo>
                  <a:lnTo>
                    <a:pt x="187" y="34"/>
                  </a:lnTo>
                  <a:lnTo>
                    <a:pt x="187" y="28"/>
                  </a:lnTo>
                  <a:lnTo>
                    <a:pt x="193" y="23"/>
                  </a:lnTo>
                  <a:lnTo>
                    <a:pt x="199" y="23"/>
                  </a:lnTo>
                  <a:lnTo>
                    <a:pt x="204" y="17"/>
                  </a:lnTo>
                  <a:lnTo>
                    <a:pt x="204" y="11"/>
                  </a:lnTo>
                  <a:lnTo>
                    <a:pt x="216" y="6"/>
                  </a:lnTo>
                  <a:lnTo>
                    <a:pt x="216" y="11"/>
                  </a:lnTo>
                  <a:lnTo>
                    <a:pt x="221" y="11"/>
                  </a:lnTo>
                  <a:lnTo>
                    <a:pt x="221" y="17"/>
                  </a:lnTo>
                  <a:lnTo>
                    <a:pt x="227" y="23"/>
                  </a:lnTo>
                  <a:lnTo>
                    <a:pt x="233" y="23"/>
                  </a:lnTo>
                  <a:lnTo>
                    <a:pt x="233" y="28"/>
                  </a:lnTo>
                  <a:lnTo>
                    <a:pt x="238" y="34"/>
                  </a:lnTo>
                  <a:lnTo>
                    <a:pt x="244" y="34"/>
                  </a:lnTo>
                  <a:lnTo>
                    <a:pt x="244" y="40"/>
                  </a:lnTo>
                  <a:lnTo>
                    <a:pt x="244" y="45"/>
                  </a:lnTo>
                  <a:lnTo>
                    <a:pt x="244" y="51"/>
                  </a:lnTo>
                  <a:lnTo>
                    <a:pt x="244" y="62"/>
                  </a:lnTo>
                  <a:lnTo>
                    <a:pt x="250" y="62"/>
                  </a:lnTo>
                  <a:lnTo>
                    <a:pt x="250" y="68"/>
                  </a:lnTo>
                  <a:lnTo>
                    <a:pt x="255" y="62"/>
                  </a:lnTo>
                  <a:lnTo>
                    <a:pt x="255" y="57"/>
                  </a:lnTo>
                  <a:lnTo>
                    <a:pt x="255" y="51"/>
                  </a:lnTo>
                  <a:lnTo>
                    <a:pt x="255" y="45"/>
                  </a:lnTo>
                  <a:lnTo>
                    <a:pt x="261" y="45"/>
                  </a:lnTo>
                  <a:lnTo>
                    <a:pt x="261" y="40"/>
                  </a:lnTo>
                  <a:lnTo>
                    <a:pt x="261" y="34"/>
                  </a:lnTo>
                  <a:lnTo>
                    <a:pt x="267" y="34"/>
                  </a:lnTo>
                  <a:lnTo>
                    <a:pt x="267" y="28"/>
                  </a:lnTo>
                  <a:lnTo>
                    <a:pt x="267" y="23"/>
                  </a:lnTo>
                  <a:lnTo>
                    <a:pt x="272" y="23"/>
                  </a:lnTo>
                  <a:lnTo>
                    <a:pt x="272" y="17"/>
                  </a:lnTo>
                  <a:lnTo>
                    <a:pt x="278" y="11"/>
                  </a:lnTo>
                  <a:lnTo>
                    <a:pt x="284" y="11"/>
                  </a:lnTo>
                  <a:lnTo>
                    <a:pt x="289" y="11"/>
                  </a:lnTo>
                  <a:lnTo>
                    <a:pt x="295" y="11"/>
                  </a:lnTo>
                  <a:lnTo>
                    <a:pt x="306" y="11"/>
                  </a:lnTo>
                  <a:lnTo>
                    <a:pt x="306" y="6"/>
                  </a:lnTo>
                  <a:lnTo>
                    <a:pt x="312" y="6"/>
                  </a:lnTo>
                  <a:lnTo>
                    <a:pt x="318" y="6"/>
                  </a:lnTo>
                  <a:lnTo>
                    <a:pt x="318" y="0"/>
                  </a:lnTo>
                  <a:lnTo>
                    <a:pt x="323" y="0"/>
                  </a:lnTo>
                  <a:lnTo>
                    <a:pt x="329" y="0"/>
                  </a:lnTo>
                  <a:lnTo>
                    <a:pt x="329" y="6"/>
                  </a:lnTo>
                  <a:lnTo>
                    <a:pt x="335" y="6"/>
                  </a:lnTo>
                  <a:lnTo>
                    <a:pt x="335" y="11"/>
                  </a:lnTo>
                  <a:lnTo>
                    <a:pt x="340" y="11"/>
                  </a:lnTo>
                  <a:lnTo>
                    <a:pt x="346" y="11"/>
                  </a:lnTo>
                  <a:lnTo>
                    <a:pt x="352" y="11"/>
                  </a:lnTo>
                  <a:lnTo>
                    <a:pt x="357" y="11"/>
                  </a:lnTo>
                  <a:lnTo>
                    <a:pt x="363" y="11"/>
                  </a:lnTo>
                  <a:lnTo>
                    <a:pt x="369" y="11"/>
                  </a:lnTo>
                  <a:lnTo>
                    <a:pt x="374" y="11"/>
                  </a:lnTo>
                  <a:lnTo>
                    <a:pt x="374" y="17"/>
                  </a:lnTo>
                  <a:lnTo>
                    <a:pt x="374" y="23"/>
                  </a:lnTo>
                  <a:lnTo>
                    <a:pt x="374" y="34"/>
                  </a:lnTo>
                  <a:lnTo>
                    <a:pt x="369" y="34"/>
                  </a:lnTo>
                  <a:lnTo>
                    <a:pt x="363" y="40"/>
                  </a:lnTo>
                  <a:lnTo>
                    <a:pt x="363" y="45"/>
                  </a:lnTo>
                  <a:lnTo>
                    <a:pt x="363" y="51"/>
                  </a:lnTo>
                  <a:lnTo>
                    <a:pt x="369" y="51"/>
                  </a:lnTo>
                  <a:lnTo>
                    <a:pt x="369" y="57"/>
                  </a:lnTo>
                  <a:lnTo>
                    <a:pt x="374" y="62"/>
                  </a:lnTo>
                  <a:lnTo>
                    <a:pt x="386" y="62"/>
                  </a:lnTo>
                  <a:lnTo>
                    <a:pt x="391" y="62"/>
                  </a:lnTo>
                  <a:lnTo>
                    <a:pt x="397" y="62"/>
                  </a:lnTo>
                  <a:lnTo>
                    <a:pt x="397" y="68"/>
                  </a:lnTo>
                  <a:lnTo>
                    <a:pt x="403" y="68"/>
                  </a:lnTo>
                  <a:lnTo>
                    <a:pt x="403" y="74"/>
                  </a:lnTo>
                  <a:lnTo>
                    <a:pt x="403" y="79"/>
                  </a:lnTo>
                  <a:lnTo>
                    <a:pt x="403" y="85"/>
                  </a:lnTo>
                  <a:lnTo>
                    <a:pt x="397" y="91"/>
                  </a:lnTo>
                  <a:lnTo>
                    <a:pt x="397" y="96"/>
                  </a:lnTo>
                  <a:lnTo>
                    <a:pt x="397" y="108"/>
                  </a:lnTo>
                  <a:lnTo>
                    <a:pt x="403" y="108"/>
                  </a:lnTo>
                  <a:lnTo>
                    <a:pt x="408" y="113"/>
                  </a:lnTo>
                  <a:lnTo>
                    <a:pt x="414" y="113"/>
                  </a:lnTo>
                  <a:lnTo>
                    <a:pt x="425" y="108"/>
                  </a:lnTo>
                  <a:lnTo>
                    <a:pt x="431" y="108"/>
                  </a:lnTo>
                  <a:lnTo>
                    <a:pt x="442" y="108"/>
                  </a:lnTo>
                  <a:lnTo>
                    <a:pt x="448" y="108"/>
                  </a:lnTo>
                  <a:lnTo>
                    <a:pt x="448" y="113"/>
                  </a:lnTo>
                  <a:lnTo>
                    <a:pt x="454" y="113"/>
                  </a:lnTo>
                  <a:lnTo>
                    <a:pt x="454" y="119"/>
                  </a:lnTo>
                  <a:lnTo>
                    <a:pt x="454" y="125"/>
                  </a:lnTo>
                  <a:lnTo>
                    <a:pt x="459" y="125"/>
                  </a:lnTo>
                  <a:lnTo>
                    <a:pt x="459" y="136"/>
                  </a:lnTo>
                  <a:lnTo>
                    <a:pt x="459" y="142"/>
                  </a:lnTo>
                  <a:lnTo>
                    <a:pt x="465" y="142"/>
                  </a:lnTo>
                  <a:lnTo>
                    <a:pt x="465" y="147"/>
                  </a:lnTo>
                  <a:lnTo>
                    <a:pt x="471" y="147"/>
                  </a:lnTo>
                  <a:lnTo>
                    <a:pt x="471" y="153"/>
                  </a:lnTo>
                  <a:lnTo>
                    <a:pt x="465" y="153"/>
                  </a:lnTo>
                  <a:lnTo>
                    <a:pt x="465" y="159"/>
                  </a:lnTo>
                  <a:lnTo>
                    <a:pt x="465" y="164"/>
                  </a:lnTo>
                  <a:lnTo>
                    <a:pt x="459" y="164"/>
                  </a:lnTo>
                  <a:lnTo>
                    <a:pt x="459" y="170"/>
                  </a:lnTo>
                  <a:lnTo>
                    <a:pt x="459" y="176"/>
                  </a:lnTo>
                  <a:lnTo>
                    <a:pt x="454" y="176"/>
                  </a:lnTo>
                  <a:lnTo>
                    <a:pt x="454" y="181"/>
                  </a:lnTo>
                  <a:lnTo>
                    <a:pt x="459" y="181"/>
                  </a:lnTo>
                  <a:lnTo>
                    <a:pt x="459" y="187"/>
                  </a:lnTo>
                  <a:lnTo>
                    <a:pt x="465" y="187"/>
                  </a:lnTo>
                  <a:lnTo>
                    <a:pt x="476" y="193"/>
                  </a:lnTo>
                  <a:lnTo>
                    <a:pt x="482" y="193"/>
                  </a:lnTo>
                  <a:lnTo>
                    <a:pt x="488" y="187"/>
                  </a:lnTo>
                  <a:lnTo>
                    <a:pt x="493" y="187"/>
                  </a:lnTo>
                  <a:lnTo>
                    <a:pt x="505" y="181"/>
                  </a:lnTo>
                  <a:lnTo>
                    <a:pt x="510" y="187"/>
                  </a:lnTo>
                  <a:lnTo>
                    <a:pt x="510" y="193"/>
                  </a:lnTo>
                  <a:lnTo>
                    <a:pt x="510" y="198"/>
                  </a:lnTo>
                  <a:lnTo>
                    <a:pt x="510" y="204"/>
                  </a:lnTo>
                  <a:lnTo>
                    <a:pt x="516" y="204"/>
                  </a:lnTo>
                  <a:lnTo>
                    <a:pt x="522" y="210"/>
                  </a:lnTo>
                  <a:lnTo>
                    <a:pt x="527" y="210"/>
                  </a:lnTo>
                  <a:lnTo>
                    <a:pt x="533" y="210"/>
                  </a:lnTo>
                  <a:lnTo>
                    <a:pt x="533" y="204"/>
                  </a:lnTo>
                  <a:lnTo>
                    <a:pt x="533" y="198"/>
                  </a:lnTo>
                  <a:lnTo>
                    <a:pt x="533" y="193"/>
                  </a:lnTo>
                  <a:lnTo>
                    <a:pt x="539" y="193"/>
                  </a:lnTo>
                  <a:lnTo>
                    <a:pt x="539" y="187"/>
                  </a:lnTo>
                  <a:lnTo>
                    <a:pt x="544" y="181"/>
                  </a:lnTo>
                  <a:lnTo>
                    <a:pt x="544" y="187"/>
                  </a:lnTo>
                  <a:lnTo>
                    <a:pt x="550" y="187"/>
                  </a:lnTo>
                  <a:lnTo>
                    <a:pt x="556" y="193"/>
                  </a:lnTo>
                  <a:lnTo>
                    <a:pt x="556" y="204"/>
                  </a:lnTo>
                  <a:lnTo>
                    <a:pt x="556" y="215"/>
                  </a:lnTo>
                  <a:lnTo>
                    <a:pt x="561" y="221"/>
                  </a:lnTo>
                  <a:lnTo>
                    <a:pt x="561" y="227"/>
                  </a:lnTo>
                  <a:lnTo>
                    <a:pt x="561" y="232"/>
                  </a:lnTo>
                  <a:lnTo>
                    <a:pt x="561" y="244"/>
                  </a:lnTo>
                  <a:lnTo>
                    <a:pt x="561" y="261"/>
                  </a:lnTo>
                  <a:lnTo>
                    <a:pt x="556" y="266"/>
                  </a:lnTo>
                  <a:lnTo>
                    <a:pt x="556" y="272"/>
                  </a:lnTo>
                  <a:lnTo>
                    <a:pt x="550" y="272"/>
                  </a:lnTo>
                  <a:lnTo>
                    <a:pt x="544" y="272"/>
                  </a:lnTo>
                  <a:lnTo>
                    <a:pt x="544" y="278"/>
                  </a:lnTo>
                  <a:lnTo>
                    <a:pt x="539" y="278"/>
                  </a:lnTo>
                  <a:lnTo>
                    <a:pt x="539" y="283"/>
                  </a:lnTo>
                  <a:lnTo>
                    <a:pt x="539" y="289"/>
                  </a:lnTo>
                  <a:lnTo>
                    <a:pt x="539" y="300"/>
                  </a:lnTo>
                  <a:lnTo>
                    <a:pt x="539" y="306"/>
                  </a:lnTo>
                  <a:lnTo>
                    <a:pt x="539" y="312"/>
                  </a:lnTo>
                  <a:lnTo>
                    <a:pt x="539" y="317"/>
                  </a:lnTo>
                  <a:lnTo>
                    <a:pt x="544" y="317"/>
                  </a:lnTo>
                  <a:lnTo>
                    <a:pt x="556" y="317"/>
                  </a:lnTo>
                  <a:lnTo>
                    <a:pt x="567" y="312"/>
                  </a:lnTo>
                  <a:lnTo>
                    <a:pt x="573" y="312"/>
                  </a:lnTo>
                  <a:lnTo>
                    <a:pt x="573" y="317"/>
                  </a:lnTo>
                  <a:lnTo>
                    <a:pt x="573" y="323"/>
                  </a:lnTo>
                  <a:lnTo>
                    <a:pt x="567" y="323"/>
                  </a:lnTo>
                  <a:lnTo>
                    <a:pt x="567" y="329"/>
                  </a:lnTo>
                  <a:lnTo>
                    <a:pt x="567" y="334"/>
                  </a:lnTo>
                  <a:lnTo>
                    <a:pt x="567" y="340"/>
                  </a:lnTo>
                  <a:lnTo>
                    <a:pt x="573" y="346"/>
                  </a:lnTo>
                  <a:lnTo>
                    <a:pt x="578" y="346"/>
                  </a:lnTo>
                  <a:lnTo>
                    <a:pt x="584" y="351"/>
                  </a:lnTo>
                  <a:lnTo>
                    <a:pt x="590" y="357"/>
                  </a:lnTo>
                  <a:lnTo>
                    <a:pt x="595" y="357"/>
                  </a:lnTo>
                  <a:lnTo>
                    <a:pt x="595" y="363"/>
                  </a:lnTo>
                  <a:lnTo>
                    <a:pt x="595" y="368"/>
                  </a:lnTo>
                  <a:lnTo>
                    <a:pt x="601" y="368"/>
                  </a:lnTo>
                  <a:lnTo>
                    <a:pt x="607" y="368"/>
                  </a:lnTo>
                  <a:lnTo>
                    <a:pt x="612" y="368"/>
                  </a:lnTo>
                  <a:lnTo>
                    <a:pt x="612" y="374"/>
                  </a:lnTo>
                  <a:lnTo>
                    <a:pt x="612" y="380"/>
                  </a:lnTo>
                  <a:lnTo>
                    <a:pt x="607" y="385"/>
                  </a:lnTo>
                  <a:lnTo>
                    <a:pt x="601" y="391"/>
                  </a:lnTo>
                  <a:lnTo>
                    <a:pt x="601" y="397"/>
                  </a:lnTo>
                  <a:lnTo>
                    <a:pt x="595" y="397"/>
                  </a:lnTo>
                  <a:lnTo>
                    <a:pt x="590" y="397"/>
                  </a:lnTo>
                  <a:lnTo>
                    <a:pt x="584" y="397"/>
                  </a:lnTo>
                  <a:lnTo>
                    <a:pt x="578" y="402"/>
                  </a:lnTo>
                  <a:lnTo>
                    <a:pt x="573" y="414"/>
                  </a:lnTo>
                  <a:lnTo>
                    <a:pt x="573" y="419"/>
                  </a:lnTo>
                  <a:lnTo>
                    <a:pt x="567" y="425"/>
                  </a:lnTo>
                  <a:lnTo>
                    <a:pt x="573" y="431"/>
                  </a:lnTo>
                  <a:lnTo>
                    <a:pt x="573" y="436"/>
                  </a:lnTo>
                  <a:lnTo>
                    <a:pt x="573" y="442"/>
                  </a:lnTo>
                  <a:lnTo>
                    <a:pt x="567" y="448"/>
                  </a:lnTo>
                  <a:lnTo>
                    <a:pt x="556" y="448"/>
                  </a:lnTo>
                  <a:lnTo>
                    <a:pt x="556" y="453"/>
                  </a:lnTo>
                  <a:lnTo>
                    <a:pt x="550" y="453"/>
                  </a:lnTo>
                  <a:lnTo>
                    <a:pt x="544" y="453"/>
                  </a:lnTo>
                  <a:lnTo>
                    <a:pt x="544" y="459"/>
                  </a:lnTo>
                  <a:lnTo>
                    <a:pt x="539" y="459"/>
                  </a:lnTo>
                  <a:lnTo>
                    <a:pt x="533" y="459"/>
                  </a:lnTo>
                  <a:lnTo>
                    <a:pt x="527" y="459"/>
                  </a:lnTo>
                  <a:lnTo>
                    <a:pt x="522" y="459"/>
                  </a:lnTo>
                  <a:lnTo>
                    <a:pt x="516" y="459"/>
                  </a:lnTo>
                  <a:lnTo>
                    <a:pt x="510" y="459"/>
                  </a:lnTo>
                  <a:lnTo>
                    <a:pt x="499" y="465"/>
                  </a:lnTo>
                  <a:lnTo>
                    <a:pt x="499" y="470"/>
                  </a:lnTo>
                  <a:lnTo>
                    <a:pt x="493" y="470"/>
                  </a:lnTo>
                  <a:lnTo>
                    <a:pt x="488" y="470"/>
                  </a:lnTo>
                  <a:lnTo>
                    <a:pt x="488" y="476"/>
                  </a:lnTo>
                  <a:lnTo>
                    <a:pt x="488" y="482"/>
                  </a:lnTo>
                  <a:lnTo>
                    <a:pt x="482" y="482"/>
                  </a:lnTo>
                  <a:lnTo>
                    <a:pt x="482" y="487"/>
                  </a:lnTo>
                  <a:lnTo>
                    <a:pt x="476" y="487"/>
                  </a:lnTo>
                  <a:lnTo>
                    <a:pt x="465" y="499"/>
                  </a:lnTo>
                  <a:lnTo>
                    <a:pt x="459" y="504"/>
                  </a:lnTo>
                  <a:lnTo>
                    <a:pt x="459" y="510"/>
                  </a:lnTo>
                  <a:lnTo>
                    <a:pt x="454" y="510"/>
                  </a:lnTo>
                  <a:lnTo>
                    <a:pt x="454" y="516"/>
                  </a:lnTo>
                  <a:lnTo>
                    <a:pt x="454" y="521"/>
                  </a:lnTo>
                  <a:lnTo>
                    <a:pt x="454" y="527"/>
                  </a:lnTo>
                  <a:lnTo>
                    <a:pt x="442" y="527"/>
                  </a:lnTo>
                  <a:lnTo>
                    <a:pt x="442" y="533"/>
                  </a:lnTo>
                  <a:lnTo>
                    <a:pt x="437" y="538"/>
                  </a:lnTo>
                  <a:lnTo>
                    <a:pt x="431" y="538"/>
                  </a:lnTo>
                  <a:lnTo>
                    <a:pt x="425" y="538"/>
                  </a:lnTo>
                  <a:lnTo>
                    <a:pt x="420" y="538"/>
                  </a:lnTo>
                  <a:lnTo>
                    <a:pt x="414" y="538"/>
                  </a:lnTo>
                  <a:lnTo>
                    <a:pt x="414" y="544"/>
                  </a:lnTo>
                  <a:lnTo>
                    <a:pt x="408" y="544"/>
                  </a:lnTo>
                  <a:lnTo>
                    <a:pt x="408" y="550"/>
                  </a:lnTo>
                  <a:lnTo>
                    <a:pt x="403" y="550"/>
                  </a:lnTo>
                  <a:lnTo>
                    <a:pt x="403" y="555"/>
                  </a:lnTo>
                  <a:lnTo>
                    <a:pt x="403" y="561"/>
                  </a:lnTo>
                  <a:lnTo>
                    <a:pt x="403" y="567"/>
                  </a:lnTo>
                  <a:lnTo>
                    <a:pt x="403" y="578"/>
                  </a:lnTo>
                  <a:lnTo>
                    <a:pt x="403" y="584"/>
                  </a:lnTo>
                  <a:lnTo>
                    <a:pt x="397" y="595"/>
                  </a:lnTo>
                  <a:lnTo>
                    <a:pt x="397" y="612"/>
                  </a:lnTo>
                  <a:lnTo>
                    <a:pt x="397" y="618"/>
                  </a:lnTo>
                  <a:lnTo>
                    <a:pt x="403" y="623"/>
                  </a:lnTo>
                  <a:lnTo>
                    <a:pt x="403" y="629"/>
                  </a:lnTo>
                  <a:lnTo>
                    <a:pt x="403" y="635"/>
                  </a:lnTo>
                  <a:lnTo>
                    <a:pt x="408" y="640"/>
                  </a:lnTo>
                  <a:lnTo>
                    <a:pt x="414" y="646"/>
                  </a:lnTo>
                  <a:lnTo>
                    <a:pt x="414" y="652"/>
                  </a:lnTo>
                  <a:lnTo>
                    <a:pt x="420" y="652"/>
                  </a:lnTo>
                  <a:lnTo>
                    <a:pt x="425" y="657"/>
                  </a:lnTo>
                  <a:lnTo>
                    <a:pt x="425" y="663"/>
                  </a:lnTo>
                  <a:lnTo>
                    <a:pt x="425" y="674"/>
                  </a:lnTo>
                  <a:lnTo>
                    <a:pt x="425" y="680"/>
                  </a:lnTo>
                  <a:lnTo>
                    <a:pt x="425" y="686"/>
                  </a:lnTo>
                  <a:lnTo>
                    <a:pt x="425" y="691"/>
                  </a:lnTo>
                  <a:lnTo>
                    <a:pt x="425" y="697"/>
                  </a:lnTo>
                  <a:lnTo>
                    <a:pt x="420" y="703"/>
                  </a:lnTo>
                  <a:lnTo>
                    <a:pt x="414" y="703"/>
                  </a:lnTo>
                  <a:lnTo>
                    <a:pt x="414" y="708"/>
                  </a:lnTo>
                  <a:lnTo>
                    <a:pt x="408" y="714"/>
                  </a:lnTo>
                  <a:lnTo>
                    <a:pt x="403" y="720"/>
                  </a:lnTo>
                  <a:lnTo>
                    <a:pt x="403" y="725"/>
                  </a:lnTo>
                  <a:lnTo>
                    <a:pt x="403" y="731"/>
                  </a:lnTo>
                  <a:lnTo>
                    <a:pt x="397" y="731"/>
                  </a:lnTo>
                  <a:lnTo>
                    <a:pt x="397" y="737"/>
                  </a:lnTo>
                  <a:lnTo>
                    <a:pt x="391" y="731"/>
                  </a:lnTo>
                  <a:lnTo>
                    <a:pt x="386" y="731"/>
                  </a:lnTo>
                  <a:lnTo>
                    <a:pt x="386" y="737"/>
                  </a:lnTo>
                  <a:lnTo>
                    <a:pt x="380" y="737"/>
                  </a:lnTo>
                  <a:lnTo>
                    <a:pt x="374" y="737"/>
                  </a:lnTo>
                  <a:lnTo>
                    <a:pt x="369" y="731"/>
                  </a:lnTo>
                  <a:lnTo>
                    <a:pt x="363" y="731"/>
                  </a:lnTo>
                  <a:lnTo>
                    <a:pt x="357" y="725"/>
                  </a:lnTo>
                  <a:lnTo>
                    <a:pt x="357" y="720"/>
                  </a:lnTo>
                  <a:lnTo>
                    <a:pt x="352" y="714"/>
                  </a:lnTo>
                  <a:lnTo>
                    <a:pt x="352" y="708"/>
                  </a:lnTo>
                  <a:lnTo>
                    <a:pt x="346" y="708"/>
                  </a:lnTo>
                  <a:lnTo>
                    <a:pt x="346" y="703"/>
                  </a:lnTo>
                  <a:lnTo>
                    <a:pt x="340" y="703"/>
                  </a:lnTo>
                  <a:lnTo>
                    <a:pt x="329" y="703"/>
                  </a:lnTo>
                  <a:lnTo>
                    <a:pt x="323" y="697"/>
                  </a:lnTo>
                  <a:lnTo>
                    <a:pt x="318" y="697"/>
                  </a:lnTo>
                  <a:lnTo>
                    <a:pt x="312" y="697"/>
                  </a:lnTo>
                  <a:lnTo>
                    <a:pt x="312" y="691"/>
                  </a:lnTo>
                  <a:lnTo>
                    <a:pt x="312" y="686"/>
                  </a:lnTo>
                  <a:lnTo>
                    <a:pt x="318" y="680"/>
                  </a:lnTo>
                  <a:lnTo>
                    <a:pt x="323" y="680"/>
                  </a:lnTo>
                  <a:lnTo>
                    <a:pt x="329" y="680"/>
                  </a:lnTo>
                  <a:lnTo>
                    <a:pt x="335" y="680"/>
                  </a:lnTo>
                  <a:lnTo>
                    <a:pt x="335" y="674"/>
                  </a:lnTo>
                  <a:lnTo>
                    <a:pt x="335" y="669"/>
                  </a:lnTo>
                  <a:lnTo>
                    <a:pt x="335" y="663"/>
                  </a:lnTo>
                  <a:lnTo>
                    <a:pt x="329" y="652"/>
                  </a:lnTo>
                  <a:lnTo>
                    <a:pt x="329" y="635"/>
                  </a:lnTo>
                  <a:lnTo>
                    <a:pt x="329" y="623"/>
                  </a:lnTo>
                  <a:lnTo>
                    <a:pt x="329" y="618"/>
                  </a:lnTo>
                  <a:lnTo>
                    <a:pt x="329" y="612"/>
                  </a:lnTo>
                  <a:lnTo>
                    <a:pt x="329" y="606"/>
                  </a:lnTo>
                  <a:lnTo>
                    <a:pt x="329" y="584"/>
                  </a:lnTo>
                  <a:lnTo>
                    <a:pt x="335" y="584"/>
                  </a:lnTo>
                  <a:lnTo>
                    <a:pt x="335" y="578"/>
                  </a:lnTo>
                  <a:lnTo>
                    <a:pt x="335" y="572"/>
                  </a:lnTo>
                  <a:lnTo>
                    <a:pt x="335" y="567"/>
                  </a:lnTo>
                  <a:lnTo>
                    <a:pt x="335" y="561"/>
                  </a:lnTo>
                  <a:lnTo>
                    <a:pt x="329" y="561"/>
                  </a:lnTo>
                  <a:lnTo>
                    <a:pt x="329" y="555"/>
                  </a:lnTo>
                  <a:lnTo>
                    <a:pt x="329" y="550"/>
                  </a:lnTo>
                  <a:lnTo>
                    <a:pt x="323" y="550"/>
                  </a:lnTo>
                  <a:lnTo>
                    <a:pt x="323" y="544"/>
                  </a:lnTo>
                  <a:lnTo>
                    <a:pt x="318" y="544"/>
                  </a:lnTo>
                  <a:lnTo>
                    <a:pt x="318" y="538"/>
                  </a:lnTo>
                  <a:lnTo>
                    <a:pt x="312" y="533"/>
                  </a:lnTo>
                  <a:lnTo>
                    <a:pt x="312" y="527"/>
                  </a:lnTo>
                  <a:lnTo>
                    <a:pt x="306" y="527"/>
                  </a:lnTo>
                  <a:lnTo>
                    <a:pt x="301" y="521"/>
                  </a:lnTo>
                  <a:lnTo>
                    <a:pt x="295" y="516"/>
                  </a:lnTo>
                  <a:lnTo>
                    <a:pt x="289" y="516"/>
                  </a:lnTo>
                  <a:lnTo>
                    <a:pt x="289" y="510"/>
                  </a:lnTo>
                  <a:lnTo>
                    <a:pt x="284" y="510"/>
                  </a:lnTo>
                  <a:lnTo>
                    <a:pt x="278" y="510"/>
                  </a:lnTo>
                  <a:lnTo>
                    <a:pt x="267" y="504"/>
                  </a:lnTo>
                  <a:lnTo>
                    <a:pt x="261" y="499"/>
                  </a:lnTo>
                  <a:lnTo>
                    <a:pt x="255" y="499"/>
                  </a:lnTo>
                  <a:lnTo>
                    <a:pt x="250" y="499"/>
                  </a:lnTo>
                  <a:lnTo>
                    <a:pt x="244" y="499"/>
                  </a:lnTo>
                  <a:lnTo>
                    <a:pt x="238" y="499"/>
                  </a:lnTo>
                  <a:lnTo>
                    <a:pt x="233" y="499"/>
                  </a:lnTo>
                  <a:lnTo>
                    <a:pt x="233" y="493"/>
                  </a:lnTo>
                  <a:lnTo>
                    <a:pt x="227" y="487"/>
                  </a:lnTo>
                  <a:lnTo>
                    <a:pt x="221" y="482"/>
                  </a:lnTo>
                  <a:lnTo>
                    <a:pt x="221" y="470"/>
                  </a:lnTo>
                  <a:lnTo>
                    <a:pt x="216" y="470"/>
                  </a:lnTo>
                  <a:lnTo>
                    <a:pt x="216" y="465"/>
                  </a:lnTo>
                  <a:lnTo>
                    <a:pt x="210" y="465"/>
                  </a:lnTo>
                  <a:lnTo>
                    <a:pt x="204" y="459"/>
                  </a:lnTo>
                  <a:lnTo>
                    <a:pt x="199" y="459"/>
                  </a:lnTo>
                  <a:lnTo>
                    <a:pt x="193" y="453"/>
                  </a:lnTo>
                  <a:lnTo>
                    <a:pt x="187" y="453"/>
                  </a:lnTo>
                  <a:lnTo>
                    <a:pt x="182" y="453"/>
                  </a:lnTo>
                  <a:lnTo>
                    <a:pt x="176" y="453"/>
                  </a:lnTo>
                  <a:lnTo>
                    <a:pt x="176" y="448"/>
                  </a:lnTo>
                  <a:lnTo>
                    <a:pt x="176" y="442"/>
                  </a:lnTo>
                  <a:lnTo>
                    <a:pt x="176" y="436"/>
                  </a:lnTo>
                  <a:lnTo>
                    <a:pt x="170" y="436"/>
                  </a:lnTo>
                  <a:lnTo>
                    <a:pt x="170" y="431"/>
                  </a:lnTo>
                  <a:lnTo>
                    <a:pt x="176" y="431"/>
                  </a:lnTo>
                  <a:lnTo>
                    <a:pt x="176" y="425"/>
                  </a:lnTo>
                  <a:lnTo>
                    <a:pt x="176" y="414"/>
                  </a:lnTo>
                  <a:lnTo>
                    <a:pt x="176" y="408"/>
                  </a:lnTo>
                  <a:lnTo>
                    <a:pt x="170" y="397"/>
                  </a:lnTo>
                  <a:lnTo>
                    <a:pt x="165" y="391"/>
                  </a:lnTo>
                  <a:lnTo>
                    <a:pt x="159" y="397"/>
                  </a:lnTo>
                  <a:lnTo>
                    <a:pt x="153" y="397"/>
                  </a:lnTo>
                  <a:lnTo>
                    <a:pt x="148" y="397"/>
                  </a:lnTo>
                  <a:lnTo>
                    <a:pt x="142" y="402"/>
                  </a:lnTo>
                  <a:lnTo>
                    <a:pt x="136" y="402"/>
                  </a:lnTo>
                  <a:lnTo>
                    <a:pt x="131" y="402"/>
                  </a:lnTo>
                  <a:lnTo>
                    <a:pt x="125" y="402"/>
                  </a:lnTo>
                  <a:lnTo>
                    <a:pt x="119" y="408"/>
                  </a:lnTo>
                  <a:lnTo>
                    <a:pt x="114" y="414"/>
                  </a:lnTo>
                  <a:lnTo>
                    <a:pt x="102" y="414"/>
                  </a:lnTo>
                  <a:lnTo>
                    <a:pt x="91" y="425"/>
                  </a:lnTo>
                  <a:lnTo>
                    <a:pt x="85" y="431"/>
                  </a:lnTo>
                  <a:lnTo>
                    <a:pt x="80" y="436"/>
                  </a:lnTo>
                  <a:lnTo>
                    <a:pt x="74" y="442"/>
                  </a:lnTo>
                  <a:lnTo>
                    <a:pt x="68" y="442"/>
                  </a:lnTo>
                  <a:lnTo>
                    <a:pt x="63" y="448"/>
                  </a:lnTo>
                  <a:close/>
                </a:path>
              </a:pathLst>
            </a:custGeom>
            <a:solidFill>
              <a:srgbClr val="006600"/>
            </a:solidFill>
            <a:ln w="25400">
              <a:solidFill>
                <a:schemeClr val="bg1">
                  <a:lumMod val="65000"/>
                </a:schemeClr>
              </a:solidFill>
              <a:round/>
              <a:headEnd/>
              <a:tailEnd/>
            </a:ln>
          </p:spPr>
          <p:txBody>
            <a:bodyPr lIns="93296" tIns="46648" rIns="93296" bIns="46648"/>
            <a:lstStyle/>
            <a:p>
              <a:pPr>
                <a:defRPr/>
              </a:pPr>
              <a:endParaRPr lang="en-US" sz="1000" kern="0">
                <a:solidFill>
                  <a:prstClr val="black">
                    <a:lumMod val="65000"/>
                    <a:lumOff val="35000"/>
                  </a:prstClr>
                </a:solidFill>
              </a:endParaRPr>
            </a:p>
          </p:txBody>
        </p:sp>
        <p:sp>
          <p:nvSpPr>
            <p:cNvPr id="9" name="Freeform 8"/>
            <p:cNvSpPr>
              <a:spLocks/>
            </p:cNvSpPr>
            <p:nvPr/>
          </p:nvSpPr>
          <p:spPr bwMode="gray">
            <a:xfrm>
              <a:off x="2282568" y="915886"/>
              <a:ext cx="1042916" cy="1059500"/>
            </a:xfrm>
            <a:custGeom>
              <a:avLst/>
              <a:gdLst>
                <a:gd name="T0" fmla="*/ 2147483647 w 743"/>
                <a:gd name="T1" fmla="*/ 2147483647 h 794"/>
                <a:gd name="T2" fmla="*/ 0 w 743"/>
                <a:gd name="T3" fmla="*/ 2147483647 h 794"/>
                <a:gd name="T4" fmla="*/ 2147483647 w 743"/>
                <a:gd name="T5" fmla="*/ 2147483647 h 794"/>
                <a:gd name="T6" fmla="*/ 2147483647 w 743"/>
                <a:gd name="T7" fmla="*/ 2147483647 h 794"/>
                <a:gd name="T8" fmla="*/ 2147483647 w 743"/>
                <a:gd name="T9" fmla="*/ 2147483647 h 794"/>
                <a:gd name="T10" fmla="*/ 2147483647 w 743"/>
                <a:gd name="T11" fmla="*/ 2147483647 h 794"/>
                <a:gd name="T12" fmla="*/ 2147483647 w 743"/>
                <a:gd name="T13" fmla="*/ 2147483647 h 794"/>
                <a:gd name="T14" fmla="*/ 2147483647 w 743"/>
                <a:gd name="T15" fmla="*/ 2147483647 h 794"/>
                <a:gd name="T16" fmla="*/ 2147483647 w 743"/>
                <a:gd name="T17" fmla="*/ 2147483647 h 794"/>
                <a:gd name="T18" fmla="*/ 2147483647 w 743"/>
                <a:gd name="T19" fmla="*/ 2147483647 h 794"/>
                <a:gd name="T20" fmla="*/ 2147483647 w 743"/>
                <a:gd name="T21" fmla="*/ 2147483647 h 794"/>
                <a:gd name="T22" fmla="*/ 2147483647 w 743"/>
                <a:gd name="T23" fmla="*/ 2147483647 h 794"/>
                <a:gd name="T24" fmla="*/ 2147483647 w 743"/>
                <a:gd name="T25" fmla="*/ 2147483647 h 794"/>
                <a:gd name="T26" fmla="*/ 2147483647 w 743"/>
                <a:gd name="T27" fmla="*/ 2147483647 h 794"/>
                <a:gd name="T28" fmla="*/ 2147483647 w 743"/>
                <a:gd name="T29" fmla="*/ 2147483647 h 794"/>
                <a:gd name="T30" fmla="*/ 2147483647 w 743"/>
                <a:gd name="T31" fmla="*/ 2147483647 h 794"/>
                <a:gd name="T32" fmla="*/ 2147483647 w 743"/>
                <a:gd name="T33" fmla="*/ 2147483647 h 794"/>
                <a:gd name="T34" fmla="*/ 2147483647 w 743"/>
                <a:gd name="T35" fmla="*/ 2147483647 h 794"/>
                <a:gd name="T36" fmla="*/ 2147483647 w 743"/>
                <a:gd name="T37" fmla="*/ 2147483647 h 794"/>
                <a:gd name="T38" fmla="*/ 2147483647 w 743"/>
                <a:gd name="T39" fmla="*/ 2147483647 h 794"/>
                <a:gd name="T40" fmla="*/ 2147483647 w 743"/>
                <a:gd name="T41" fmla="*/ 0 h 794"/>
                <a:gd name="T42" fmla="*/ 2147483647 w 743"/>
                <a:gd name="T43" fmla="*/ 2147483647 h 794"/>
                <a:gd name="T44" fmla="*/ 2147483647 w 743"/>
                <a:gd name="T45" fmla="*/ 2147483647 h 794"/>
                <a:gd name="T46" fmla="*/ 2147483647 w 743"/>
                <a:gd name="T47" fmla="*/ 2147483647 h 794"/>
                <a:gd name="T48" fmla="*/ 2147483647 w 743"/>
                <a:gd name="T49" fmla="*/ 2147483647 h 794"/>
                <a:gd name="T50" fmla="*/ 2147483647 w 743"/>
                <a:gd name="T51" fmla="*/ 2147483647 h 794"/>
                <a:gd name="T52" fmla="*/ 2147483647 w 743"/>
                <a:gd name="T53" fmla="*/ 2147483647 h 794"/>
                <a:gd name="T54" fmla="*/ 2147483647 w 743"/>
                <a:gd name="T55" fmla="*/ 2147483647 h 794"/>
                <a:gd name="T56" fmla="*/ 2147483647 w 743"/>
                <a:gd name="T57" fmla="*/ 2147483647 h 794"/>
                <a:gd name="T58" fmla="*/ 2147483647 w 743"/>
                <a:gd name="T59" fmla="*/ 2147483647 h 794"/>
                <a:gd name="T60" fmla="*/ 2147483647 w 743"/>
                <a:gd name="T61" fmla="*/ 2147483647 h 794"/>
                <a:gd name="T62" fmla="*/ 2147483647 w 743"/>
                <a:gd name="T63" fmla="*/ 2147483647 h 794"/>
                <a:gd name="T64" fmla="*/ 2147483647 w 743"/>
                <a:gd name="T65" fmla="*/ 2147483647 h 794"/>
                <a:gd name="T66" fmla="*/ 2147483647 w 743"/>
                <a:gd name="T67" fmla="*/ 2147483647 h 794"/>
                <a:gd name="T68" fmla="*/ 2147483647 w 743"/>
                <a:gd name="T69" fmla="*/ 2147483647 h 794"/>
                <a:gd name="T70" fmla="*/ 2147483647 w 743"/>
                <a:gd name="T71" fmla="*/ 2147483647 h 794"/>
                <a:gd name="T72" fmla="*/ 2147483647 w 743"/>
                <a:gd name="T73" fmla="*/ 2147483647 h 794"/>
                <a:gd name="T74" fmla="*/ 2147483647 w 743"/>
                <a:gd name="T75" fmla="*/ 2147483647 h 794"/>
                <a:gd name="T76" fmla="*/ 2147483647 w 743"/>
                <a:gd name="T77" fmla="*/ 2147483647 h 794"/>
                <a:gd name="T78" fmla="*/ 2147483647 w 743"/>
                <a:gd name="T79" fmla="*/ 2147483647 h 794"/>
                <a:gd name="T80" fmla="*/ 2147483647 w 743"/>
                <a:gd name="T81" fmla="*/ 2147483647 h 794"/>
                <a:gd name="T82" fmla="*/ 2147483647 w 743"/>
                <a:gd name="T83" fmla="*/ 2147483647 h 794"/>
                <a:gd name="T84" fmla="*/ 2147483647 w 743"/>
                <a:gd name="T85" fmla="*/ 2147483647 h 794"/>
                <a:gd name="T86" fmla="*/ 2147483647 w 743"/>
                <a:gd name="T87" fmla="*/ 2147483647 h 794"/>
                <a:gd name="T88" fmla="*/ 2147483647 w 743"/>
                <a:gd name="T89" fmla="*/ 2147483647 h 794"/>
                <a:gd name="T90" fmla="*/ 2147483647 w 743"/>
                <a:gd name="T91" fmla="*/ 2147483647 h 794"/>
                <a:gd name="T92" fmla="*/ 2147483647 w 743"/>
                <a:gd name="T93" fmla="*/ 2147483647 h 794"/>
                <a:gd name="T94" fmla="*/ 2147483647 w 743"/>
                <a:gd name="T95" fmla="*/ 2147483647 h 794"/>
                <a:gd name="T96" fmla="*/ 2147483647 w 743"/>
                <a:gd name="T97" fmla="*/ 2147483647 h 794"/>
                <a:gd name="T98" fmla="*/ 2147483647 w 743"/>
                <a:gd name="T99" fmla="*/ 2147483647 h 794"/>
                <a:gd name="T100" fmla="*/ 2147483647 w 743"/>
                <a:gd name="T101" fmla="*/ 2147483647 h 794"/>
                <a:gd name="T102" fmla="*/ 2147483647 w 743"/>
                <a:gd name="T103" fmla="*/ 2147483647 h 794"/>
                <a:gd name="T104" fmla="*/ 2147483647 w 743"/>
                <a:gd name="T105" fmla="*/ 2147483647 h 794"/>
                <a:gd name="T106" fmla="*/ 2147483647 w 743"/>
                <a:gd name="T107" fmla="*/ 2147483647 h 794"/>
                <a:gd name="T108" fmla="*/ 2147483647 w 743"/>
                <a:gd name="T109" fmla="*/ 2147483647 h 794"/>
                <a:gd name="T110" fmla="*/ 2147483647 w 743"/>
                <a:gd name="T111" fmla="*/ 2147483647 h 794"/>
                <a:gd name="T112" fmla="*/ 2147483647 w 743"/>
                <a:gd name="T113" fmla="*/ 2147483647 h 794"/>
                <a:gd name="T114" fmla="*/ 2147483647 w 743"/>
                <a:gd name="T115" fmla="*/ 2147483647 h 794"/>
                <a:gd name="T116" fmla="*/ 2147483647 w 743"/>
                <a:gd name="T117" fmla="*/ 2147483647 h 794"/>
                <a:gd name="T118" fmla="*/ 2147483647 w 743"/>
                <a:gd name="T119" fmla="*/ 2147483647 h 794"/>
                <a:gd name="T120" fmla="*/ 2147483647 w 743"/>
                <a:gd name="T121" fmla="*/ 2147483647 h 79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43"/>
                <a:gd name="T184" fmla="*/ 0 h 794"/>
                <a:gd name="T185" fmla="*/ 743 w 743"/>
                <a:gd name="T186" fmla="*/ 794 h 79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43" h="794">
                  <a:moveTo>
                    <a:pt x="6" y="703"/>
                  </a:moveTo>
                  <a:lnTo>
                    <a:pt x="6" y="698"/>
                  </a:lnTo>
                  <a:lnTo>
                    <a:pt x="6" y="692"/>
                  </a:lnTo>
                  <a:lnTo>
                    <a:pt x="12" y="686"/>
                  </a:lnTo>
                  <a:lnTo>
                    <a:pt x="12" y="681"/>
                  </a:lnTo>
                  <a:lnTo>
                    <a:pt x="12" y="675"/>
                  </a:lnTo>
                  <a:lnTo>
                    <a:pt x="12" y="669"/>
                  </a:lnTo>
                  <a:lnTo>
                    <a:pt x="17" y="669"/>
                  </a:lnTo>
                  <a:lnTo>
                    <a:pt x="17" y="664"/>
                  </a:lnTo>
                  <a:lnTo>
                    <a:pt x="17" y="658"/>
                  </a:lnTo>
                  <a:lnTo>
                    <a:pt x="12" y="652"/>
                  </a:lnTo>
                  <a:lnTo>
                    <a:pt x="12" y="647"/>
                  </a:lnTo>
                  <a:lnTo>
                    <a:pt x="6" y="641"/>
                  </a:lnTo>
                  <a:lnTo>
                    <a:pt x="0" y="635"/>
                  </a:lnTo>
                  <a:lnTo>
                    <a:pt x="0" y="630"/>
                  </a:lnTo>
                  <a:lnTo>
                    <a:pt x="0" y="624"/>
                  </a:lnTo>
                  <a:lnTo>
                    <a:pt x="0" y="618"/>
                  </a:lnTo>
                  <a:lnTo>
                    <a:pt x="0" y="613"/>
                  </a:lnTo>
                  <a:lnTo>
                    <a:pt x="0" y="607"/>
                  </a:lnTo>
                  <a:lnTo>
                    <a:pt x="0" y="601"/>
                  </a:lnTo>
                  <a:lnTo>
                    <a:pt x="6" y="601"/>
                  </a:lnTo>
                  <a:lnTo>
                    <a:pt x="6" y="596"/>
                  </a:lnTo>
                  <a:lnTo>
                    <a:pt x="6" y="590"/>
                  </a:lnTo>
                  <a:lnTo>
                    <a:pt x="6" y="584"/>
                  </a:lnTo>
                  <a:lnTo>
                    <a:pt x="12" y="584"/>
                  </a:lnTo>
                  <a:lnTo>
                    <a:pt x="12" y="573"/>
                  </a:lnTo>
                  <a:lnTo>
                    <a:pt x="12" y="567"/>
                  </a:lnTo>
                  <a:lnTo>
                    <a:pt x="17" y="567"/>
                  </a:lnTo>
                  <a:lnTo>
                    <a:pt x="17" y="562"/>
                  </a:lnTo>
                  <a:lnTo>
                    <a:pt x="23" y="562"/>
                  </a:lnTo>
                  <a:lnTo>
                    <a:pt x="23" y="556"/>
                  </a:lnTo>
                  <a:lnTo>
                    <a:pt x="34" y="556"/>
                  </a:lnTo>
                  <a:lnTo>
                    <a:pt x="40" y="556"/>
                  </a:lnTo>
                  <a:lnTo>
                    <a:pt x="46" y="556"/>
                  </a:lnTo>
                  <a:lnTo>
                    <a:pt x="51" y="556"/>
                  </a:lnTo>
                  <a:lnTo>
                    <a:pt x="57" y="562"/>
                  </a:lnTo>
                  <a:lnTo>
                    <a:pt x="63" y="562"/>
                  </a:lnTo>
                  <a:lnTo>
                    <a:pt x="68" y="562"/>
                  </a:lnTo>
                  <a:lnTo>
                    <a:pt x="68" y="556"/>
                  </a:lnTo>
                  <a:lnTo>
                    <a:pt x="74" y="556"/>
                  </a:lnTo>
                  <a:lnTo>
                    <a:pt x="80" y="556"/>
                  </a:lnTo>
                  <a:lnTo>
                    <a:pt x="85" y="545"/>
                  </a:lnTo>
                  <a:lnTo>
                    <a:pt x="91" y="545"/>
                  </a:lnTo>
                  <a:lnTo>
                    <a:pt x="97" y="539"/>
                  </a:lnTo>
                  <a:lnTo>
                    <a:pt x="97" y="533"/>
                  </a:lnTo>
                  <a:lnTo>
                    <a:pt x="97" y="528"/>
                  </a:lnTo>
                  <a:lnTo>
                    <a:pt x="102" y="522"/>
                  </a:lnTo>
                  <a:lnTo>
                    <a:pt x="108" y="522"/>
                  </a:lnTo>
                  <a:lnTo>
                    <a:pt x="114" y="522"/>
                  </a:lnTo>
                  <a:lnTo>
                    <a:pt x="119" y="528"/>
                  </a:lnTo>
                  <a:lnTo>
                    <a:pt x="119" y="522"/>
                  </a:lnTo>
                  <a:lnTo>
                    <a:pt x="125" y="522"/>
                  </a:lnTo>
                  <a:lnTo>
                    <a:pt x="125" y="516"/>
                  </a:lnTo>
                  <a:lnTo>
                    <a:pt x="131" y="516"/>
                  </a:lnTo>
                  <a:lnTo>
                    <a:pt x="131" y="511"/>
                  </a:lnTo>
                  <a:lnTo>
                    <a:pt x="125" y="505"/>
                  </a:lnTo>
                  <a:lnTo>
                    <a:pt x="125" y="499"/>
                  </a:lnTo>
                  <a:lnTo>
                    <a:pt x="119" y="499"/>
                  </a:lnTo>
                  <a:lnTo>
                    <a:pt x="114" y="488"/>
                  </a:lnTo>
                  <a:lnTo>
                    <a:pt x="108" y="488"/>
                  </a:lnTo>
                  <a:lnTo>
                    <a:pt x="108" y="482"/>
                  </a:lnTo>
                  <a:lnTo>
                    <a:pt x="102" y="482"/>
                  </a:lnTo>
                  <a:lnTo>
                    <a:pt x="97" y="482"/>
                  </a:lnTo>
                  <a:lnTo>
                    <a:pt x="91" y="482"/>
                  </a:lnTo>
                  <a:lnTo>
                    <a:pt x="91" y="477"/>
                  </a:lnTo>
                  <a:lnTo>
                    <a:pt x="85" y="477"/>
                  </a:lnTo>
                  <a:lnTo>
                    <a:pt x="85" y="471"/>
                  </a:lnTo>
                  <a:lnTo>
                    <a:pt x="85" y="465"/>
                  </a:lnTo>
                  <a:lnTo>
                    <a:pt x="85" y="460"/>
                  </a:lnTo>
                  <a:lnTo>
                    <a:pt x="91" y="460"/>
                  </a:lnTo>
                  <a:lnTo>
                    <a:pt x="91" y="454"/>
                  </a:lnTo>
                  <a:lnTo>
                    <a:pt x="97" y="454"/>
                  </a:lnTo>
                  <a:lnTo>
                    <a:pt x="97" y="448"/>
                  </a:lnTo>
                  <a:lnTo>
                    <a:pt x="97" y="443"/>
                  </a:lnTo>
                  <a:lnTo>
                    <a:pt x="102" y="443"/>
                  </a:lnTo>
                  <a:lnTo>
                    <a:pt x="102" y="437"/>
                  </a:lnTo>
                  <a:lnTo>
                    <a:pt x="102" y="431"/>
                  </a:lnTo>
                  <a:lnTo>
                    <a:pt x="102" y="426"/>
                  </a:lnTo>
                  <a:lnTo>
                    <a:pt x="102" y="420"/>
                  </a:lnTo>
                  <a:lnTo>
                    <a:pt x="97" y="414"/>
                  </a:lnTo>
                  <a:lnTo>
                    <a:pt x="97" y="409"/>
                  </a:lnTo>
                  <a:lnTo>
                    <a:pt x="97" y="403"/>
                  </a:lnTo>
                  <a:lnTo>
                    <a:pt x="97" y="397"/>
                  </a:lnTo>
                  <a:lnTo>
                    <a:pt x="91" y="392"/>
                  </a:lnTo>
                  <a:lnTo>
                    <a:pt x="85" y="386"/>
                  </a:lnTo>
                  <a:lnTo>
                    <a:pt x="85" y="380"/>
                  </a:lnTo>
                  <a:lnTo>
                    <a:pt x="85" y="369"/>
                  </a:lnTo>
                  <a:lnTo>
                    <a:pt x="85" y="363"/>
                  </a:lnTo>
                  <a:lnTo>
                    <a:pt x="80" y="363"/>
                  </a:lnTo>
                  <a:lnTo>
                    <a:pt x="80" y="358"/>
                  </a:lnTo>
                  <a:lnTo>
                    <a:pt x="80" y="352"/>
                  </a:lnTo>
                  <a:lnTo>
                    <a:pt x="80" y="346"/>
                  </a:lnTo>
                  <a:lnTo>
                    <a:pt x="80" y="341"/>
                  </a:lnTo>
                  <a:lnTo>
                    <a:pt x="74" y="341"/>
                  </a:lnTo>
                  <a:lnTo>
                    <a:pt x="74" y="335"/>
                  </a:lnTo>
                  <a:lnTo>
                    <a:pt x="68" y="335"/>
                  </a:lnTo>
                  <a:lnTo>
                    <a:pt x="68" y="329"/>
                  </a:lnTo>
                  <a:lnTo>
                    <a:pt x="68" y="312"/>
                  </a:lnTo>
                  <a:lnTo>
                    <a:pt x="68" y="307"/>
                  </a:lnTo>
                  <a:lnTo>
                    <a:pt x="68" y="301"/>
                  </a:lnTo>
                  <a:lnTo>
                    <a:pt x="68" y="295"/>
                  </a:lnTo>
                  <a:lnTo>
                    <a:pt x="68" y="290"/>
                  </a:lnTo>
                  <a:lnTo>
                    <a:pt x="68" y="267"/>
                  </a:lnTo>
                  <a:lnTo>
                    <a:pt x="63" y="261"/>
                  </a:lnTo>
                  <a:lnTo>
                    <a:pt x="63" y="256"/>
                  </a:lnTo>
                  <a:lnTo>
                    <a:pt x="63" y="250"/>
                  </a:lnTo>
                  <a:lnTo>
                    <a:pt x="63" y="244"/>
                  </a:lnTo>
                  <a:lnTo>
                    <a:pt x="57" y="239"/>
                  </a:lnTo>
                  <a:lnTo>
                    <a:pt x="57" y="233"/>
                  </a:lnTo>
                  <a:lnTo>
                    <a:pt x="57" y="205"/>
                  </a:lnTo>
                  <a:lnTo>
                    <a:pt x="57" y="193"/>
                  </a:lnTo>
                  <a:lnTo>
                    <a:pt x="63" y="182"/>
                  </a:lnTo>
                  <a:lnTo>
                    <a:pt x="63" y="176"/>
                  </a:lnTo>
                  <a:lnTo>
                    <a:pt x="63" y="165"/>
                  </a:lnTo>
                  <a:lnTo>
                    <a:pt x="63" y="154"/>
                  </a:lnTo>
                  <a:lnTo>
                    <a:pt x="63" y="137"/>
                  </a:lnTo>
                  <a:lnTo>
                    <a:pt x="63" y="119"/>
                  </a:lnTo>
                  <a:lnTo>
                    <a:pt x="74" y="119"/>
                  </a:lnTo>
                  <a:lnTo>
                    <a:pt x="80" y="114"/>
                  </a:lnTo>
                  <a:lnTo>
                    <a:pt x="85" y="114"/>
                  </a:lnTo>
                  <a:lnTo>
                    <a:pt x="91" y="114"/>
                  </a:lnTo>
                  <a:lnTo>
                    <a:pt x="91" y="108"/>
                  </a:lnTo>
                  <a:lnTo>
                    <a:pt x="97" y="108"/>
                  </a:lnTo>
                  <a:lnTo>
                    <a:pt x="102" y="97"/>
                  </a:lnTo>
                  <a:lnTo>
                    <a:pt x="108" y="97"/>
                  </a:lnTo>
                  <a:lnTo>
                    <a:pt x="108" y="91"/>
                  </a:lnTo>
                  <a:lnTo>
                    <a:pt x="114" y="91"/>
                  </a:lnTo>
                  <a:lnTo>
                    <a:pt x="114" y="85"/>
                  </a:lnTo>
                  <a:lnTo>
                    <a:pt x="119" y="85"/>
                  </a:lnTo>
                  <a:lnTo>
                    <a:pt x="125" y="80"/>
                  </a:lnTo>
                  <a:lnTo>
                    <a:pt x="131" y="80"/>
                  </a:lnTo>
                  <a:lnTo>
                    <a:pt x="136" y="80"/>
                  </a:lnTo>
                  <a:lnTo>
                    <a:pt x="153" y="85"/>
                  </a:lnTo>
                  <a:lnTo>
                    <a:pt x="159" y="85"/>
                  </a:lnTo>
                  <a:lnTo>
                    <a:pt x="170" y="85"/>
                  </a:lnTo>
                  <a:lnTo>
                    <a:pt x="176" y="85"/>
                  </a:lnTo>
                  <a:lnTo>
                    <a:pt x="182" y="85"/>
                  </a:lnTo>
                  <a:lnTo>
                    <a:pt x="193" y="80"/>
                  </a:lnTo>
                  <a:lnTo>
                    <a:pt x="199" y="74"/>
                  </a:lnTo>
                  <a:lnTo>
                    <a:pt x="205" y="74"/>
                  </a:lnTo>
                  <a:lnTo>
                    <a:pt x="210" y="68"/>
                  </a:lnTo>
                  <a:lnTo>
                    <a:pt x="216" y="68"/>
                  </a:lnTo>
                  <a:lnTo>
                    <a:pt x="222" y="68"/>
                  </a:lnTo>
                  <a:lnTo>
                    <a:pt x="222" y="63"/>
                  </a:lnTo>
                  <a:lnTo>
                    <a:pt x="227" y="63"/>
                  </a:lnTo>
                  <a:lnTo>
                    <a:pt x="233" y="57"/>
                  </a:lnTo>
                  <a:lnTo>
                    <a:pt x="239" y="51"/>
                  </a:lnTo>
                  <a:lnTo>
                    <a:pt x="244" y="51"/>
                  </a:lnTo>
                  <a:lnTo>
                    <a:pt x="250" y="51"/>
                  </a:lnTo>
                  <a:lnTo>
                    <a:pt x="250" y="46"/>
                  </a:lnTo>
                  <a:lnTo>
                    <a:pt x="256" y="46"/>
                  </a:lnTo>
                  <a:lnTo>
                    <a:pt x="261" y="40"/>
                  </a:lnTo>
                  <a:lnTo>
                    <a:pt x="267" y="40"/>
                  </a:lnTo>
                  <a:lnTo>
                    <a:pt x="267" y="34"/>
                  </a:lnTo>
                  <a:lnTo>
                    <a:pt x="273" y="34"/>
                  </a:lnTo>
                  <a:lnTo>
                    <a:pt x="278" y="34"/>
                  </a:lnTo>
                  <a:lnTo>
                    <a:pt x="295" y="23"/>
                  </a:lnTo>
                  <a:lnTo>
                    <a:pt x="295" y="17"/>
                  </a:lnTo>
                  <a:lnTo>
                    <a:pt x="307" y="12"/>
                  </a:lnTo>
                  <a:lnTo>
                    <a:pt x="312" y="12"/>
                  </a:lnTo>
                  <a:lnTo>
                    <a:pt x="312" y="6"/>
                  </a:lnTo>
                  <a:lnTo>
                    <a:pt x="318" y="6"/>
                  </a:lnTo>
                  <a:lnTo>
                    <a:pt x="329" y="0"/>
                  </a:lnTo>
                  <a:lnTo>
                    <a:pt x="335" y="0"/>
                  </a:lnTo>
                  <a:lnTo>
                    <a:pt x="341" y="0"/>
                  </a:lnTo>
                  <a:lnTo>
                    <a:pt x="346" y="0"/>
                  </a:lnTo>
                  <a:lnTo>
                    <a:pt x="352" y="0"/>
                  </a:lnTo>
                  <a:lnTo>
                    <a:pt x="358" y="0"/>
                  </a:lnTo>
                  <a:lnTo>
                    <a:pt x="363" y="6"/>
                  </a:lnTo>
                  <a:lnTo>
                    <a:pt x="369" y="6"/>
                  </a:lnTo>
                  <a:lnTo>
                    <a:pt x="375" y="6"/>
                  </a:lnTo>
                  <a:lnTo>
                    <a:pt x="392" y="6"/>
                  </a:lnTo>
                  <a:lnTo>
                    <a:pt x="397" y="6"/>
                  </a:lnTo>
                  <a:lnTo>
                    <a:pt x="403" y="12"/>
                  </a:lnTo>
                  <a:lnTo>
                    <a:pt x="409" y="12"/>
                  </a:lnTo>
                  <a:lnTo>
                    <a:pt x="414" y="12"/>
                  </a:lnTo>
                  <a:lnTo>
                    <a:pt x="420" y="12"/>
                  </a:lnTo>
                  <a:lnTo>
                    <a:pt x="426" y="12"/>
                  </a:lnTo>
                  <a:lnTo>
                    <a:pt x="426" y="17"/>
                  </a:lnTo>
                  <a:lnTo>
                    <a:pt x="431" y="17"/>
                  </a:lnTo>
                  <a:lnTo>
                    <a:pt x="443" y="23"/>
                  </a:lnTo>
                  <a:lnTo>
                    <a:pt x="448" y="23"/>
                  </a:lnTo>
                  <a:lnTo>
                    <a:pt x="454" y="29"/>
                  </a:lnTo>
                  <a:lnTo>
                    <a:pt x="460" y="34"/>
                  </a:lnTo>
                  <a:lnTo>
                    <a:pt x="465" y="40"/>
                  </a:lnTo>
                  <a:lnTo>
                    <a:pt x="471" y="40"/>
                  </a:lnTo>
                  <a:lnTo>
                    <a:pt x="488" y="46"/>
                  </a:lnTo>
                  <a:lnTo>
                    <a:pt x="488" y="51"/>
                  </a:lnTo>
                  <a:lnTo>
                    <a:pt x="494" y="51"/>
                  </a:lnTo>
                  <a:lnTo>
                    <a:pt x="499" y="57"/>
                  </a:lnTo>
                  <a:lnTo>
                    <a:pt x="499" y="63"/>
                  </a:lnTo>
                  <a:lnTo>
                    <a:pt x="505" y="63"/>
                  </a:lnTo>
                  <a:lnTo>
                    <a:pt x="505" y="68"/>
                  </a:lnTo>
                  <a:lnTo>
                    <a:pt x="511" y="74"/>
                  </a:lnTo>
                  <a:lnTo>
                    <a:pt x="516" y="80"/>
                  </a:lnTo>
                  <a:lnTo>
                    <a:pt x="522" y="80"/>
                  </a:lnTo>
                  <a:lnTo>
                    <a:pt x="528" y="85"/>
                  </a:lnTo>
                  <a:lnTo>
                    <a:pt x="528" y="91"/>
                  </a:lnTo>
                  <a:lnTo>
                    <a:pt x="533" y="91"/>
                  </a:lnTo>
                  <a:lnTo>
                    <a:pt x="539" y="97"/>
                  </a:lnTo>
                  <a:lnTo>
                    <a:pt x="545" y="102"/>
                  </a:lnTo>
                  <a:lnTo>
                    <a:pt x="550" y="97"/>
                  </a:lnTo>
                  <a:lnTo>
                    <a:pt x="562" y="97"/>
                  </a:lnTo>
                  <a:lnTo>
                    <a:pt x="567" y="97"/>
                  </a:lnTo>
                  <a:lnTo>
                    <a:pt x="573" y="97"/>
                  </a:lnTo>
                  <a:lnTo>
                    <a:pt x="579" y="97"/>
                  </a:lnTo>
                  <a:lnTo>
                    <a:pt x="584" y="102"/>
                  </a:lnTo>
                  <a:lnTo>
                    <a:pt x="590" y="102"/>
                  </a:lnTo>
                  <a:lnTo>
                    <a:pt x="596" y="108"/>
                  </a:lnTo>
                  <a:lnTo>
                    <a:pt x="601" y="114"/>
                  </a:lnTo>
                  <a:lnTo>
                    <a:pt x="607" y="114"/>
                  </a:lnTo>
                  <a:lnTo>
                    <a:pt x="618" y="125"/>
                  </a:lnTo>
                  <a:lnTo>
                    <a:pt x="618" y="131"/>
                  </a:lnTo>
                  <a:lnTo>
                    <a:pt x="624" y="137"/>
                  </a:lnTo>
                  <a:lnTo>
                    <a:pt x="624" y="142"/>
                  </a:lnTo>
                  <a:lnTo>
                    <a:pt x="630" y="142"/>
                  </a:lnTo>
                  <a:lnTo>
                    <a:pt x="635" y="148"/>
                  </a:lnTo>
                  <a:lnTo>
                    <a:pt x="641" y="148"/>
                  </a:lnTo>
                  <a:lnTo>
                    <a:pt x="647" y="148"/>
                  </a:lnTo>
                  <a:lnTo>
                    <a:pt x="647" y="154"/>
                  </a:lnTo>
                  <a:lnTo>
                    <a:pt x="647" y="148"/>
                  </a:lnTo>
                  <a:lnTo>
                    <a:pt x="652" y="154"/>
                  </a:lnTo>
                  <a:lnTo>
                    <a:pt x="664" y="154"/>
                  </a:lnTo>
                  <a:lnTo>
                    <a:pt x="669" y="159"/>
                  </a:lnTo>
                  <a:lnTo>
                    <a:pt x="675" y="159"/>
                  </a:lnTo>
                  <a:lnTo>
                    <a:pt x="681" y="159"/>
                  </a:lnTo>
                  <a:lnTo>
                    <a:pt x="686" y="165"/>
                  </a:lnTo>
                  <a:lnTo>
                    <a:pt x="692" y="165"/>
                  </a:lnTo>
                  <a:lnTo>
                    <a:pt x="698" y="165"/>
                  </a:lnTo>
                  <a:lnTo>
                    <a:pt x="703" y="165"/>
                  </a:lnTo>
                  <a:lnTo>
                    <a:pt x="709" y="171"/>
                  </a:lnTo>
                  <a:lnTo>
                    <a:pt x="720" y="176"/>
                  </a:lnTo>
                  <a:lnTo>
                    <a:pt x="726" y="176"/>
                  </a:lnTo>
                  <a:lnTo>
                    <a:pt x="732" y="176"/>
                  </a:lnTo>
                  <a:lnTo>
                    <a:pt x="743" y="199"/>
                  </a:lnTo>
                  <a:lnTo>
                    <a:pt x="737" y="205"/>
                  </a:lnTo>
                  <a:lnTo>
                    <a:pt x="737" y="210"/>
                  </a:lnTo>
                  <a:lnTo>
                    <a:pt x="732" y="210"/>
                  </a:lnTo>
                  <a:lnTo>
                    <a:pt x="732" y="216"/>
                  </a:lnTo>
                  <a:lnTo>
                    <a:pt x="726" y="216"/>
                  </a:lnTo>
                  <a:lnTo>
                    <a:pt x="726" y="222"/>
                  </a:lnTo>
                  <a:lnTo>
                    <a:pt x="726" y="227"/>
                  </a:lnTo>
                  <a:lnTo>
                    <a:pt x="720" y="227"/>
                  </a:lnTo>
                  <a:lnTo>
                    <a:pt x="720" y="233"/>
                  </a:lnTo>
                  <a:lnTo>
                    <a:pt x="715" y="233"/>
                  </a:lnTo>
                  <a:lnTo>
                    <a:pt x="709" y="239"/>
                  </a:lnTo>
                  <a:lnTo>
                    <a:pt x="703" y="239"/>
                  </a:lnTo>
                  <a:lnTo>
                    <a:pt x="698" y="244"/>
                  </a:lnTo>
                  <a:lnTo>
                    <a:pt x="692" y="244"/>
                  </a:lnTo>
                  <a:lnTo>
                    <a:pt x="686" y="244"/>
                  </a:lnTo>
                  <a:lnTo>
                    <a:pt x="669" y="244"/>
                  </a:lnTo>
                  <a:lnTo>
                    <a:pt x="669" y="250"/>
                  </a:lnTo>
                  <a:lnTo>
                    <a:pt x="664" y="244"/>
                  </a:lnTo>
                  <a:lnTo>
                    <a:pt x="652" y="244"/>
                  </a:lnTo>
                  <a:lnTo>
                    <a:pt x="641" y="239"/>
                  </a:lnTo>
                  <a:lnTo>
                    <a:pt x="635" y="239"/>
                  </a:lnTo>
                  <a:lnTo>
                    <a:pt x="630" y="233"/>
                  </a:lnTo>
                  <a:lnTo>
                    <a:pt x="624" y="233"/>
                  </a:lnTo>
                  <a:lnTo>
                    <a:pt x="624" y="227"/>
                  </a:lnTo>
                  <a:lnTo>
                    <a:pt x="618" y="227"/>
                  </a:lnTo>
                  <a:lnTo>
                    <a:pt x="613" y="222"/>
                  </a:lnTo>
                  <a:lnTo>
                    <a:pt x="613" y="216"/>
                  </a:lnTo>
                  <a:lnTo>
                    <a:pt x="607" y="210"/>
                  </a:lnTo>
                  <a:lnTo>
                    <a:pt x="601" y="205"/>
                  </a:lnTo>
                  <a:lnTo>
                    <a:pt x="596" y="205"/>
                  </a:lnTo>
                  <a:lnTo>
                    <a:pt x="596" y="193"/>
                  </a:lnTo>
                  <a:lnTo>
                    <a:pt x="584" y="188"/>
                  </a:lnTo>
                  <a:lnTo>
                    <a:pt x="584" y="182"/>
                  </a:lnTo>
                  <a:lnTo>
                    <a:pt x="579" y="182"/>
                  </a:lnTo>
                  <a:lnTo>
                    <a:pt x="567" y="182"/>
                  </a:lnTo>
                  <a:lnTo>
                    <a:pt x="556" y="182"/>
                  </a:lnTo>
                  <a:lnTo>
                    <a:pt x="550" y="188"/>
                  </a:lnTo>
                  <a:lnTo>
                    <a:pt x="545" y="188"/>
                  </a:lnTo>
                  <a:lnTo>
                    <a:pt x="539" y="188"/>
                  </a:lnTo>
                  <a:lnTo>
                    <a:pt x="533" y="188"/>
                  </a:lnTo>
                  <a:lnTo>
                    <a:pt x="528" y="193"/>
                  </a:lnTo>
                  <a:lnTo>
                    <a:pt x="522" y="193"/>
                  </a:lnTo>
                  <a:lnTo>
                    <a:pt x="516" y="188"/>
                  </a:lnTo>
                  <a:lnTo>
                    <a:pt x="511" y="188"/>
                  </a:lnTo>
                  <a:lnTo>
                    <a:pt x="505" y="188"/>
                  </a:lnTo>
                  <a:lnTo>
                    <a:pt x="499" y="182"/>
                  </a:lnTo>
                  <a:lnTo>
                    <a:pt x="494" y="182"/>
                  </a:lnTo>
                  <a:lnTo>
                    <a:pt x="488" y="182"/>
                  </a:lnTo>
                  <a:lnTo>
                    <a:pt x="482" y="182"/>
                  </a:lnTo>
                  <a:lnTo>
                    <a:pt x="477" y="182"/>
                  </a:lnTo>
                  <a:lnTo>
                    <a:pt x="465" y="182"/>
                  </a:lnTo>
                  <a:lnTo>
                    <a:pt x="460" y="188"/>
                  </a:lnTo>
                  <a:lnTo>
                    <a:pt x="454" y="193"/>
                  </a:lnTo>
                  <a:lnTo>
                    <a:pt x="454" y="199"/>
                  </a:lnTo>
                  <a:lnTo>
                    <a:pt x="454" y="205"/>
                  </a:lnTo>
                  <a:lnTo>
                    <a:pt x="454" y="222"/>
                  </a:lnTo>
                  <a:lnTo>
                    <a:pt x="454" y="233"/>
                  </a:lnTo>
                  <a:lnTo>
                    <a:pt x="454" y="239"/>
                  </a:lnTo>
                  <a:lnTo>
                    <a:pt x="454" y="244"/>
                  </a:lnTo>
                  <a:lnTo>
                    <a:pt x="454" y="250"/>
                  </a:lnTo>
                  <a:lnTo>
                    <a:pt x="454" y="256"/>
                  </a:lnTo>
                  <a:lnTo>
                    <a:pt x="465" y="261"/>
                  </a:lnTo>
                  <a:lnTo>
                    <a:pt x="465" y="267"/>
                  </a:lnTo>
                  <a:lnTo>
                    <a:pt x="471" y="267"/>
                  </a:lnTo>
                  <a:lnTo>
                    <a:pt x="482" y="267"/>
                  </a:lnTo>
                  <a:lnTo>
                    <a:pt x="482" y="273"/>
                  </a:lnTo>
                  <a:lnTo>
                    <a:pt x="488" y="273"/>
                  </a:lnTo>
                  <a:lnTo>
                    <a:pt x="494" y="273"/>
                  </a:lnTo>
                  <a:lnTo>
                    <a:pt x="482" y="278"/>
                  </a:lnTo>
                  <a:lnTo>
                    <a:pt x="482" y="284"/>
                  </a:lnTo>
                  <a:lnTo>
                    <a:pt x="477" y="290"/>
                  </a:lnTo>
                  <a:lnTo>
                    <a:pt x="471" y="290"/>
                  </a:lnTo>
                  <a:lnTo>
                    <a:pt x="465" y="295"/>
                  </a:lnTo>
                  <a:lnTo>
                    <a:pt x="465" y="301"/>
                  </a:lnTo>
                  <a:lnTo>
                    <a:pt x="465" y="307"/>
                  </a:lnTo>
                  <a:lnTo>
                    <a:pt x="460" y="307"/>
                  </a:lnTo>
                  <a:lnTo>
                    <a:pt x="454" y="312"/>
                  </a:lnTo>
                  <a:lnTo>
                    <a:pt x="454" y="324"/>
                  </a:lnTo>
                  <a:lnTo>
                    <a:pt x="454" y="329"/>
                  </a:lnTo>
                  <a:lnTo>
                    <a:pt x="448" y="329"/>
                  </a:lnTo>
                  <a:lnTo>
                    <a:pt x="448" y="335"/>
                  </a:lnTo>
                  <a:lnTo>
                    <a:pt x="443" y="341"/>
                  </a:lnTo>
                  <a:lnTo>
                    <a:pt x="437" y="346"/>
                  </a:lnTo>
                  <a:lnTo>
                    <a:pt x="431" y="346"/>
                  </a:lnTo>
                  <a:lnTo>
                    <a:pt x="426" y="352"/>
                  </a:lnTo>
                  <a:lnTo>
                    <a:pt x="420" y="352"/>
                  </a:lnTo>
                  <a:lnTo>
                    <a:pt x="420" y="358"/>
                  </a:lnTo>
                  <a:lnTo>
                    <a:pt x="409" y="358"/>
                  </a:lnTo>
                  <a:lnTo>
                    <a:pt x="403" y="358"/>
                  </a:lnTo>
                  <a:lnTo>
                    <a:pt x="397" y="358"/>
                  </a:lnTo>
                  <a:lnTo>
                    <a:pt x="392" y="363"/>
                  </a:lnTo>
                  <a:lnTo>
                    <a:pt x="386" y="363"/>
                  </a:lnTo>
                  <a:lnTo>
                    <a:pt x="380" y="363"/>
                  </a:lnTo>
                  <a:lnTo>
                    <a:pt x="375" y="363"/>
                  </a:lnTo>
                  <a:lnTo>
                    <a:pt x="369" y="363"/>
                  </a:lnTo>
                  <a:lnTo>
                    <a:pt x="369" y="369"/>
                  </a:lnTo>
                  <a:lnTo>
                    <a:pt x="358" y="375"/>
                  </a:lnTo>
                  <a:lnTo>
                    <a:pt x="352" y="375"/>
                  </a:lnTo>
                  <a:lnTo>
                    <a:pt x="352" y="380"/>
                  </a:lnTo>
                  <a:lnTo>
                    <a:pt x="346" y="380"/>
                  </a:lnTo>
                  <a:lnTo>
                    <a:pt x="341" y="386"/>
                  </a:lnTo>
                  <a:lnTo>
                    <a:pt x="335" y="392"/>
                  </a:lnTo>
                  <a:lnTo>
                    <a:pt x="329" y="403"/>
                  </a:lnTo>
                  <a:lnTo>
                    <a:pt x="329" y="409"/>
                  </a:lnTo>
                  <a:lnTo>
                    <a:pt x="329" y="414"/>
                  </a:lnTo>
                  <a:lnTo>
                    <a:pt x="329" y="420"/>
                  </a:lnTo>
                  <a:lnTo>
                    <a:pt x="329" y="426"/>
                  </a:lnTo>
                  <a:lnTo>
                    <a:pt x="335" y="431"/>
                  </a:lnTo>
                  <a:lnTo>
                    <a:pt x="335" y="443"/>
                  </a:lnTo>
                  <a:lnTo>
                    <a:pt x="335" y="448"/>
                  </a:lnTo>
                  <a:lnTo>
                    <a:pt x="335" y="454"/>
                  </a:lnTo>
                  <a:lnTo>
                    <a:pt x="341" y="465"/>
                  </a:lnTo>
                  <a:lnTo>
                    <a:pt x="341" y="471"/>
                  </a:lnTo>
                  <a:lnTo>
                    <a:pt x="341" y="477"/>
                  </a:lnTo>
                  <a:lnTo>
                    <a:pt x="335" y="488"/>
                  </a:lnTo>
                  <a:lnTo>
                    <a:pt x="335" y="494"/>
                  </a:lnTo>
                  <a:lnTo>
                    <a:pt x="335" y="505"/>
                  </a:lnTo>
                  <a:lnTo>
                    <a:pt x="335" y="511"/>
                  </a:lnTo>
                  <a:lnTo>
                    <a:pt x="335" y="516"/>
                  </a:lnTo>
                  <a:lnTo>
                    <a:pt x="335" y="522"/>
                  </a:lnTo>
                  <a:lnTo>
                    <a:pt x="341" y="522"/>
                  </a:lnTo>
                  <a:lnTo>
                    <a:pt x="341" y="528"/>
                  </a:lnTo>
                  <a:lnTo>
                    <a:pt x="341" y="533"/>
                  </a:lnTo>
                  <a:lnTo>
                    <a:pt x="346" y="533"/>
                  </a:lnTo>
                  <a:lnTo>
                    <a:pt x="346" y="539"/>
                  </a:lnTo>
                  <a:lnTo>
                    <a:pt x="352" y="545"/>
                  </a:lnTo>
                  <a:lnTo>
                    <a:pt x="352" y="550"/>
                  </a:lnTo>
                  <a:lnTo>
                    <a:pt x="352" y="556"/>
                  </a:lnTo>
                  <a:lnTo>
                    <a:pt x="352" y="562"/>
                  </a:lnTo>
                  <a:lnTo>
                    <a:pt x="352" y="567"/>
                  </a:lnTo>
                  <a:lnTo>
                    <a:pt x="352" y="579"/>
                  </a:lnTo>
                  <a:lnTo>
                    <a:pt x="352" y="584"/>
                  </a:lnTo>
                  <a:lnTo>
                    <a:pt x="358" y="590"/>
                  </a:lnTo>
                  <a:lnTo>
                    <a:pt x="363" y="596"/>
                  </a:lnTo>
                  <a:lnTo>
                    <a:pt x="363" y="601"/>
                  </a:lnTo>
                  <a:lnTo>
                    <a:pt x="363" y="607"/>
                  </a:lnTo>
                  <a:lnTo>
                    <a:pt x="363" y="613"/>
                  </a:lnTo>
                  <a:lnTo>
                    <a:pt x="363" y="618"/>
                  </a:lnTo>
                  <a:lnTo>
                    <a:pt x="352" y="624"/>
                  </a:lnTo>
                  <a:lnTo>
                    <a:pt x="346" y="624"/>
                  </a:lnTo>
                  <a:lnTo>
                    <a:pt x="335" y="624"/>
                  </a:lnTo>
                  <a:lnTo>
                    <a:pt x="329" y="624"/>
                  </a:lnTo>
                  <a:lnTo>
                    <a:pt x="324" y="624"/>
                  </a:lnTo>
                  <a:lnTo>
                    <a:pt x="318" y="630"/>
                  </a:lnTo>
                  <a:lnTo>
                    <a:pt x="312" y="630"/>
                  </a:lnTo>
                  <a:lnTo>
                    <a:pt x="312" y="635"/>
                  </a:lnTo>
                  <a:lnTo>
                    <a:pt x="307" y="635"/>
                  </a:lnTo>
                  <a:lnTo>
                    <a:pt x="301" y="641"/>
                  </a:lnTo>
                  <a:lnTo>
                    <a:pt x="295" y="641"/>
                  </a:lnTo>
                  <a:lnTo>
                    <a:pt x="295" y="652"/>
                  </a:lnTo>
                  <a:lnTo>
                    <a:pt x="290" y="652"/>
                  </a:lnTo>
                  <a:lnTo>
                    <a:pt x="290" y="658"/>
                  </a:lnTo>
                  <a:lnTo>
                    <a:pt x="284" y="658"/>
                  </a:lnTo>
                  <a:lnTo>
                    <a:pt x="284" y="664"/>
                  </a:lnTo>
                  <a:lnTo>
                    <a:pt x="278" y="664"/>
                  </a:lnTo>
                  <a:lnTo>
                    <a:pt x="278" y="669"/>
                  </a:lnTo>
                  <a:lnTo>
                    <a:pt x="284" y="669"/>
                  </a:lnTo>
                  <a:lnTo>
                    <a:pt x="284" y="675"/>
                  </a:lnTo>
                  <a:lnTo>
                    <a:pt x="284" y="681"/>
                  </a:lnTo>
                  <a:lnTo>
                    <a:pt x="290" y="681"/>
                  </a:lnTo>
                  <a:lnTo>
                    <a:pt x="290" y="686"/>
                  </a:lnTo>
                  <a:lnTo>
                    <a:pt x="295" y="686"/>
                  </a:lnTo>
                  <a:lnTo>
                    <a:pt x="295" y="692"/>
                  </a:lnTo>
                  <a:lnTo>
                    <a:pt x="295" y="698"/>
                  </a:lnTo>
                  <a:lnTo>
                    <a:pt x="307" y="698"/>
                  </a:lnTo>
                  <a:lnTo>
                    <a:pt x="307" y="703"/>
                  </a:lnTo>
                  <a:lnTo>
                    <a:pt x="307" y="709"/>
                  </a:lnTo>
                  <a:lnTo>
                    <a:pt x="312" y="715"/>
                  </a:lnTo>
                  <a:lnTo>
                    <a:pt x="318" y="715"/>
                  </a:lnTo>
                  <a:lnTo>
                    <a:pt x="324" y="715"/>
                  </a:lnTo>
                  <a:lnTo>
                    <a:pt x="329" y="715"/>
                  </a:lnTo>
                  <a:lnTo>
                    <a:pt x="335" y="715"/>
                  </a:lnTo>
                  <a:lnTo>
                    <a:pt x="341" y="715"/>
                  </a:lnTo>
                  <a:lnTo>
                    <a:pt x="341" y="720"/>
                  </a:lnTo>
                  <a:lnTo>
                    <a:pt x="329" y="726"/>
                  </a:lnTo>
                  <a:lnTo>
                    <a:pt x="324" y="726"/>
                  </a:lnTo>
                  <a:lnTo>
                    <a:pt x="318" y="732"/>
                  </a:lnTo>
                  <a:lnTo>
                    <a:pt x="312" y="732"/>
                  </a:lnTo>
                  <a:lnTo>
                    <a:pt x="312" y="737"/>
                  </a:lnTo>
                  <a:lnTo>
                    <a:pt x="307" y="737"/>
                  </a:lnTo>
                  <a:lnTo>
                    <a:pt x="307" y="743"/>
                  </a:lnTo>
                  <a:lnTo>
                    <a:pt x="301" y="743"/>
                  </a:lnTo>
                  <a:lnTo>
                    <a:pt x="301" y="749"/>
                  </a:lnTo>
                  <a:lnTo>
                    <a:pt x="295" y="749"/>
                  </a:lnTo>
                  <a:lnTo>
                    <a:pt x="284" y="754"/>
                  </a:lnTo>
                  <a:lnTo>
                    <a:pt x="284" y="760"/>
                  </a:lnTo>
                  <a:lnTo>
                    <a:pt x="278" y="766"/>
                  </a:lnTo>
                  <a:lnTo>
                    <a:pt x="273" y="766"/>
                  </a:lnTo>
                  <a:lnTo>
                    <a:pt x="267" y="766"/>
                  </a:lnTo>
                  <a:lnTo>
                    <a:pt x="261" y="766"/>
                  </a:lnTo>
                  <a:lnTo>
                    <a:pt x="256" y="766"/>
                  </a:lnTo>
                  <a:lnTo>
                    <a:pt x="256" y="760"/>
                  </a:lnTo>
                  <a:lnTo>
                    <a:pt x="256" y="749"/>
                  </a:lnTo>
                  <a:lnTo>
                    <a:pt x="256" y="743"/>
                  </a:lnTo>
                  <a:lnTo>
                    <a:pt x="256" y="737"/>
                  </a:lnTo>
                  <a:lnTo>
                    <a:pt x="250" y="726"/>
                  </a:lnTo>
                  <a:lnTo>
                    <a:pt x="244" y="726"/>
                  </a:lnTo>
                  <a:lnTo>
                    <a:pt x="239" y="720"/>
                  </a:lnTo>
                  <a:lnTo>
                    <a:pt x="233" y="720"/>
                  </a:lnTo>
                  <a:lnTo>
                    <a:pt x="227" y="715"/>
                  </a:lnTo>
                  <a:lnTo>
                    <a:pt x="227" y="709"/>
                  </a:lnTo>
                  <a:lnTo>
                    <a:pt x="222" y="709"/>
                  </a:lnTo>
                  <a:lnTo>
                    <a:pt x="216" y="703"/>
                  </a:lnTo>
                  <a:lnTo>
                    <a:pt x="210" y="703"/>
                  </a:lnTo>
                  <a:lnTo>
                    <a:pt x="199" y="703"/>
                  </a:lnTo>
                  <a:lnTo>
                    <a:pt x="193" y="703"/>
                  </a:lnTo>
                  <a:lnTo>
                    <a:pt x="188" y="709"/>
                  </a:lnTo>
                  <a:lnTo>
                    <a:pt x="182" y="709"/>
                  </a:lnTo>
                  <a:lnTo>
                    <a:pt x="176" y="709"/>
                  </a:lnTo>
                  <a:lnTo>
                    <a:pt x="176" y="715"/>
                  </a:lnTo>
                  <a:lnTo>
                    <a:pt x="170" y="720"/>
                  </a:lnTo>
                  <a:lnTo>
                    <a:pt x="170" y="737"/>
                  </a:lnTo>
                  <a:lnTo>
                    <a:pt x="165" y="737"/>
                  </a:lnTo>
                  <a:lnTo>
                    <a:pt x="165" y="743"/>
                  </a:lnTo>
                  <a:lnTo>
                    <a:pt x="159" y="743"/>
                  </a:lnTo>
                  <a:lnTo>
                    <a:pt x="153" y="743"/>
                  </a:lnTo>
                  <a:lnTo>
                    <a:pt x="148" y="743"/>
                  </a:lnTo>
                  <a:lnTo>
                    <a:pt x="142" y="737"/>
                  </a:lnTo>
                  <a:lnTo>
                    <a:pt x="136" y="737"/>
                  </a:lnTo>
                  <a:lnTo>
                    <a:pt x="125" y="737"/>
                  </a:lnTo>
                  <a:lnTo>
                    <a:pt x="114" y="743"/>
                  </a:lnTo>
                  <a:lnTo>
                    <a:pt x="114" y="749"/>
                  </a:lnTo>
                  <a:lnTo>
                    <a:pt x="114" y="754"/>
                  </a:lnTo>
                  <a:lnTo>
                    <a:pt x="114" y="766"/>
                  </a:lnTo>
                  <a:lnTo>
                    <a:pt x="114" y="771"/>
                  </a:lnTo>
                  <a:lnTo>
                    <a:pt x="114" y="777"/>
                  </a:lnTo>
                  <a:lnTo>
                    <a:pt x="114" y="783"/>
                  </a:lnTo>
                  <a:lnTo>
                    <a:pt x="114" y="788"/>
                  </a:lnTo>
                  <a:lnTo>
                    <a:pt x="108" y="788"/>
                  </a:lnTo>
                  <a:lnTo>
                    <a:pt x="102" y="794"/>
                  </a:lnTo>
                  <a:lnTo>
                    <a:pt x="97" y="794"/>
                  </a:lnTo>
                  <a:lnTo>
                    <a:pt x="85" y="788"/>
                  </a:lnTo>
                  <a:lnTo>
                    <a:pt x="85" y="783"/>
                  </a:lnTo>
                  <a:lnTo>
                    <a:pt x="80" y="777"/>
                  </a:lnTo>
                  <a:lnTo>
                    <a:pt x="74" y="777"/>
                  </a:lnTo>
                  <a:lnTo>
                    <a:pt x="74" y="771"/>
                  </a:lnTo>
                  <a:lnTo>
                    <a:pt x="68" y="771"/>
                  </a:lnTo>
                  <a:lnTo>
                    <a:pt x="68" y="766"/>
                  </a:lnTo>
                  <a:lnTo>
                    <a:pt x="63" y="766"/>
                  </a:lnTo>
                  <a:lnTo>
                    <a:pt x="57" y="766"/>
                  </a:lnTo>
                  <a:lnTo>
                    <a:pt x="51" y="760"/>
                  </a:lnTo>
                  <a:lnTo>
                    <a:pt x="46" y="760"/>
                  </a:lnTo>
                  <a:lnTo>
                    <a:pt x="46" y="754"/>
                  </a:lnTo>
                  <a:lnTo>
                    <a:pt x="40" y="754"/>
                  </a:lnTo>
                  <a:lnTo>
                    <a:pt x="40" y="749"/>
                  </a:lnTo>
                  <a:lnTo>
                    <a:pt x="40" y="743"/>
                  </a:lnTo>
                  <a:lnTo>
                    <a:pt x="40" y="737"/>
                  </a:lnTo>
                  <a:lnTo>
                    <a:pt x="46" y="737"/>
                  </a:lnTo>
                  <a:lnTo>
                    <a:pt x="46" y="726"/>
                  </a:lnTo>
                  <a:lnTo>
                    <a:pt x="46" y="720"/>
                  </a:lnTo>
                  <a:lnTo>
                    <a:pt x="46" y="715"/>
                  </a:lnTo>
                  <a:lnTo>
                    <a:pt x="40" y="715"/>
                  </a:lnTo>
                  <a:lnTo>
                    <a:pt x="34" y="709"/>
                  </a:lnTo>
                  <a:lnTo>
                    <a:pt x="23" y="709"/>
                  </a:lnTo>
                  <a:lnTo>
                    <a:pt x="17" y="709"/>
                  </a:lnTo>
                  <a:lnTo>
                    <a:pt x="12" y="709"/>
                  </a:lnTo>
                  <a:lnTo>
                    <a:pt x="6" y="703"/>
                  </a:lnTo>
                  <a:close/>
                </a:path>
              </a:pathLst>
            </a:custGeom>
            <a:solidFill>
              <a:srgbClr val="006600"/>
            </a:solidFill>
            <a:ln w="25400">
              <a:solidFill>
                <a:schemeClr val="bg1">
                  <a:lumMod val="65000"/>
                </a:schemeClr>
              </a:solidFill>
              <a:round/>
              <a:headEnd/>
              <a:tailEnd/>
            </a:ln>
          </p:spPr>
          <p:txBody>
            <a:bodyPr lIns="93296" tIns="46648" rIns="93296" bIns="46648"/>
            <a:lstStyle/>
            <a:p>
              <a:pPr>
                <a:defRPr/>
              </a:pPr>
              <a:endParaRPr lang="en-US" sz="1000" kern="0">
                <a:solidFill>
                  <a:prstClr val="black">
                    <a:lumMod val="65000"/>
                    <a:lumOff val="35000"/>
                  </a:prstClr>
                </a:solidFill>
              </a:endParaRPr>
            </a:p>
          </p:txBody>
        </p:sp>
        <p:sp>
          <p:nvSpPr>
            <p:cNvPr id="10" name="Freeform 9"/>
            <p:cNvSpPr>
              <a:spLocks/>
            </p:cNvSpPr>
            <p:nvPr/>
          </p:nvSpPr>
          <p:spPr bwMode="gray">
            <a:xfrm>
              <a:off x="596723" y="954181"/>
              <a:ext cx="1272437" cy="1483301"/>
            </a:xfrm>
            <a:custGeom>
              <a:avLst/>
              <a:gdLst>
                <a:gd name="T0" fmla="*/ 2147483647 w 907"/>
                <a:gd name="T1" fmla="*/ 2147483647 h 1111"/>
                <a:gd name="T2" fmla="*/ 2147483647 w 907"/>
                <a:gd name="T3" fmla="*/ 2147483647 h 1111"/>
                <a:gd name="T4" fmla="*/ 2147483647 w 907"/>
                <a:gd name="T5" fmla="*/ 2147483647 h 1111"/>
                <a:gd name="T6" fmla="*/ 2147483647 w 907"/>
                <a:gd name="T7" fmla="*/ 2147483647 h 1111"/>
                <a:gd name="T8" fmla="*/ 2147483647 w 907"/>
                <a:gd name="T9" fmla="*/ 2147483647 h 1111"/>
                <a:gd name="T10" fmla="*/ 2147483647 w 907"/>
                <a:gd name="T11" fmla="*/ 2147483647 h 1111"/>
                <a:gd name="T12" fmla="*/ 2147483647 w 907"/>
                <a:gd name="T13" fmla="*/ 2147483647 h 1111"/>
                <a:gd name="T14" fmla="*/ 2147483647 w 907"/>
                <a:gd name="T15" fmla="*/ 2147483647 h 1111"/>
                <a:gd name="T16" fmla="*/ 2147483647 w 907"/>
                <a:gd name="T17" fmla="*/ 2147483647 h 1111"/>
                <a:gd name="T18" fmla="*/ 2147483647 w 907"/>
                <a:gd name="T19" fmla="*/ 2147483647 h 1111"/>
                <a:gd name="T20" fmla="*/ 2147483647 w 907"/>
                <a:gd name="T21" fmla="*/ 2147483647 h 1111"/>
                <a:gd name="T22" fmla="*/ 2147483647 w 907"/>
                <a:gd name="T23" fmla="*/ 2147483647 h 1111"/>
                <a:gd name="T24" fmla="*/ 2147483647 w 907"/>
                <a:gd name="T25" fmla="*/ 2147483647 h 1111"/>
                <a:gd name="T26" fmla="*/ 2147483647 w 907"/>
                <a:gd name="T27" fmla="*/ 2147483647 h 1111"/>
                <a:gd name="T28" fmla="*/ 2147483647 w 907"/>
                <a:gd name="T29" fmla="*/ 2147483647 h 1111"/>
                <a:gd name="T30" fmla="*/ 2147483647 w 907"/>
                <a:gd name="T31" fmla="*/ 2147483647 h 1111"/>
                <a:gd name="T32" fmla="*/ 2147483647 w 907"/>
                <a:gd name="T33" fmla="*/ 2147483647 h 1111"/>
                <a:gd name="T34" fmla="*/ 2147483647 w 907"/>
                <a:gd name="T35" fmla="*/ 2147483647 h 1111"/>
                <a:gd name="T36" fmla="*/ 2147483647 w 907"/>
                <a:gd name="T37" fmla="*/ 2147483647 h 1111"/>
                <a:gd name="T38" fmla="*/ 2147483647 w 907"/>
                <a:gd name="T39" fmla="*/ 2147483647 h 1111"/>
                <a:gd name="T40" fmla="*/ 2147483647 w 907"/>
                <a:gd name="T41" fmla="*/ 2147483647 h 1111"/>
                <a:gd name="T42" fmla="*/ 2147483647 w 907"/>
                <a:gd name="T43" fmla="*/ 2147483647 h 1111"/>
                <a:gd name="T44" fmla="*/ 2147483647 w 907"/>
                <a:gd name="T45" fmla="*/ 2147483647 h 1111"/>
                <a:gd name="T46" fmla="*/ 2147483647 w 907"/>
                <a:gd name="T47" fmla="*/ 2147483647 h 1111"/>
                <a:gd name="T48" fmla="*/ 2147483647 w 907"/>
                <a:gd name="T49" fmla="*/ 2147483647 h 1111"/>
                <a:gd name="T50" fmla="*/ 2147483647 w 907"/>
                <a:gd name="T51" fmla="*/ 2147483647 h 1111"/>
                <a:gd name="T52" fmla="*/ 2147483647 w 907"/>
                <a:gd name="T53" fmla="*/ 2147483647 h 1111"/>
                <a:gd name="T54" fmla="*/ 2147483647 w 907"/>
                <a:gd name="T55" fmla="*/ 2147483647 h 1111"/>
                <a:gd name="T56" fmla="*/ 2147483647 w 907"/>
                <a:gd name="T57" fmla="*/ 2147483647 h 1111"/>
                <a:gd name="T58" fmla="*/ 2147483647 w 907"/>
                <a:gd name="T59" fmla="*/ 2147483647 h 1111"/>
                <a:gd name="T60" fmla="*/ 2147483647 w 907"/>
                <a:gd name="T61" fmla="*/ 2147483647 h 1111"/>
                <a:gd name="T62" fmla="*/ 2147483647 w 907"/>
                <a:gd name="T63" fmla="*/ 2147483647 h 1111"/>
                <a:gd name="T64" fmla="*/ 2147483647 w 907"/>
                <a:gd name="T65" fmla="*/ 2147483647 h 1111"/>
                <a:gd name="T66" fmla="*/ 2147483647 w 907"/>
                <a:gd name="T67" fmla="*/ 2147483647 h 1111"/>
                <a:gd name="T68" fmla="*/ 2147483647 w 907"/>
                <a:gd name="T69" fmla="*/ 2147483647 h 1111"/>
                <a:gd name="T70" fmla="*/ 2147483647 w 907"/>
                <a:gd name="T71" fmla="*/ 2147483647 h 1111"/>
                <a:gd name="T72" fmla="*/ 2147483647 w 907"/>
                <a:gd name="T73" fmla="*/ 2147483647 h 1111"/>
                <a:gd name="T74" fmla="*/ 2147483647 w 907"/>
                <a:gd name="T75" fmla="*/ 2147483647 h 1111"/>
                <a:gd name="T76" fmla="*/ 2147483647 w 907"/>
                <a:gd name="T77" fmla="*/ 2147483647 h 1111"/>
                <a:gd name="T78" fmla="*/ 2147483647 w 907"/>
                <a:gd name="T79" fmla="*/ 2147483647 h 1111"/>
                <a:gd name="T80" fmla="*/ 2147483647 w 907"/>
                <a:gd name="T81" fmla="*/ 2147483647 h 1111"/>
                <a:gd name="T82" fmla="*/ 2147483647 w 907"/>
                <a:gd name="T83" fmla="*/ 2147483647 h 1111"/>
                <a:gd name="T84" fmla="*/ 2147483647 w 907"/>
                <a:gd name="T85" fmla="*/ 2147483647 h 1111"/>
                <a:gd name="T86" fmla="*/ 2147483647 w 907"/>
                <a:gd name="T87" fmla="*/ 2147483647 h 1111"/>
                <a:gd name="T88" fmla="*/ 2147483647 w 907"/>
                <a:gd name="T89" fmla="*/ 2147483647 h 1111"/>
                <a:gd name="T90" fmla="*/ 2147483647 w 907"/>
                <a:gd name="T91" fmla="*/ 2147483647 h 1111"/>
                <a:gd name="T92" fmla="*/ 2147483647 w 907"/>
                <a:gd name="T93" fmla="*/ 2147483647 h 1111"/>
                <a:gd name="T94" fmla="*/ 2147483647 w 907"/>
                <a:gd name="T95" fmla="*/ 2147483647 h 1111"/>
                <a:gd name="T96" fmla="*/ 2147483647 w 907"/>
                <a:gd name="T97" fmla="*/ 2147483647 h 1111"/>
                <a:gd name="T98" fmla="*/ 2147483647 w 907"/>
                <a:gd name="T99" fmla="*/ 2147483647 h 1111"/>
                <a:gd name="T100" fmla="*/ 2147483647 w 907"/>
                <a:gd name="T101" fmla="*/ 2147483647 h 1111"/>
                <a:gd name="T102" fmla="*/ 2147483647 w 907"/>
                <a:gd name="T103" fmla="*/ 2147483647 h 1111"/>
                <a:gd name="T104" fmla="*/ 2147483647 w 907"/>
                <a:gd name="T105" fmla="*/ 2147483647 h 1111"/>
                <a:gd name="T106" fmla="*/ 2147483647 w 907"/>
                <a:gd name="T107" fmla="*/ 2147483647 h 1111"/>
                <a:gd name="T108" fmla="*/ 2147483647 w 907"/>
                <a:gd name="T109" fmla="*/ 2147483647 h 1111"/>
                <a:gd name="T110" fmla="*/ 2147483647 w 907"/>
                <a:gd name="T111" fmla="*/ 2147483647 h 1111"/>
                <a:gd name="T112" fmla="*/ 2147483647 w 907"/>
                <a:gd name="T113" fmla="*/ 2147483647 h 1111"/>
                <a:gd name="T114" fmla="*/ 2147483647 w 907"/>
                <a:gd name="T115" fmla="*/ 2147483647 h 1111"/>
                <a:gd name="T116" fmla="*/ 2147483647 w 907"/>
                <a:gd name="T117" fmla="*/ 2147483647 h 111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907"/>
                <a:gd name="T178" fmla="*/ 0 h 1111"/>
                <a:gd name="T179" fmla="*/ 907 w 907"/>
                <a:gd name="T180" fmla="*/ 1111 h 111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907" h="1111">
                  <a:moveTo>
                    <a:pt x="79" y="771"/>
                  </a:moveTo>
                  <a:lnTo>
                    <a:pt x="79" y="765"/>
                  </a:lnTo>
                  <a:lnTo>
                    <a:pt x="85" y="759"/>
                  </a:lnTo>
                  <a:lnTo>
                    <a:pt x="79" y="759"/>
                  </a:lnTo>
                  <a:lnTo>
                    <a:pt x="73" y="759"/>
                  </a:lnTo>
                  <a:lnTo>
                    <a:pt x="68" y="759"/>
                  </a:lnTo>
                  <a:lnTo>
                    <a:pt x="62" y="748"/>
                  </a:lnTo>
                  <a:lnTo>
                    <a:pt x="45" y="737"/>
                  </a:lnTo>
                  <a:lnTo>
                    <a:pt x="28" y="725"/>
                  </a:lnTo>
                  <a:lnTo>
                    <a:pt x="28" y="720"/>
                  </a:lnTo>
                  <a:lnTo>
                    <a:pt x="22" y="714"/>
                  </a:lnTo>
                  <a:lnTo>
                    <a:pt x="17" y="714"/>
                  </a:lnTo>
                  <a:lnTo>
                    <a:pt x="0" y="697"/>
                  </a:lnTo>
                  <a:lnTo>
                    <a:pt x="0" y="686"/>
                  </a:lnTo>
                  <a:lnTo>
                    <a:pt x="5" y="669"/>
                  </a:lnTo>
                  <a:lnTo>
                    <a:pt x="11" y="657"/>
                  </a:lnTo>
                  <a:lnTo>
                    <a:pt x="17" y="635"/>
                  </a:lnTo>
                  <a:lnTo>
                    <a:pt x="17" y="606"/>
                  </a:lnTo>
                  <a:lnTo>
                    <a:pt x="22" y="589"/>
                  </a:lnTo>
                  <a:lnTo>
                    <a:pt x="28" y="584"/>
                  </a:lnTo>
                  <a:lnTo>
                    <a:pt x="28" y="572"/>
                  </a:lnTo>
                  <a:lnTo>
                    <a:pt x="34" y="567"/>
                  </a:lnTo>
                  <a:lnTo>
                    <a:pt x="34" y="561"/>
                  </a:lnTo>
                  <a:lnTo>
                    <a:pt x="39" y="555"/>
                  </a:lnTo>
                  <a:lnTo>
                    <a:pt x="51" y="550"/>
                  </a:lnTo>
                  <a:lnTo>
                    <a:pt x="56" y="538"/>
                  </a:lnTo>
                  <a:lnTo>
                    <a:pt x="62" y="538"/>
                  </a:lnTo>
                  <a:lnTo>
                    <a:pt x="68" y="533"/>
                  </a:lnTo>
                  <a:lnTo>
                    <a:pt x="62" y="521"/>
                  </a:lnTo>
                  <a:lnTo>
                    <a:pt x="62" y="516"/>
                  </a:lnTo>
                  <a:lnTo>
                    <a:pt x="56" y="510"/>
                  </a:lnTo>
                  <a:lnTo>
                    <a:pt x="51" y="504"/>
                  </a:lnTo>
                  <a:lnTo>
                    <a:pt x="45" y="504"/>
                  </a:lnTo>
                  <a:lnTo>
                    <a:pt x="45" y="499"/>
                  </a:lnTo>
                  <a:lnTo>
                    <a:pt x="45" y="493"/>
                  </a:lnTo>
                  <a:lnTo>
                    <a:pt x="45" y="482"/>
                  </a:lnTo>
                  <a:lnTo>
                    <a:pt x="45" y="476"/>
                  </a:lnTo>
                  <a:lnTo>
                    <a:pt x="45" y="470"/>
                  </a:lnTo>
                  <a:lnTo>
                    <a:pt x="56" y="465"/>
                  </a:lnTo>
                  <a:lnTo>
                    <a:pt x="62" y="459"/>
                  </a:lnTo>
                  <a:lnTo>
                    <a:pt x="62" y="453"/>
                  </a:lnTo>
                  <a:lnTo>
                    <a:pt x="62" y="448"/>
                  </a:lnTo>
                  <a:lnTo>
                    <a:pt x="56" y="436"/>
                  </a:lnTo>
                  <a:lnTo>
                    <a:pt x="56" y="425"/>
                  </a:lnTo>
                  <a:lnTo>
                    <a:pt x="51" y="419"/>
                  </a:lnTo>
                  <a:lnTo>
                    <a:pt x="51" y="408"/>
                  </a:lnTo>
                  <a:lnTo>
                    <a:pt x="51" y="397"/>
                  </a:lnTo>
                  <a:lnTo>
                    <a:pt x="51" y="391"/>
                  </a:lnTo>
                  <a:lnTo>
                    <a:pt x="51" y="380"/>
                  </a:lnTo>
                  <a:lnTo>
                    <a:pt x="51" y="374"/>
                  </a:lnTo>
                  <a:lnTo>
                    <a:pt x="56" y="363"/>
                  </a:lnTo>
                  <a:lnTo>
                    <a:pt x="56" y="351"/>
                  </a:lnTo>
                  <a:lnTo>
                    <a:pt x="56" y="346"/>
                  </a:lnTo>
                  <a:lnTo>
                    <a:pt x="56" y="329"/>
                  </a:lnTo>
                  <a:lnTo>
                    <a:pt x="56" y="317"/>
                  </a:lnTo>
                  <a:lnTo>
                    <a:pt x="56" y="306"/>
                  </a:lnTo>
                  <a:lnTo>
                    <a:pt x="56" y="295"/>
                  </a:lnTo>
                  <a:lnTo>
                    <a:pt x="56" y="289"/>
                  </a:lnTo>
                  <a:lnTo>
                    <a:pt x="56" y="283"/>
                  </a:lnTo>
                  <a:lnTo>
                    <a:pt x="56" y="272"/>
                  </a:lnTo>
                  <a:lnTo>
                    <a:pt x="51" y="266"/>
                  </a:lnTo>
                  <a:lnTo>
                    <a:pt x="51" y="261"/>
                  </a:lnTo>
                  <a:lnTo>
                    <a:pt x="62" y="255"/>
                  </a:lnTo>
                  <a:lnTo>
                    <a:pt x="68" y="249"/>
                  </a:lnTo>
                  <a:lnTo>
                    <a:pt x="73" y="244"/>
                  </a:lnTo>
                  <a:lnTo>
                    <a:pt x="79" y="238"/>
                  </a:lnTo>
                  <a:lnTo>
                    <a:pt x="85" y="232"/>
                  </a:lnTo>
                  <a:lnTo>
                    <a:pt x="90" y="232"/>
                  </a:lnTo>
                  <a:lnTo>
                    <a:pt x="102" y="221"/>
                  </a:lnTo>
                  <a:lnTo>
                    <a:pt x="113" y="210"/>
                  </a:lnTo>
                  <a:lnTo>
                    <a:pt x="119" y="210"/>
                  </a:lnTo>
                  <a:lnTo>
                    <a:pt x="119" y="204"/>
                  </a:lnTo>
                  <a:lnTo>
                    <a:pt x="130" y="198"/>
                  </a:lnTo>
                  <a:lnTo>
                    <a:pt x="136" y="198"/>
                  </a:lnTo>
                  <a:lnTo>
                    <a:pt x="136" y="193"/>
                  </a:lnTo>
                  <a:lnTo>
                    <a:pt x="153" y="181"/>
                  </a:lnTo>
                  <a:lnTo>
                    <a:pt x="158" y="176"/>
                  </a:lnTo>
                  <a:lnTo>
                    <a:pt x="170" y="164"/>
                  </a:lnTo>
                  <a:lnTo>
                    <a:pt x="170" y="159"/>
                  </a:lnTo>
                  <a:lnTo>
                    <a:pt x="181" y="142"/>
                  </a:lnTo>
                  <a:lnTo>
                    <a:pt x="181" y="136"/>
                  </a:lnTo>
                  <a:lnTo>
                    <a:pt x="187" y="130"/>
                  </a:lnTo>
                  <a:lnTo>
                    <a:pt x="192" y="125"/>
                  </a:lnTo>
                  <a:lnTo>
                    <a:pt x="198" y="119"/>
                  </a:lnTo>
                  <a:lnTo>
                    <a:pt x="198" y="113"/>
                  </a:lnTo>
                  <a:lnTo>
                    <a:pt x="204" y="108"/>
                  </a:lnTo>
                  <a:lnTo>
                    <a:pt x="215" y="90"/>
                  </a:lnTo>
                  <a:lnTo>
                    <a:pt x="215" y="85"/>
                  </a:lnTo>
                  <a:lnTo>
                    <a:pt x="221" y="68"/>
                  </a:lnTo>
                  <a:lnTo>
                    <a:pt x="221" y="62"/>
                  </a:lnTo>
                  <a:lnTo>
                    <a:pt x="226" y="51"/>
                  </a:lnTo>
                  <a:lnTo>
                    <a:pt x="226" y="39"/>
                  </a:lnTo>
                  <a:lnTo>
                    <a:pt x="226" y="22"/>
                  </a:lnTo>
                  <a:lnTo>
                    <a:pt x="226" y="17"/>
                  </a:lnTo>
                  <a:lnTo>
                    <a:pt x="226" y="5"/>
                  </a:lnTo>
                  <a:lnTo>
                    <a:pt x="249" y="5"/>
                  </a:lnTo>
                  <a:lnTo>
                    <a:pt x="255" y="5"/>
                  </a:lnTo>
                  <a:lnTo>
                    <a:pt x="260" y="5"/>
                  </a:lnTo>
                  <a:lnTo>
                    <a:pt x="272" y="5"/>
                  </a:lnTo>
                  <a:lnTo>
                    <a:pt x="277" y="5"/>
                  </a:lnTo>
                  <a:lnTo>
                    <a:pt x="283" y="5"/>
                  </a:lnTo>
                  <a:lnTo>
                    <a:pt x="283" y="0"/>
                  </a:lnTo>
                  <a:lnTo>
                    <a:pt x="289" y="0"/>
                  </a:lnTo>
                  <a:lnTo>
                    <a:pt x="294" y="0"/>
                  </a:lnTo>
                  <a:lnTo>
                    <a:pt x="300" y="0"/>
                  </a:lnTo>
                  <a:lnTo>
                    <a:pt x="300" y="5"/>
                  </a:lnTo>
                  <a:lnTo>
                    <a:pt x="300" y="11"/>
                  </a:lnTo>
                  <a:lnTo>
                    <a:pt x="306" y="11"/>
                  </a:lnTo>
                  <a:lnTo>
                    <a:pt x="306" y="17"/>
                  </a:lnTo>
                  <a:lnTo>
                    <a:pt x="311" y="17"/>
                  </a:lnTo>
                  <a:lnTo>
                    <a:pt x="317" y="17"/>
                  </a:lnTo>
                  <a:lnTo>
                    <a:pt x="317" y="22"/>
                  </a:lnTo>
                  <a:lnTo>
                    <a:pt x="323" y="22"/>
                  </a:lnTo>
                  <a:lnTo>
                    <a:pt x="328" y="22"/>
                  </a:lnTo>
                  <a:lnTo>
                    <a:pt x="328" y="28"/>
                  </a:lnTo>
                  <a:lnTo>
                    <a:pt x="334" y="28"/>
                  </a:lnTo>
                  <a:lnTo>
                    <a:pt x="334" y="34"/>
                  </a:lnTo>
                  <a:lnTo>
                    <a:pt x="334" y="39"/>
                  </a:lnTo>
                  <a:lnTo>
                    <a:pt x="340" y="39"/>
                  </a:lnTo>
                  <a:lnTo>
                    <a:pt x="345" y="39"/>
                  </a:lnTo>
                  <a:lnTo>
                    <a:pt x="351" y="45"/>
                  </a:lnTo>
                  <a:lnTo>
                    <a:pt x="362" y="45"/>
                  </a:lnTo>
                  <a:lnTo>
                    <a:pt x="368" y="51"/>
                  </a:lnTo>
                  <a:lnTo>
                    <a:pt x="374" y="51"/>
                  </a:lnTo>
                  <a:lnTo>
                    <a:pt x="379" y="51"/>
                  </a:lnTo>
                  <a:lnTo>
                    <a:pt x="385" y="51"/>
                  </a:lnTo>
                  <a:lnTo>
                    <a:pt x="391" y="56"/>
                  </a:lnTo>
                  <a:lnTo>
                    <a:pt x="396" y="56"/>
                  </a:lnTo>
                  <a:lnTo>
                    <a:pt x="402" y="62"/>
                  </a:lnTo>
                  <a:lnTo>
                    <a:pt x="402" y="68"/>
                  </a:lnTo>
                  <a:lnTo>
                    <a:pt x="408" y="68"/>
                  </a:lnTo>
                  <a:lnTo>
                    <a:pt x="413" y="68"/>
                  </a:lnTo>
                  <a:lnTo>
                    <a:pt x="419" y="68"/>
                  </a:lnTo>
                  <a:lnTo>
                    <a:pt x="425" y="62"/>
                  </a:lnTo>
                  <a:lnTo>
                    <a:pt x="430" y="62"/>
                  </a:lnTo>
                  <a:lnTo>
                    <a:pt x="430" y="56"/>
                  </a:lnTo>
                  <a:lnTo>
                    <a:pt x="430" y="51"/>
                  </a:lnTo>
                  <a:lnTo>
                    <a:pt x="436" y="51"/>
                  </a:lnTo>
                  <a:lnTo>
                    <a:pt x="442" y="45"/>
                  </a:lnTo>
                  <a:lnTo>
                    <a:pt x="447" y="39"/>
                  </a:lnTo>
                  <a:lnTo>
                    <a:pt x="453" y="39"/>
                  </a:lnTo>
                  <a:lnTo>
                    <a:pt x="459" y="39"/>
                  </a:lnTo>
                  <a:lnTo>
                    <a:pt x="459" y="45"/>
                  </a:lnTo>
                  <a:lnTo>
                    <a:pt x="459" y="51"/>
                  </a:lnTo>
                  <a:lnTo>
                    <a:pt x="459" y="56"/>
                  </a:lnTo>
                  <a:lnTo>
                    <a:pt x="459" y="62"/>
                  </a:lnTo>
                  <a:lnTo>
                    <a:pt x="447" y="68"/>
                  </a:lnTo>
                  <a:lnTo>
                    <a:pt x="447" y="73"/>
                  </a:lnTo>
                  <a:lnTo>
                    <a:pt x="447" y="79"/>
                  </a:lnTo>
                  <a:lnTo>
                    <a:pt x="447" y="85"/>
                  </a:lnTo>
                  <a:lnTo>
                    <a:pt x="447" y="90"/>
                  </a:lnTo>
                  <a:lnTo>
                    <a:pt x="447" y="96"/>
                  </a:lnTo>
                  <a:lnTo>
                    <a:pt x="442" y="102"/>
                  </a:lnTo>
                  <a:lnTo>
                    <a:pt x="442" y="108"/>
                  </a:lnTo>
                  <a:lnTo>
                    <a:pt x="436" y="108"/>
                  </a:lnTo>
                  <a:lnTo>
                    <a:pt x="436" y="113"/>
                  </a:lnTo>
                  <a:lnTo>
                    <a:pt x="436" y="119"/>
                  </a:lnTo>
                  <a:lnTo>
                    <a:pt x="436" y="125"/>
                  </a:lnTo>
                  <a:lnTo>
                    <a:pt x="442" y="125"/>
                  </a:lnTo>
                  <a:lnTo>
                    <a:pt x="447" y="130"/>
                  </a:lnTo>
                  <a:lnTo>
                    <a:pt x="447" y="136"/>
                  </a:lnTo>
                  <a:lnTo>
                    <a:pt x="459" y="147"/>
                  </a:lnTo>
                  <a:lnTo>
                    <a:pt x="459" y="159"/>
                  </a:lnTo>
                  <a:lnTo>
                    <a:pt x="459" y="170"/>
                  </a:lnTo>
                  <a:lnTo>
                    <a:pt x="459" y="181"/>
                  </a:lnTo>
                  <a:lnTo>
                    <a:pt x="459" y="193"/>
                  </a:lnTo>
                  <a:lnTo>
                    <a:pt x="453" y="198"/>
                  </a:lnTo>
                  <a:lnTo>
                    <a:pt x="447" y="204"/>
                  </a:lnTo>
                  <a:lnTo>
                    <a:pt x="447" y="210"/>
                  </a:lnTo>
                  <a:lnTo>
                    <a:pt x="447" y="221"/>
                  </a:lnTo>
                  <a:lnTo>
                    <a:pt x="459" y="232"/>
                  </a:lnTo>
                  <a:lnTo>
                    <a:pt x="459" y="249"/>
                  </a:lnTo>
                  <a:lnTo>
                    <a:pt x="459" y="261"/>
                  </a:lnTo>
                  <a:lnTo>
                    <a:pt x="459" y="278"/>
                  </a:lnTo>
                  <a:lnTo>
                    <a:pt x="459" y="289"/>
                  </a:lnTo>
                  <a:lnTo>
                    <a:pt x="459" y="300"/>
                  </a:lnTo>
                  <a:lnTo>
                    <a:pt x="453" y="306"/>
                  </a:lnTo>
                  <a:lnTo>
                    <a:pt x="447" y="306"/>
                  </a:lnTo>
                  <a:lnTo>
                    <a:pt x="447" y="300"/>
                  </a:lnTo>
                  <a:lnTo>
                    <a:pt x="436" y="295"/>
                  </a:lnTo>
                  <a:lnTo>
                    <a:pt x="430" y="289"/>
                  </a:lnTo>
                  <a:lnTo>
                    <a:pt x="419" y="295"/>
                  </a:lnTo>
                  <a:lnTo>
                    <a:pt x="408" y="300"/>
                  </a:lnTo>
                  <a:lnTo>
                    <a:pt x="402" y="300"/>
                  </a:lnTo>
                  <a:lnTo>
                    <a:pt x="391" y="306"/>
                  </a:lnTo>
                  <a:lnTo>
                    <a:pt x="385" y="317"/>
                  </a:lnTo>
                  <a:lnTo>
                    <a:pt x="379" y="317"/>
                  </a:lnTo>
                  <a:lnTo>
                    <a:pt x="379" y="329"/>
                  </a:lnTo>
                  <a:lnTo>
                    <a:pt x="379" y="346"/>
                  </a:lnTo>
                  <a:lnTo>
                    <a:pt x="379" y="357"/>
                  </a:lnTo>
                  <a:lnTo>
                    <a:pt x="379" y="374"/>
                  </a:lnTo>
                  <a:lnTo>
                    <a:pt x="379" y="391"/>
                  </a:lnTo>
                  <a:lnTo>
                    <a:pt x="379" y="408"/>
                  </a:lnTo>
                  <a:lnTo>
                    <a:pt x="379" y="419"/>
                  </a:lnTo>
                  <a:lnTo>
                    <a:pt x="379" y="442"/>
                  </a:lnTo>
                  <a:lnTo>
                    <a:pt x="379" y="459"/>
                  </a:lnTo>
                  <a:lnTo>
                    <a:pt x="374" y="482"/>
                  </a:lnTo>
                  <a:lnTo>
                    <a:pt x="368" y="493"/>
                  </a:lnTo>
                  <a:lnTo>
                    <a:pt x="362" y="516"/>
                  </a:lnTo>
                  <a:lnTo>
                    <a:pt x="362" y="538"/>
                  </a:lnTo>
                  <a:lnTo>
                    <a:pt x="357" y="550"/>
                  </a:lnTo>
                  <a:lnTo>
                    <a:pt x="351" y="561"/>
                  </a:lnTo>
                  <a:lnTo>
                    <a:pt x="351" y="567"/>
                  </a:lnTo>
                  <a:lnTo>
                    <a:pt x="345" y="572"/>
                  </a:lnTo>
                  <a:lnTo>
                    <a:pt x="351" y="589"/>
                  </a:lnTo>
                  <a:lnTo>
                    <a:pt x="351" y="595"/>
                  </a:lnTo>
                  <a:lnTo>
                    <a:pt x="362" y="601"/>
                  </a:lnTo>
                  <a:lnTo>
                    <a:pt x="368" y="606"/>
                  </a:lnTo>
                  <a:lnTo>
                    <a:pt x="374" y="606"/>
                  </a:lnTo>
                  <a:lnTo>
                    <a:pt x="379" y="606"/>
                  </a:lnTo>
                  <a:lnTo>
                    <a:pt x="385" y="606"/>
                  </a:lnTo>
                  <a:lnTo>
                    <a:pt x="385" y="601"/>
                  </a:lnTo>
                  <a:lnTo>
                    <a:pt x="391" y="601"/>
                  </a:lnTo>
                  <a:lnTo>
                    <a:pt x="391" y="595"/>
                  </a:lnTo>
                  <a:lnTo>
                    <a:pt x="391" y="589"/>
                  </a:lnTo>
                  <a:lnTo>
                    <a:pt x="396" y="584"/>
                  </a:lnTo>
                  <a:lnTo>
                    <a:pt x="402" y="578"/>
                  </a:lnTo>
                  <a:lnTo>
                    <a:pt x="408" y="572"/>
                  </a:lnTo>
                  <a:lnTo>
                    <a:pt x="419" y="572"/>
                  </a:lnTo>
                  <a:lnTo>
                    <a:pt x="425" y="567"/>
                  </a:lnTo>
                  <a:lnTo>
                    <a:pt x="430" y="567"/>
                  </a:lnTo>
                  <a:lnTo>
                    <a:pt x="436" y="567"/>
                  </a:lnTo>
                  <a:lnTo>
                    <a:pt x="447" y="567"/>
                  </a:lnTo>
                  <a:lnTo>
                    <a:pt x="447" y="561"/>
                  </a:lnTo>
                  <a:lnTo>
                    <a:pt x="453" y="561"/>
                  </a:lnTo>
                  <a:lnTo>
                    <a:pt x="453" y="555"/>
                  </a:lnTo>
                  <a:lnTo>
                    <a:pt x="459" y="555"/>
                  </a:lnTo>
                  <a:lnTo>
                    <a:pt x="464" y="555"/>
                  </a:lnTo>
                  <a:lnTo>
                    <a:pt x="464" y="550"/>
                  </a:lnTo>
                  <a:lnTo>
                    <a:pt x="470" y="550"/>
                  </a:lnTo>
                  <a:lnTo>
                    <a:pt x="476" y="544"/>
                  </a:lnTo>
                  <a:lnTo>
                    <a:pt x="481" y="544"/>
                  </a:lnTo>
                  <a:lnTo>
                    <a:pt x="487" y="544"/>
                  </a:lnTo>
                  <a:lnTo>
                    <a:pt x="493" y="550"/>
                  </a:lnTo>
                  <a:lnTo>
                    <a:pt x="504" y="550"/>
                  </a:lnTo>
                  <a:lnTo>
                    <a:pt x="504" y="544"/>
                  </a:lnTo>
                  <a:lnTo>
                    <a:pt x="510" y="544"/>
                  </a:lnTo>
                  <a:lnTo>
                    <a:pt x="510" y="550"/>
                  </a:lnTo>
                  <a:lnTo>
                    <a:pt x="510" y="555"/>
                  </a:lnTo>
                  <a:lnTo>
                    <a:pt x="516" y="555"/>
                  </a:lnTo>
                  <a:lnTo>
                    <a:pt x="521" y="555"/>
                  </a:lnTo>
                  <a:lnTo>
                    <a:pt x="527" y="555"/>
                  </a:lnTo>
                  <a:lnTo>
                    <a:pt x="533" y="555"/>
                  </a:lnTo>
                  <a:lnTo>
                    <a:pt x="533" y="550"/>
                  </a:lnTo>
                  <a:lnTo>
                    <a:pt x="550" y="550"/>
                  </a:lnTo>
                  <a:lnTo>
                    <a:pt x="555" y="550"/>
                  </a:lnTo>
                  <a:lnTo>
                    <a:pt x="555" y="555"/>
                  </a:lnTo>
                  <a:lnTo>
                    <a:pt x="561" y="555"/>
                  </a:lnTo>
                  <a:lnTo>
                    <a:pt x="561" y="561"/>
                  </a:lnTo>
                  <a:lnTo>
                    <a:pt x="561" y="567"/>
                  </a:lnTo>
                  <a:lnTo>
                    <a:pt x="567" y="567"/>
                  </a:lnTo>
                  <a:lnTo>
                    <a:pt x="572" y="567"/>
                  </a:lnTo>
                  <a:lnTo>
                    <a:pt x="572" y="561"/>
                  </a:lnTo>
                  <a:lnTo>
                    <a:pt x="578" y="567"/>
                  </a:lnTo>
                  <a:lnTo>
                    <a:pt x="589" y="561"/>
                  </a:lnTo>
                  <a:lnTo>
                    <a:pt x="595" y="555"/>
                  </a:lnTo>
                  <a:lnTo>
                    <a:pt x="601" y="555"/>
                  </a:lnTo>
                  <a:lnTo>
                    <a:pt x="606" y="555"/>
                  </a:lnTo>
                  <a:lnTo>
                    <a:pt x="606" y="550"/>
                  </a:lnTo>
                  <a:lnTo>
                    <a:pt x="606" y="544"/>
                  </a:lnTo>
                  <a:lnTo>
                    <a:pt x="606" y="538"/>
                  </a:lnTo>
                  <a:lnTo>
                    <a:pt x="612" y="538"/>
                  </a:lnTo>
                  <a:lnTo>
                    <a:pt x="618" y="538"/>
                  </a:lnTo>
                  <a:lnTo>
                    <a:pt x="623" y="538"/>
                  </a:lnTo>
                  <a:lnTo>
                    <a:pt x="623" y="544"/>
                  </a:lnTo>
                  <a:lnTo>
                    <a:pt x="629" y="544"/>
                  </a:lnTo>
                  <a:lnTo>
                    <a:pt x="635" y="544"/>
                  </a:lnTo>
                  <a:lnTo>
                    <a:pt x="640" y="544"/>
                  </a:lnTo>
                  <a:lnTo>
                    <a:pt x="646" y="544"/>
                  </a:lnTo>
                  <a:lnTo>
                    <a:pt x="646" y="538"/>
                  </a:lnTo>
                  <a:lnTo>
                    <a:pt x="652" y="538"/>
                  </a:lnTo>
                  <a:lnTo>
                    <a:pt x="657" y="538"/>
                  </a:lnTo>
                  <a:lnTo>
                    <a:pt x="663" y="538"/>
                  </a:lnTo>
                  <a:lnTo>
                    <a:pt x="663" y="544"/>
                  </a:lnTo>
                  <a:lnTo>
                    <a:pt x="669" y="550"/>
                  </a:lnTo>
                  <a:lnTo>
                    <a:pt x="674" y="555"/>
                  </a:lnTo>
                  <a:lnTo>
                    <a:pt x="674" y="561"/>
                  </a:lnTo>
                  <a:lnTo>
                    <a:pt x="674" y="567"/>
                  </a:lnTo>
                  <a:lnTo>
                    <a:pt x="680" y="567"/>
                  </a:lnTo>
                  <a:lnTo>
                    <a:pt x="680" y="572"/>
                  </a:lnTo>
                  <a:lnTo>
                    <a:pt x="680" y="567"/>
                  </a:lnTo>
                  <a:lnTo>
                    <a:pt x="686" y="567"/>
                  </a:lnTo>
                  <a:lnTo>
                    <a:pt x="691" y="567"/>
                  </a:lnTo>
                  <a:lnTo>
                    <a:pt x="703" y="567"/>
                  </a:lnTo>
                  <a:lnTo>
                    <a:pt x="703" y="572"/>
                  </a:lnTo>
                  <a:lnTo>
                    <a:pt x="708" y="572"/>
                  </a:lnTo>
                  <a:lnTo>
                    <a:pt x="714" y="578"/>
                  </a:lnTo>
                  <a:lnTo>
                    <a:pt x="714" y="584"/>
                  </a:lnTo>
                  <a:lnTo>
                    <a:pt x="720" y="584"/>
                  </a:lnTo>
                  <a:lnTo>
                    <a:pt x="720" y="589"/>
                  </a:lnTo>
                  <a:lnTo>
                    <a:pt x="725" y="589"/>
                  </a:lnTo>
                  <a:lnTo>
                    <a:pt x="731" y="584"/>
                  </a:lnTo>
                  <a:lnTo>
                    <a:pt x="737" y="584"/>
                  </a:lnTo>
                  <a:lnTo>
                    <a:pt x="742" y="584"/>
                  </a:lnTo>
                  <a:lnTo>
                    <a:pt x="748" y="578"/>
                  </a:lnTo>
                  <a:lnTo>
                    <a:pt x="754" y="578"/>
                  </a:lnTo>
                  <a:lnTo>
                    <a:pt x="754" y="584"/>
                  </a:lnTo>
                  <a:lnTo>
                    <a:pt x="759" y="584"/>
                  </a:lnTo>
                  <a:lnTo>
                    <a:pt x="759" y="578"/>
                  </a:lnTo>
                  <a:lnTo>
                    <a:pt x="765" y="578"/>
                  </a:lnTo>
                  <a:lnTo>
                    <a:pt x="765" y="584"/>
                  </a:lnTo>
                  <a:lnTo>
                    <a:pt x="771" y="584"/>
                  </a:lnTo>
                  <a:lnTo>
                    <a:pt x="776" y="584"/>
                  </a:lnTo>
                  <a:lnTo>
                    <a:pt x="782" y="578"/>
                  </a:lnTo>
                  <a:lnTo>
                    <a:pt x="788" y="584"/>
                  </a:lnTo>
                  <a:lnTo>
                    <a:pt x="793" y="584"/>
                  </a:lnTo>
                  <a:lnTo>
                    <a:pt x="793" y="578"/>
                  </a:lnTo>
                  <a:lnTo>
                    <a:pt x="799" y="572"/>
                  </a:lnTo>
                  <a:lnTo>
                    <a:pt x="805" y="572"/>
                  </a:lnTo>
                  <a:lnTo>
                    <a:pt x="810" y="572"/>
                  </a:lnTo>
                  <a:lnTo>
                    <a:pt x="816" y="572"/>
                  </a:lnTo>
                  <a:lnTo>
                    <a:pt x="822" y="572"/>
                  </a:lnTo>
                  <a:lnTo>
                    <a:pt x="827" y="572"/>
                  </a:lnTo>
                  <a:lnTo>
                    <a:pt x="833" y="578"/>
                  </a:lnTo>
                  <a:lnTo>
                    <a:pt x="833" y="584"/>
                  </a:lnTo>
                  <a:lnTo>
                    <a:pt x="839" y="584"/>
                  </a:lnTo>
                  <a:lnTo>
                    <a:pt x="844" y="584"/>
                  </a:lnTo>
                  <a:lnTo>
                    <a:pt x="844" y="589"/>
                  </a:lnTo>
                  <a:lnTo>
                    <a:pt x="850" y="595"/>
                  </a:lnTo>
                  <a:lnTo>
                    <a:pt x="856" y="601"/>
                  </a:lnTo>
                  <a:lnTo>
                    <a:pt x="861" y="623"/>
                  </a:lnTo>
                  <a:lnTo>
                    <a:pt x="861" y="629"/>
                  </a:lnTo>
                  <a:lnTo>
                    <a:pt x="856" y="635"/>
                  </a:lnTo>
                  <a:lnTo>
                    <a:pt x="856" y="640"/>
                  </a:lnTo>
                  <a:lnTo>
                    <a:pt x="850" y="652"/>
                  </a:lnTo>
                  <a:lnTo>
                    <a:pt x="850" y="657"/>
                  </a:lnTo>
                  <a:lnTo>
                    <a:pt x="844" y="657"/>
                  </a:lnTo>
                  <a:lnTo>
                    <a:pt x="844" y="663"/>
                  </a:lnTo>
                  <a:lnTo>
                    <a:pt x="850" y="663"/>
                  </a:lnTo>
                  <a:lnTo>
                    <a:pt x="856" y="669"/>
                  </a:lnTo>
                  <a:lnTo>
                    <a:pt x="861" y="669"/>
                  </a:lnTo>
                  <a:lnTo>
                    <a:pt x="867" y="669"/>
                  </a:lnTo>
                  <a:lnTo>
                    <a:pt x="873" y="669"/>
                  </a:lnTo>
                  <a:lnTo>
                    <a:pt x="878" y="674"/>
                  </a:lnTo>
                  <a:lnTo>
                    <a:pt x="878" y="680"/>
                  </a:lnTo>
                  <a:lnTo>
                    <a:pt x="884" y="680"/>
                  </a:lnTo>
                  <a:lnTo>
                    <a:pt x="890" y="680"/>
                  </a:lnTo>
                  <a:lnTo>
                    <a:pt x="890" y="686"/>
                  </a:lnTo>
                  <a:lnTo>
                    <a:pt x="890" y="691"/>
                  </a:lnTo>
                  <a:lnTo>
                    <a:pt x="890" y="697"/>
                  </a:lnTo>
                  <a:lnTo>
                    <a:pt x="895" y="697"/>
                  </a:lnTo>
                  <a:lnTo>
                    <a:pt x="895" y="703"/>
                  </a:lnTo>
                  <a:lnTo>
                    <a:pt x="901" y="708"/>
                  </a:lnTo>
                  <a:lnTo>
                    <a:pt x="901" y="720"/>
                  </a:lnTo>
                  <a:lnTo>
                    <a:pt x="901" y="725"/>
                  </a:lnTo>
                  <a:lnTo>
                    <a:pt x="901" y="737"/>
                  </a:lnTo>
                  <a:lnTo>
                    <a:pt x="901" y="742"/>
                  </a:lnTo>
                  <a:lnTo>
                    <a:pt x="901" y="748"/>
                  </a:lnTo>
                  <a:lnTo>
                    <a:pt x="901" y="754"/>
                  </a:lnTo>
                  <a:lnTo>
                    <a:pt x="901" y="759"/>
                  </a:lnTo>
                  <a:lnTo>
                    <a:pt x="901" y="765"/>
                  </a:lnTo>
                  <a:lnTo>
                    <a:pt x="907" y="771"/>
                  </a:lnTo>
                  <a:lnTo>
                    <a:pt x="901" y="771"/>
                  </a:lnTo>
                  <a:lnTo>
                    <a:pt x="895" y="771"/>
                  </a:lnTo>
                  <a:lnTo>
                    <a:pt x="895" y="776"/>
                  </a:lnTo>
                  <a:lnTo>
                    <a:pt x="890" y="776"/>
                  </a:lnTo>
                  <a:lnTo>
                    <a:pt x="884" y="782"/>
                  </a:lnTo>
                  <a:lnTo>
                    <a:pt x="878" y="788"/>
                  </a:lnTo>
                  <a:lnTo>
                    <a:pt x="873" y="788"/>
                  </a:lnTo>
                  <a:lnTo>
                    <a:pt x="873" y="793"/>
                  </a:lnTo>
                  <a:lnTo>
                    <a:pt x="867" y="793"/>
                  </a:lnTo>
                  <a:lnTo>
                    <a:pt x="861" y="793"/>
                  </a:lnTo>
                  <a:lnTo>
                    <a:pt x="861" y="799"/>
                  </a:lnTo>
                  <a:lnTo>
                    <a:pt x="856" y="799"/>
                  </a:lnTo>
                  <a:lnTo>
                    <a:pt x="850" y="805"/>
                  </a:lnTo>
                  <a:lnTo>
                    <a:pt x="844" y="805"/>
                  </a:lnTo>
                  <a:lnTo>
                    <a:pt x="827" y="810"/>
                  </a:lnTo>
                  <a:lnTo>
                    <a:pt x="810" y="816"/>
                  </a:lnTo>
                  <a:lnTo>
                    <a:pt x="805" y="816"/>
                  </a:lnTo>
                  <a:lnTo>
                    <a:pt x="793" y="816"/>
                  </a:lnTo>
                  <a:lnTo>
                    <a:pt x="788" y="816"/>
                  </a:lnTo>
                  <a:lnTo>
                    <a:pt x="771" y="816"/>
                  </a:lnTo>
                  <a:lnTo>
                    <a:pt x="754" y="816"/>
                  </a:lnTo>
                  <a:lnTo>
                    <a:pt x="742" y="816"/>
                  </a:lnTo>
                  <a:lnTo>
                    <a:pt x="731" y="816"/>
                  </a:lnTo>
                  <a:lnTo>
                    <a:pt x="720" y="810"/>
                  </a:lnTo>
                  <a:lnTo>
                    <a:pt x="714" y="810"/>
                  </a:lnTo>
                  <a:lnTo>
                    <a:pt x="714" y="805"/>
                  </a:lnTo>
                  <a:lnTo>
                    <a:pt x="708" y="805"/>
                  </a:lnTo>
                  <a:lnTo>
                    <a:pt x="703" y="805"/>
                  </a:lnTo>
                  <a:lnTo>
                    <a:pt x="697" y="799"/>
                  </a:lnTo>
                  <a:lnTo>
                    <a:pt x="691" y="799"/>
                  </a:lnTo>
                  <a:lnTo>
                    <a:pt x="691" y="793"/>
                  </a:lnTo>
                  <a:lnTo>
                    <a:pt x="680" y="788"/>
                  </a:lnTo>
                  <a:lnTo>
                    <a:pt x="680" y="776"/>
                  </a:lnTo>
                  <a:lnTo>
                    <a:pt x="674" y="771"/>
                  </a:lnTo>
                  <a:lnTo>
                    <a:pt x="674" y="759"/>
                  </a:lnTo>
                  <a:lnTo>
                    <a:pt x="674" y="748"/>
                  </a:lnTo>
                  <a:lnTo>
                    <a:pt x="669" y="737"/>
                  </a:lnTo>
                  <a:lnTo>
                    <a:pt x="669" y="731"/>
                  </a:lnTo>
                  <a:lnTo>
                    <a:pt x="663" y="725"/>
                  </a:lnTo>
                  <a:lnTo>
                    <a:pt x="663" y="720"/>
                  </a:lnTo>
                  <a:lnTo>
                    <a:pt x="663" y="714"/>
                  </a:lnTo>
                  <a:lnTo>
                    <a:pt x="663" y="708"/>
                  </a:lnTo>
                  <a:lnTo>
                    <a:pt x="657" y="697"/>
                  </a:lnTo>
                  <a:lnTo>
                    <a:pt x="652" y="697"/>
                  </a:lnTo>
                  <a:lnTo>
                    <a:pt x="652" y="691"/>
                  </a:lnTo>
                  <a:lnTo>
                    <a:pt x="646" y="686"/>
                  </a:lnTo>
                  <a:lnTo>
                    <a:pt x="640" y="686"/>
                  </a:lnTo>
                  <a:lnTo>
                    <a:pt x="635" y="680"/>
                  </a:lnTo>
                  <a:lnTo>
                    <a:pt x="629" y="680"/>
                  </a:lnTo>
                  <a:lnTo>
                    <a:pt x="618" y="680"/>
                  </a:lnTo>
                  <a:lnTo>
                    <a:pt x="612" y="680"/>
                  </a:lnTo>
                  <a:lnTo>
                    <a:pt x="606" y="680"/>
                  </a:lnTo>
                  <a:lnTo>
                    <a:pt x="601" y="680"/>
                  </a:lnTo>
                  <a:lnTo>
                    <a:pt x="589" y="680"/>
                  </a:lnTo>
                  <a:lnTo>
                    <a:pt x="567" y="680"/>
                  </a:lnTo>
                  <a:lnTo>
                    <a:pt x="561" y="680"/>
                  </a:lnTo>
                  <a:lnTo>
                    <a:pt x="550" y="686"/>
                  </a:lnTo>
                  <a:lnTo>
                    <a:pt x="538" y="686"/>
                  </a:lnTo>
                  <a:lnTo>
                    <a:pt x="533" y="691"/>
                  </a:lnTo>
                  <a:lnTo>
                    <a:pt x="504" y="691"/>
                  </a:lnTo>
                  <a:lnTo>
                    <a:pt x="493" y="691"/>
                  </a:lnTo>
                  <a:lnTo>
                    <a:pt x="493" y="697"/>
                  </a:lnTo>
                  <a:lnTo>
                    <a:pt x="487" y="697"/>
                  </a:lnTo>
                  <a:lnTo>
                    <a:pt x="481" y="697"/>
                  </a:lnTo>
                  <a:lnTo>
                    <a:pt x="476" y="697"/>
                  </a:lnTo>
                  <a:lnTo>
                    <a:pt x="476" y="703"/>
                  </a:lnTo>
                  <a:lnTo>
                    <a:pt x="470" y="703"/>
                  </a:lnTo>
                  <a:lnTo>
                    <a:pt x="470" y="708"/>
                  </a:lnTo>
                  <a:lnTo>
                    <a:pt x="464" y="708"/>
                  </a:lnTo>
                  <a:lnTo>
                    <a:pt x="459" y="708"/>
                  </a:lnTo>
                  <a:lnTo>
                    <a:pt x="453" y="714"/>
                  </a:lnTo>
                  <a:lnTo>
                    <a:pt x="447" y="714"/>
                  </a:lnTo>
                  <a:lnTo>
                    <a:pt x="447" y="720"/>
                  </a:lnTo>
                  <a:lnTo>
                    <a:pt x="447" y="725"/>
                  </a:lnTo>
                  <a:lnTo>
                    <a:pt x="447" y="731"/>
                  </a:lnTo>
                  <a:lnTo>
                    <a:pt x="453" y="731"/>
                  </a:lnTo>
                  <a:lnTo>
                    <a:pt x="453" y="737"/>
                  </a:lnTo>
                  <a:lnTo>
                    <a:pt x="464" y="737"/>
                  </a:lnTo>
                  <a:lnTo>
                    <a:pt x="464" y="742"/>
                  </a:lnTo>
                  <a:lnTo>
                    <a:pt x="470" y="748"/>
                  </a:lnTo>
                  <a:lnTo>
                    <a:pt x="476" y="748"/>
                  </a:lnTo>
                  <a:lnTo>
                    <a:pt x="481" y="754"/>
                  </a:lnTo>
                  <a:lnTo>
                    <a:pt x="487" y="759"/>
                  </a:lnTo>
                  <a:lnTo>
                    <a:pt x="493" y="759"/>
                  </a:lnTo>
                  <a:lnTo>
                    <a:pt x="499" y="759"/>
                  </a:lnTo>
                  <a:lnTo>
                    <a:pt x="504" y="765"/>
                  </a:lnTo>
                  <a:lnTo>
                    <a:pt x="510" y="771"/>
                  </a:lnTo>
                  <a:lnTo>
                    <a:pt x="510" y="776"/>
                  </a:lnTo>
                  <a:lnTo>
                    <a:pt x="516" y="776"/>
                  </a:lnTo>
                  <a:lnTo>
                    <a:pt x="521" y="776"/>
                  </a:lnTo>
                  <a:lnTo>
                    <a:pt x="533" y="776"/>
                  </a:lnTo>
                  <a:lnTo>
                    <a:pt x="544" y="776"/>
                  </a:lnTo>
                  <a:lnTo>
                    <a:pt x="550" y="776"/>
                  </a:lnTo>
                  <a:lnTo>
                    <a:pt x="550" y="782"/>
                  </a:lnTo>
                  <a:lnTo>
                    <a:pt x="555" y="782"/>
                  </a:lnTo>
                  <a:lnTo>
                    <a:pt x="555" y="788"/>
                  </a:lnTo>
                  <a:lnTo>
                    <a:pt x="561" y="788"/>
                  </a:lnTo>
                  <a:lnTo>
                    <a:pt x="561" y="793"/>
                  </a:lnTo>
                  <a:lnTo>
                    <a:pt x="561" y="805"/>
                  </a:lnTo>
                  <a:lnTo>
                    <a:pt x="567" y="816"/>
                  </a:lnTo>
                  <a:lnTo>
                    <a:pt x="567" y="822"/>
                  </a:lnTo>
                  <a:lnTo>
                    <a:pt x="567" y="827"/>
                  </a:lnTo>
                  <a:lnTo>
                    <a:pt x="561" y="833"/>
                  </a:lnTo>
                  <a:lnTo>
                    <a:pt x="561" y="844"/>
                  </a:lnTo>
                  <a:lnTo>
                    <a:pt x="555" y="844"/>
                  </a:lnTo>
                  <a:lnTo>
                    <a:pt x="550" y="844"/>
                  </a:lnTo>
                  <a:lnTo>
                    <a:pt x="550" y="850"/>
                  </a:lnTo>
                  <a:lnTo>
                    <a:pt x="555" y="850"/>
                  </a:lnTo>
                  <a:lnTo>
                    <a:pt x="555" y="856"/>
                  </a:lnTo>
                  <a:lnTo>
                    <a:pt x="561" y="856"/>
                  </a:lnTo>
                  <a:lnTo>
                    <a:pt x="567" y="856"/>
                  </a:lnTo>
                  <a:lnTo>
                    <a:pt x="567" y="861"/>
                  </a:lnTo>
                  <a:lnTo>
                    <a:pt x="572" y="861"/>
                  </a:lnTo>
                  <a:lnTo>
                    <a:pt x="578" y="861"/>
                  </a:lnTo>
                  <a:lnTo>
                    <a:pt x="584" y="867"/>
                  </a:lnTo>
                  <a:lnTo>
                    <a:pt x="584" y="873"/>
                  </a:lnTo>
                  <a:lnTo>
                    <a:pt x="584" y="878"/>
                  </a:lnTo>
                  <a:lnTo>
                    <a:pt x="578" y="878"/>
                  </a:lnTo>
                  <a:lnTo>
                    <a:pt x="578" y="884"/>
                  </a:lnTo>
                  <a:lnTo>
                    <a:pt x="567" y="890"/>
                  </a:lnTo>
                  <a:lnTo>
                    <a:pt x="555" y="890"/>
                  </a:lnTo>
                  <a:lnTo>
                    <a:pt x="550" y="890"/>
                  </a:lnTo>
                  <a:lnTo>
                    <a:pt x="544" y="895"/>
                  </a:lnTo>
                  <a:lnTo>
                    <a:pt x="538" y="895"/>
                  </a:lnTo>
                  <a:lnTo>
                    <a:pt x="538" y="901"/>
                  </a:lnTo>
                  <a:lnTo>
                    <a:pt x="533" y="901"/>
                  </a:lnTo>
                  <a:lnTo>
                    <a:pt x="521" y="901"/>
                  </a:lnTo>
                  <a:lnTo>
                    <a:pt x="510" y="907"/>
                  </a:lnTo>
                  <a:lnTo>
                    <a:pt x="499" y="907"/>
                  </a:lnTo>
                  <a:lnTo>
                    <a:pt x="493" y="901"/>
                  </a:lnTo>
                  <a:lnTo>
                    <a:pt x="487" y="901"/>
                  </a:lnTo>
                  <a:lnTo>
                    <a:pt x="481" y="901"/>
                  </a:lnTo>
                  <a:lnTo>
                    <a:pt x="476" y="895"/>
                  </a:lnTo>
                  <a:lnTo>
                    <a:pt x="470" y="895"/>
                  </a:lnTo>
                  <a:lnTo>
                    <a:pt x="470" y="901"/>
                  </a:lnTo>
                  <a:lnTo>
                    <a:pt x="470" y="912"/>
                  </a:lnTo>
                  <a:lnTo>
                    <a:pt x="470" y="924"/>
                  </a:lnTo>
                  <a:lnTo>
                    <a:pt x="476" y="935"/>
                  </a:lnTo>
                  <a:lnTo>
                    <a:pt x="481" y="941"/>
                  </a:lnTo>
                  <a:lnTo>
                    <a:pt x="481" y="946"/>
                  </a:lnTo>
                  <a:lnTo>
                    <a:pt x="481" y="958"/>
                  </a:lnTo>
                  <a:lnTo>
                    <a:pt x="481" y="969"/>
                  </a:lnTo>
                  <a:lnTo>
                    <a:pt x="481" y="980"/>
                  </a:lnTo>
                  <a:lnTo>
                    <a:pt x="481" y="986"/>
                  </a:lnTo>
                  <a:lnTo>
                    <a:pt x="481" y="992"/>
                  </a:lnTo>
                  <a:lnTo>
                    <a:pt x="481" y="997"/>
                  </a:lnTo>
                  <a:lnTo>
                    <a:pt x="487" y="997"/>
                  </a:lnTo>
                  <a:lnTo>
                    <a:pt x="493" y="997"/>
                  </a:lnTo>
                  <a:lnTo>
                    <a:pt x="493" y="1003"/>
                  </a:lnTo>
                  <a:lnTo>
                    <a:pt x="499" y="1003"/>
                  </a:lnTo>
                  <a:lnTo>
                    <a:pt x="499" y="1009"/>
                  </a:lnTo>
                  <a:lnTo>
                    <a:pt x="499" y="1020"/>
                  </a:lnTo>
                  <a:lnTo>
                    <a:pt x="504" y="1026"/>
                  </a:lnTo>
                  <a:lnTo>
                    <a:pt x="510" y="1026"/>
                  </a:lnTo>
                  <a:lnTo>
                    <a:pt x="510" y="1032"/>
                  </a:lnTo>
                  <a:lnTo>
                    <a:pt x="510" y="1037"/>
                  </a:lnTo>
                  <a:lnTo>
                    <a:pt x="510" y="1043"/>
                  </a:lnTo>
                  <a:lnTo>
                    <a:pt x="510" y="1049"/>
                  </a:lnTo>
                  <a:lnTo>
                    <a:pt x="510" y="1054"/>
                  </a:lnTo>
                  <a:lnTo>
                    <a:pt x="504" y="1060"/>
                  </a:lnTo>
                  <a:lnTo>
                    <a:pt x="499" y="1060"/>
                  </a:lnTo>
                  <a:lnTo>
                    <a:pt x="499" y="1066"/>
                  </a:lnTo>
                  <a:lnTo>
                    <a:pt x="493" y="1066"/>
                  </a:lnTo>
                  <a:lnTo>
                    <a:pt x="487" y="1066"/>
                  </a:lnTo>
                  <a:lnTo>
                    <a:pt x="481" y="1066"/>
                  </a:lnTo>
                  <a:lnTo>
                    <a:pt x="476" y="1066"/>
                  </a:lnTo>
                  <a:lnTo>
                    <a:pt x="470" y="1066"/>
                  </a:lnTo>
                  <a:lnTo>
                    <a:pt x="464" y="1066"/>
                  </a:lnTo>
                  <a:lnTo>
                    <a:pt x="459" y="1066"/>
                  </a:lnTo>
                  <a:lnTo>
                    <a:pt x="442" y="1060"/>
                  </a:lnTo>
                  <a:lnTo>
                    <a:pt x="436" y="1060"/>
                  </a:lnTo>
                  <a:lnTo>
                    <a:pt x="430" y="1060"/>
                  </a:lnTo>
                  <a:lnTo>
                    <a:pt x="430" y="1066"/>
                  </a:lnTo>
                  <a:lnTo>
                    <a:pt x="425" y="1066"/>
                  </a:lnTo>
                  <a:lnTo>
                    <a:pt x="425" y="1071"/>
                  </a:lnTo>
                  <a:lnTo>
                    <a:pt x="425" y="1077"/>
                  </a:lnTo>
                  <a:lnTo>
                    <a:pt x="425" y="1083"/>
                  </a:lnTo>
                  <a:lnTo>
                    <a:pt x="425" y="1094"/>
                  </a:lnTo>
                  <a:lnTo>
                    <a:pt x="425" y="1100"/>
                  </a:lnTo>
                  <a:lnTo>
                    <a:pt x="425" y="1105"/>
                  </a:lnTo>
                  <a:lnTo>
                    <a:pt x="419" y="1105"/>
                  </a:lnTo>
                  <a:lnTo>
                    <a:pt x="413" y="1111"/>
                  </a:lnTo>
                  <a:lnTo>
                    <a:pt x="408" y="1111"/>
                  </a:lnTo>
                  <a:lnTo>
                    <a:pt x="402" y="1111"/>
                  </a:lnTo>
                  <a:lnTo>
                    <a:pt x="396" y="1111"/>
                  </a:lnTo>
                  <a:lnTo>
                    <a:pt x="385" y="1111"/>
                  </a:lnTo>
                  <a:lnTo>
                    <a:pt x="379" y="1105"/>
                  </a:lnTo>
                  <a:lnTo>
                    <a:pt x="379" y="1100"/>
                  </a:lnTo>
                  <a:lnTo>
                    <a:pt x="379" y="1094"/>
                  </a:lnTo>
                  <a:lnTo>
                    <a:pt x="379" y="1088"/>
                  </a:lnTo>
                  <a:lnTo>
                    <a:pt x="379" y="1083"/>
                  </a:lnTo>
                  <a:lnTo>
                    <a:pt x="379" y="1077"/>
                  </a:lnTo>
                  <a:lnTo>
                    <a:pt x="379" y="1071"/>
                  </a:lnTo>
                  <a:lnTo>
                    <a:pt x="374" y="1066"/>
                  </a:lnTo>
                  <a:lnTo>
                    <a:pt x="368" y="1066"/>
                  </a:lnTo>
                  <a:lnTo>
                    <a:pt x="368" y="1060"/>
                  </a:lnTo>
                  <a:lnTo>
                    <a:pt x="362" y="1054"/>
                  </a:lnTo>
                  <a:lnTo>
                    <a:pt x="357" y="1054"/>
                  </a:lnTo>
                  <a:lnTo>
                    <a:pt x="357" y="1049"/>
                  </a:lnTo>
                  <a:lnTo>
                    <a:pt x="357" y="1043"/>
                  </a:lnTo>
                  <a:lnTo>
                    <a:pt x="357" y="1037"/>
                  </a:lnTo>
                  <a:lnTo>
                    <a:pt x="351" y="1032"/>
                  </a:lnTo>
                  <a:lnTo>
                    <a:pt x="351" y="1026"/>
                  </a:lnTo>
                  <a:lnTo>
                    <a:pt x="351" y="1020"/>
                  </a:lnTo>
                  <a:lnTo>
                    <a:pt x="351" y="1009"/>
                  </a:lnTo>
                  <a:lnTo>
                    <a:pt x="351" y="1003"/>
                  </a:lnTo>
                  <a:lnTo>
                    <a:pt x="357" y="992"/>
                  </a:lnTo>
                  <a:lnTo>
                    <a:pt x="357" y="986"/>
                  </a:lnTo>
                  <a:lnTo>
                    <a:pt x="357" y="980"/>
                  </a:lnTo>
                  <a:lnTo>
                    <a:pt x="357" y="975"/>
                  </a:lnTo>
                  <a:lnTo>
                    <a:pt x="362" y="975"/>
                  </a:lnTo>
                  <a:lnTo>
                    <a:pt x="368" y="969"/>
                  </a:lnTo>
                  <a:lnTo>
                    <a:pt x="368" y="963"/>
                  </a:lnTo>
                  <a:lnTo>
                    <a:pt x="374" y="963"/>
                  </a:lnTo>
                  <a:lnTo>
                    <a:pt x="374" y="958"/>
                  </a:lnTo>
                  <a:lnTo>
                    <a:pt x="379" y="958"/>
                  </a:lnTo>
                  <a:lnTo>
                    <a:pt x="385" y="952"/>
                  </a:lnTo>
                  <a:lnTo>
                    <a:pt x="391" y="946"/>
                  </a:lnTo>
                  <a:lnTo>
                    <a:pt x="396" y="946"/>
                  </a:lnTo>
                  <a:lnTo>
                    <a:pt x="402" y="941"/>
                  </a:lnTo>
                  <a:lnTo>
                    <a:pt x="408" y="941"/>
                  </a:lnTo>
                  <a:lnTo>
                    <a:pt x="413" y="941"/>
                  </a:lnTo>
                  <a:lnTo>
                    <a:pt x="413" y="935"/>
                  </a:lnTo>
                  <a:lnTo>
                    <a:pt x="419" y="929"/>
                  </a:lnTo>
                  <a:lnTo>
                    <a:pt x="425" y="929"/>
                  </a:lnTo>
                  <a:lnTo>
                    <a:pt x="425" y="924"/>
                  </a:lnTo>
                  <a:lnTo>
                    <a:pt x="425" y="918"/>
                  </a:lnTo>
                  <a:lnTo>
                    <a:pt x="430" y="918"/>
                  </a:lnTo>
                  <a:lnTo>
                    <a:pt x="430" y="912"/>
                  </a:lnTo>
                  <a:lnTo>
                    <a:pt x="436" y="912"/>
                  </a:lnTo>
                  <a:lnTo>
                    <a:pt x="436" y="901"/>
                  </a:lnTo>
                  <a:lnTo>
                    <a:pt x="436" y="884"/>
                  </a:lnTo>
                  <a:lnTo>
                    <a:pt x="436" y="867"/>
                  </a:lnTo>
                  <a:lnTo>
                    <a:pt x="436" y="861"/>
                  </a:lnTo>
                  <a:lnTo>
                    <a:pt x="436" y="856"/>
                  </a:lnTo>
                  <a:lnTo>
                    <a:pt x="436" y="850"/>
                  </a:lnTo>
                  <a:lnTo>
                    <a:pt x="436" y="844"/>
                  </a:lnTo>
                  <a:lnTo>
                    <a:pt x="430" y="844"/>
                  </a:lnTo>
                  <a:lnTo>
                    <a:pt x="425" y="844"/>
                  </a:lnTo>
                  <a:lnTo>
                    <a:pt x="413" y="844"/>
                  </a:lnTo>
                  <a:lnTo>
                    <a:pt x="408" y="844"/>
                  </a:lnTo>
                  <a:lnTo>
                    <a:pt x="408" y="850"/>
                  </a:lnTo>
                  <a:lnTo>
                    <a:pt x="402" y="850"/>
                  </a:lnTo>
                  <a:lnTo>
                    <a:pt x="396" y="850"/>
                  </a:lnTo>
                  <a:lnTo>
                    <a:pt x="396" y="856"/>
                  </a:lnTo>
                  <a:lnTo>
                    <a:pt x="391" y="861"/>
                  </a:lnTo>
                  <a:lnTo>
                    <a:pt x="385" y="861"/>
                  </a:lnTo>
                  <a:lnTo>
                    <a:pt x="379" y="861"/>
                  </a:lnTo>
                  <a:lnTo>
                    <a:pt x="374" y="861"/>
                  </a:lnTo>
                  <a:lnTo>
                    <a:pt x="368" y="861"/>
                  </a:lnTo>
                  <a:lnTo>
                    <a:pt x="362" y="861"/>
                  </a:lnTo>
                  <a:lnTo>
                    <a:pt x="357" y="861"/>
                  </a:lnTo>
                  <a:lnTo>
                    <a:pt x="351" y="861"/>
                  </a:lnTo>
                  <a:lnTo>
                    <a:pt x="351" y="856"/>
                  </a:lnTo>
                  <a:lnTo>
                    <a:pt x="345" y="856"/>
                  </a:lnTo>
                  <a:lnTo>
                    <a:pt x="340" y="856"/>
                  </a:lnTo>
                  <a:lnTo>
                    <a:pt x="328" y="856"/>
                  </a:lnTo>
                  <a:lnTo>
                    <a:pt x="328" y="850"/>
                  </a:lnTo>
                  <a:lnTo>
                    <a:pt x="323" y="850"/>
                  </a:lnTo>
                  <a:lnTo>
                    <a:pt x="317" y="844"/>
                  </a:lnTo>
                  <a:lnTo>
                    <a:pt x="311" y="844"/>
                  </a:lnTo>
                  <a:lnTo>
                    <a:pt x="306" y="839"/>
                  </a:lnTo>
                  <a:lnTo>
                    <a:pt x="300" y="839"/>
                  </a:lnTo>
                  <a:lnTo>
                    <a:pt x="300" y="833"/>
                  </a:lnTo>
                  <a:lnTo>
                    <a:pt x="294" y="833"/>
                  </a:lnTo>
                  <a:lnTo>
                    <a:pt x="294" y="827"/>
                  </a:lnTo>
                  <a:lnTo>
                    <a:pt x="294" y="822"/>
                  </a:lnTo>
                  <a:lnTo>
                    <a:pt x="289" y="822"/>
                  </a:lnTo>
                  <a:lnTo>
                    <a:pt x="283" y="822"/>
                  </a:lnTo>
                  <a:lnTo>
                    <a:pt x="283" y="816"/>
                  </a:lnTo>
                  <a:lnTo>
                    <a:pt x="277" y="810"/>
                  </a:lnTo>
                  <a:lnTo>
                    <a:pt x="272" y="810"/>
                  </a:lnTo>
                  <a:lnTo>
                    <a:pt x="272" y="805"/>
                  </a:lnTo>
                  <a:lnTo>
                    <a:pt x="266" y="805"/>
                  </a:lnTo>
                  <a:lnTo>
                    <a:pt x="260" y="805"/>
                  </a:lnTo>
                  <a:lnTo>
                    <a:pt x="255" y="805"/>
                  </a:lnTo>
                  <a:lnTo>
                    <a:pt x="249" y="805"/>
                  </a:lnTo>
                  <a:lnTo>
                    <a:pt x="249" y="799"/>
                  </a:lnTo>
                  <a:lnTo>
                    <a:pt x="243" y="799"/>
                  </a:lnTo>
                  <a:lnTo>
                    <a:pt x="238" y="799"/>
                  </a:lnTo>
                  <a:lnTo>
                    <a:pt x="232" y="799"/>
                  </a:lnTo>
                  <a:lnTo>
                    <a:pt x="226" y="805"/>
                  </a:lnTo>
                  <a:lnTo>
                    <a:pt x="221" y="805"/>
                  </a:lnTo>
                  <a:lnTo>
                    <a:pt x="215" y="810"/>
                  </a:lnTo>
                  <a:lnTo>
                    <a:pt x="209" y="810"/>
                  </a:lnTo>
                  <a:lnTo>
                    <a:pt x="198" y="810"/>
                  </a:lnTo>
                  <a:lnTo>
                    <a:pt x="192" y="810"/>
                  </a:lnTo>
                  <a:lnTo>
                    <a:pt x="187" y="810"/>
                  </a:lnTo>
                  <a:lnTo>
                    <a:pt x="181" y="810"/>
                  </a:lnTo>
                  <a:lnTo>
                    <a:pt x="164" y="810"/>
                  </a:lnTo>
                  <a:lnTo>
                    <a:pt x="153" y="805"/>
                  </a:lnTo>
                  <a:lnTo>
                    <a:pt x="141" y="799"/>
                  </a:lnTo>
                  <a:lnTo>
                    <a:pt x="141" y="793"/>
                  </a:lnTo>
                  <a:lnTo>
                    <a:pt x="136" y="793"/>
                  </a:lnTo>
                  <a:lnTo>
                    <a:pt x="130" y="793"/>
                  </a:lnTo>
                  <a:lnTo>
                    <a:pt x="130" y="788"/>
                  </a:lnTo>
                  <a:lnTo>
                    <a:pt x="124" y="788"/>
                  </a:lnTo>
                  <a:lnTo>
                    <a:pt x="119" y="788"/>
                  </a:lnTo>
                  <a:lnTo>
                    <a:pt x="113" y="788"/>
                  </a:lnTo>
                  <a:lnTo>
                    <a:pt x="113" y="782"/>
                  </a:lnTo>
                  <a:lnTo>
                    <a:pt x="107" y="782"/>
                  </a:lnTo>
                  <a:lnTo>
                    <a:pt x="107" y="776"/>
                  </a:lnTo>
                  <a:lnTo>
                    <a:pt x="102" y="776"/>
                  </a:lnTo>
                  <a:lnTo>
                    <a:pt x="96" y="776"/>
                  </a:lnTo>
                  <a:lnTo>
                    <a:pt x="96" y="771"/>
                  </a:lnTo>
                  <a:lnTo>
                    <a:pt x="90" y="765"/>
                  </a:lnTo>
                  <a:lnTo>
                    <a:pt x="79" y="771"/>
                  </a:lnTo>
                  <a:close/>
                </a:path>
              </a:pathLst>
            </a:custGeom>
            <a:solidFill>
              <a:srgbClr val="00CC00"/>
            </a:solidFill>
            <a:ln w="25400">
              <a:solidFill>
                <a:srgbClr val="B4B4B4"/>
              </a:solidFill>
              <a:round/>
              <a:headEnd/>
              <a:tailEnd/>
            </a:ln>
          </p:spPr>
          <p:txBody>
            <a:bodyPr lIns="93296" tIns="46648" rIns="93296" bIns="46648"/>
            <a:lstStyle/>
            <a:p>
              <a:pPr>
                <a:defRPr/>
              </a:pPr>
              <a:endParaRPr lang="en-US" sz="1000" kern="0">
                <a:solidFill>
                  <a:prstClr val="black">
                    <a:lumMod val="65000"/>
                    <a:lumOff val="35000"/>
                  </a:prstClr>
                </a:solidFill>
              </a:endParaRPr>
            </a:p>
          </p:txBody>
        </p:sp>
        <p:sp>
          <p:nvSpPr>
            <p:cNvPr id="11" name="Freeform 10"/>
            <p:cNvSpPr>
              <a:spLocks/>
            </p:cNvSpPr>
            <p:nvPr/>
          </p:nvSpPr>
          <p:spPr bwMode="gray">
            <a:xfrm>
              <a:off x="1518838" y="3108923"/>
              <a:ext cx="1241565" cy="1037800"/>
            </a:xfrm>
            <a:custGeom>
              <a:avLst/>
              <a:gdLst>
                <a:gd name="T0" fmla="*/ 2147483647 w 885"/>
                <a:gd name="T1" fmla="*/ 2147483647 h 777"/>
                <a:gd name="T2" fmla="*/ 2147483647 w 885"/>
                <a:gd name="T3" fmla="*/ 2147483647 h 777"/>
                <a:gd name="T4" fmla="*/ 2147483647 w 885"/>
                <a:gd name="T5" fmla="*/ 2147483647 h 777"/>
                <a:gd name="T6" fmla="*/ 2147483647 w 885"/>
                <a:gd name="T7" fmla="*/ 2147483647 h 777"/>
                <a:gd name="T8" fmla="*/ 2147483647 w 885"/>
                <a:gd name="T9" fmla="*/ 2147483647 h 777"/>
                <a:gd name="T10" fmla="*/ 2147483647 w 885"/>
                <a:gd name="T11" fmla="*/ 2147483647 h 777"/>
                <a:gd name="T12" fmla="*/ 2147483647 w 885"/>
                <a:gd name="T13" fmla="*/ 2147483647 h 777"/>
                <a:gd name="T14" fmla="*/ 2147483647 w 885"/>
                <a:gd name="T15" fmla="*/ 2147483647 h 777"/>
                <a:gd name="T16" fmla="*/ 2147483647 w 885"/>
                <a:gd name="T17" fmla="*/ 2147483647 h 777"/>
                <a:gd name="T18" fmla="*/ 2147483647 w 885"/>
                <a:gd name="T19" fmla="*/ 2147483647 h 777"/>
                <a:gd name="T20" fmla="*/ 2147483647 w 885"/>
                <a:gd name="T21" fmla="*/ 2147483647 h 777"/>
                <a:gd name="T22" fmla="*/ 2147483647 w 885"/>
                <a:gd name="T23" fmla="*/ 2147483647 h 777"/>
                <a:gd name="T24" fmla="*/ 2147483647 w 885"/>
                <a:gd name="T25" fmla="*/ 2147483647 h 777"/>
                <a:gd name="T26" fmla="*/ 2147483647 w 885"/>
                <a:gd name="T27" fmla="*/ 2147483647 h 777"/>
                <a:gd name="T28" fmla="*/ 2147483647 w 885"/>
                <a:gd name="T29" fmla="*/ 2147483647 h 777"/>
                <a:gd name="T30" fmla="*/ 2147483647 w 885"/>
                <a:gd name="T31" fmla="*/ 2147483647 h 777"/>
                <a:gd name="T32" fmla="*/ 2147483647 w 885"/>
                <a:gd name="T33" fmla="*/ 2147483647 h 777"/>
                <a:gd name="T34" fmla="*/ 2147483647 w 885"/>
                <a:gd name="T35" fmla="*/ 2147483647 h 777"/>
                <a:gd name="T36" fmla="*/ 2147483647 w 885"/>
                <a:gd name="T37" fmla="*/ 2147483647 h 777"/>
                <a:gd name="T38" fmla="*/ 2147483647 w 885"/>
                <a:gd name="T39" fmla="*/ 2147483647 h 777"/>
                <a:gd name="T40" fmla="*/ 2147483647 w 885"/>
                <a:gd name="T41" fmla="*/ 2147483647 h 777"/>
                <a:gd name="T42" fmla="*/ 2147483647 w 885"/>
                <a:gd name="T43" fmla="*/ 2147483647 h 777"/>
                <a:gd name="T44" fmla="*/ 2147483647 w 885"/>
                <a:gd name="T45" fmla="*/ 2147483647 h 777"/>
                <a:gd name="T46" fmla="*/ 2147483647 w 885"/>
                <a:gd name="T47" fmla="*/ 2147483647 h 777"/>
                <a:gd name="T48" fmla="*/ 2147483647 w 885"/>
                <a:gd name="T49" fmla="*/ 2147483647 h 777"/>
                <a:gd name="T50" fmla="*/ 2147483647 w 885"/>
                <a:gd name="T51" fmla="*/ 2147483647 h 777"/>
                <a:gd name="T52" fmla="*/ 2147483647 w 885"/>
                <a:gd name="T53" fmla="*/ 2147483647 h 777"/>
                <a:gd name="T54" fmla="*/ 2147483647 w 885"/>
                <a:gd name="T55" fmla="*/ 2147483647 h 777"/>
                <a:gd name="T56" fmla="*/ 2147483647 w 885"/>
                <a:gd name="T57" fmla="*/ 2147483647 h 777"/>
                <a:gd name="T58" fmla="*/ 2147483647 w 885"/>
                <a:gd name="T59" fmla="*/ 2147483647 h 777"/>
                <a:gd name="T60" fmla="*/ 2147483647 w 885"/>
                <a:gd name="T61" fmla="*/ 2147483647 h 777"/>
                <a:gd name="T62" fmla="*/ 2147483647 w 885"/>
                <a:gd name="T63" fmla="*/ 2147483647 h 777"/>
                <a:gd name="T64" fmla="*/ 2147483647 w 885"/>
                <a:gd name="T65" fmla="*/ 2147483647 h 777"/>
                <a:gd name="T66" fmla="*/ 2147483647 w 885"/>
                <a:gd name="T67" fmla="*/ 2147483647 h 777"/>
                <a:gd name="T68" fmla="*/ 2147483647 w 885"/>
                <a:gd name="T69" fmla="*/ 2147483647 h 777"/>
                <a:gd name="T70" fmla="*/ 2147483647 w 885"/>
                <a:gd name="T71" fmla="*/ 2147483647 h 777"/>
                <a:gd name="T72" fmla="*/ 2147483647 w 885"/>
                <a:gd name="T73" fmla="*/ 2147483647 h 777"/>
                <a:gd name="T74" fmla="*/ 2147483647 w 885"/>
                <a:gd name="T75" fmla="*/ 2147483647 h 777"/>
                <a:gd name="T76" fmla="*/ 2147483647 w 885"/>
                <a:gd name="T77" fmla="*/ 2147483647 h 777"/>
                <a:gd name="T78" fmla="*/ 2147483647 w 885"/>
                <a:gd name="T79" fmla="*/ 2147483647 h 777"/>
                <a:gd name="T80" fmla="*/ 2147483647 w 885"/>
                <a:gd name="T81" fmla="*/ 2147483647 h 777"/>
                <a:gd name="T82" fmla="*/ 2147483647 w 885"/>
                <a:gd name="T83" fmla="*/ 2147483647 h 777"/>
                <a:gd name="T84" fmla="*/ 2147483647 w 885"/>
                <a:gd name="T85" fmla="*/ 2147483647 h 777"/>
                <a:gd name="T86" fmla="*/ 2147483647 w 885"/>
                <a:gd name="T87" fmla="*/ 2147483647 h 777"/>
                <a:gd name="T88" fmla="*/ 2147483647 w 885"/>
                <a:gd name="T89" fmla="*/ 2147483647 h 777"/>
                <a:gd name="T90" fmla="*/ 2147483647 w 885"/>
                <a:gd name="T91" fmla="*/ 2147483647 h 777"/>
                <a:gd name="T92" fmla="*/ 2147483647 w 885"/>
                <a:gd name="T93" fmla="*/ 2147483647 h 777"/>
                <a:gd name="T94" fmla="*/ 2147483647 w 885"/>
                <a:gd name="T95" fmla="*/ 2147483647 h 777"/>
                <a:gd name="T96" fmla="*/ 2147483647 w 885"/>
                <a:gd name="T97" fmla="*/ 2147483647 h 777"/>
                <a:gd name="T98" fmla="*/ 2147483647 w 885"/>
                <a:gd name="T99" fmla="*/ 2147483647 h 777"/>
                <a:gd name="T100" fmla="*/ 2147483647 w 885"/>
                <a:gd name="T101" fmla="*/ 2147483647 h 777"/>
                <a:gd name="T102" fmla="*/ 2147483647 w 885"/>
                <a:gd name="T103" fmla="*/ 2147483647 h 777"/>
                <a:gd name="T104" fmla="*/ 2147483647 w 885"/>
                <a:gd name="T105" fmla="*/ 2147483647 h 777"/>
                <a:gd name="T106" fmla="*/ 2147483647 w 885"/>
                <a:gd name="T107" fmla="*/ 2147483647 h 777"/>
                <a:gd name="T108" fmla="*/ 2147483647 w 885"/>
                <a:gd name="T109" fmla="*/ 2147483647 h 777"/>
                <a:gd name="T110" fmla="*/ 2147483647 w 885"/>
                <a:gd name="T111" fmla="*/ 2147483647 h 777"/>
                <a:gd name="T112" fmla="*/ 2147483647 w 885"/>
                <a:gd name="T113" fmla="*/ 2147483647 h 777"/>
                <a:gd name="T114" fmla="*/ 2147483647 w 885"/>
                <a:gd name="T115" fmla="*/ 2147483647 h 777"/>
                <a:gd name="T116" fmla="*/ 2147483647 w 885"/>
                <a:gd name="T117" fmla="*/ 2147483647 h 777"/>
                <a:gd name="T118" fmla="*/ 2147483647 w 885"/>
                <a:gd name="T119" fmla="*/ 2147483647 h 777"/>
                <a:gd name="T120" fmla="*/ 2147483647 w 885"/>
                <a:gd name="T121" fmla="*/ 2147483647 h 77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85"/>
                <a:gd name="T184" fmla="*/ 0 h 777"/>
                <a:gd name="T185" fmla="*/ 885 w 885"/>
                <a:gd name="T186" fmla="*/ 777 h 77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85" h="777">
                  <a:moveTo>
                    <a:pt x="68" y="244"/>
                  </a:moveTo>
                  <a:lnTo>
                    <a:pt x="68" y="238"/>
                  </a:lnTo>
                  <a:lnTo>
                    <a:pt x="74" y="238"/>
                  </a:lnTo>
                  <a:lnTo>
                    <a:pt x="74" y="233"/>
                  </a:lnTo>
                  <a:lnTo>
                    <a:pt x="80" y="227"/>
                  </a:lnTo>
                  <a:lnTo>
                    <a:pt x="80" y="221"/>
                  </a:lnTo>
                  <a:lnTo>
                    <a:pt x="80" y="216"/>
                  </a:lnTo>
                  <a:lnTo>
                    <a:pt x="80" y="210"/>
                  </a:lnTo>
                  <a:lnTo>
                    <a:pt x="80" y="204"/>
                  </a:lnTo>
                  <a:lnTo>
                    <a:pt x="74" y="204"/>
                  </a:lnTo>
                  <a:lnTo>
                    <a:pt x="68" y="204"/>
                  </a:lnTo>
                  <a:lnTo>
                    <a:pt x="57" y="204"/>
                  </a:lnTo>
                  <a:lnTo>
                    <a:pt x="51" y="204"/>
                  </a:lnTo>
                  <a:lnTo>
                    <a:pt x="46" y="204"/>
                  </a:lnTo>
                  <a:lnTo>
                    <a:pt x="40" y="199"/>
                  </a:lnTo>
                  <a:lnTo>
                    <a:pt x="40" y="193"/>
                  </a:lnTo>
                  <a:lnTo>
                    <a:pt x="40" y="187"/>
                  </a:lnTo>
                  <a:lnTo>
                    <a:pt x="40" y="182"/>
                  </a:lnTo>
                  <a:lnTo>
                    <a:pt x="34" y="182"/>
                  </a:lnTo>
                  <a:lnTo>
                    <a:pt x="34" y="176"/>
                  </a:lnTo>
                  <a:lnTo>
                    <a:pt x="29" y="176"/>
                  </a:lnTo>
                  <a:lnTo>
                    <a:pt x="23" y="176"/>
                  </a:lnTo>
                  <a:lnTo>
                    <a:pt x="17" y="176"/>
                  </a:lnTo>
                  <a:lnTo>
                    <a:pt x="12" y="170"/>
                  </a:lnTo>
                  <a:lnTo>
                    <a:pt x="12" y="165"/>
                  </a:lnTo>
                  <a:lnTo>
                    <a:pt x="12" y="153"/>
                  </a:lnTo>
                  <a:lnTo>
                    <a:pt x="6" y="153"/>
                  </a:lnTo>
                  <a:lnTo>
                    <a:pt x="0" y="142"/>
                  </a:lnTo>
                  <a:lnTo>
                    <a:pt x="0" y="136"/>
                  </a:lnTo>
                  <a:lnTo>
                    <a:pt x="6" y="136"/>
                  </a:lnTo>
                  <a:lnTo>
                    <a:pt x="6" y="131"/>
                  </a:lnTo>
                  <a:lnTo>
                    <a:pt x="6" y="125"/>
                  </a:lnTo>
                  <a:lnTo>
                    <a:pt x="12" y="125"/>
                  </a:lnTo>
                  <a:lnTo>
                    <a:pt x="17" y="125"/>
                  </a:lnTo>
                  <a:lnTo>
                    <a:pt x="17" y="119"/>
                  </a:lnTo>
                  <a:lnTo>
                    <a:pt x="23" y="119"/>
                  </a:lnTo>
                  <a:lnTo>
                    <a:pt x="23" y="114"/>
                  </a:lnTo>
                  <a:lnTo>
                    <a:pt x="29" y="114"/>
                  </a:lnTo>
                  <a:lnTo>
                    <a:pt x="29" y="108"/>
                  </a:lnTo>
                  <a:lnTo>
                    <a:pt x="34" y="108"/>
                  </a:lnTo>
                  <a:lnTo>
                    <a:pt x="34" y="102"/>
                  </a:lnTo>
                  <a:lnTo>
                    <a:pt x="40" y="102"/>
                  </a:lnTo>
                  <a:lnTo>
                    <a:pt x="40" y="97"/>
                  </a:lnTo>
                  <a:lnTo>
                    <a:pt x="46" y="91"/>
                  </a:lnTo>
                  <a:lnTo>
                    <a:pt x="46" y="85"/>
                  </a:lnTo>
                  <a:lnTo>
                    <a:pt x="51" y="85"/>
                  </a:lnTo>
                  <a:lnTo>
                    <a:pt x="51" y="80"/>
                  </a:lnTo>
                  <a:lnTo>
                    <a:pt x="57" y="80"/>
                  </a:lnTo>
                  <a:lnTo>
                    <a:pt x="57" y="74"/>
                  </a:lnTo>
                  <a:lnTo>
                    <a:pt x="63" y="74"/>
                  </a:lnTo>
                  <a:lnTo>
                    <a:pt x="68" y="74"/>
                  </a:lnTo>
                  <a:lnTo>
                    <a:pt x="74" y="74"/>
                  </a:lnTo>
                  <a:lnTo>
                    <a:pt x="80" y="74"/>
                  </a:lnTo>
                  <a:lnTo>
                    <a:pt x="80" y="80"/>
                  </a:lnTo>
                  <a:lnTo>
                    <a:pt x="85" y="80"/>
                  </a:lnTo>
                  <a:lnTo>
                    <a:pt x="91" y="85"/>
                  </a:lnTo>
                  <a:lnTo>
                    <a:pt x="97" y="91"/>
                  </a:lnTo>
                  <a:lnTo>
                    <a:pt x="102" y="91"/>
                  </a:lnTo>
                  <a:lnTo>
                    <a:pt x="108" y="97"/>
                  </a:lnTo>
                  <a:lnTo>
                    <a:pt x="114" y="97"/>
                  </a:lnTo>
                  <a:lnTo>
                    <a:pt x="114" y="102"/>
                  </a:lnTo>
                  <a:lnTo>
                    <a:pt x="125" y="108"/>
                  </a:lnTo>
                  <a:lnTo>
                    <a:pt x="131" y="108"/>
                  </a:lnTo>
                  <a:lnTo>
                    <a:pt x="136" y="108"/>
                  </a:lnTo>
                  <a:lnTo>
                    <a:pt x="136" y="114"/>
                  </a:lnTo>
                  <a:lnTo>
                    <a:pt x="148" y="114"/>
                  </a:lnTo>
                  <a:lnTo>
                    <a:pt x="153" y="119"/>
                  </a:lnTo>
                  <a:lnTo>
                    <a:pt x="165" y="119"/>
                  </a:lnTo>
                  <a:lnTo>
                    <a:pt x="170" y="119"/>
                  </a:lnTo>
                  <a:lnTo>
                    <a:pt x="176" y="119"/>
                  </a:lnTo>
                  <a:lnTo>
                    <a:pt x="182" y="119"/>
                  </a:lnTo>
                  <a:lnTo>
                    <a:pt x="187" y="119"/>
                  </a:lnTo>
                  <a:lnTo>
                    <a:pt x="193" y="119"/>
                  </a:lnTo>
                  <a:lnTo>
                    <a:pt x="204" y="114"/>
                  </a:lnTo>
                  <a:lnTo>
                    <a:pt x="210" y="114"/>
                  </a:lnTo>
                  <a:lnTo>
                    <a:pt x="216" y="114"/>
                  </a:lnTo>
                  <a:lnTo>
                    <a:pt x="221" y="114"/>
                  </a:lnTo>
                  <a:lnTo>
                    <a:pt x="233" y="119"/>
                  </a:lnTo>
                  <a:lnTo>
                    <a:pt x="238" y="119"/>
                  </a:lnTo>
                  <a:lnTo>
                    <a:pt x="244" y="119"/>
                  </a:lnTo>
                  <a:lnTo>
                    <a:pt x="250" y="119"/>
                  </a:lnTo>
                  <a:lnTo>
                    <a:pt x="261" y="119"/>
                  </a:lnTo>
                  <a:lnTo>
                    <a:pt x="267" y="119"/>
                  </a:lnTo>
                  <a:lnTo>
                    <a:pt x="272" y="119"/>
                  </a:lnTo>
                  <a:lnTo>
                    <a:pt x="272" y="114"/>
                  </a:lnTo>
                  <a:lnTo>
                    <a:pt x="278" y="114"/>
                  </a:lnTo>
                  <a:lnTo>
                    <a:pt x="278" y="102"/>
                  </a:lnTo>
                  <a:lnTo>
                    <a:pt x="278" y="97"/>
                  </a:lnTo>
                  <a:lnTo>
                    <a:pt x="278" y="91"/>
                  </a:lnTo>
                  <a:lnTo>
                    <a:pt x="278" y="85"/>
                  </a:lnTo>
                  <a:lnTo>
                    <a:pt x="278" y="80"/>
                  </a:lnTo>
                  <a:lnTo>
                    <a:pt x="278" y="74"/>
                  </a:lnTo>
                  <a:lnTo>
                    <a:pt x="278" y="68"/>
                  </a:lnTo>
                  <a:lnTo>
                    <a:pt x="278" y="63"/>
                  </a:lnTo>
                  <a:lnTo>
                    <a:pt x="284" y="63"/>
                  </a:lnTo>
                  <a:lnTo>
                    <a:pt x="284" y="57"/>
                  </a:lnTo>
                  <a:lnTo>
                    <a:pt x="284" y="51"/>
                  </a:lnTo>
                  <a:lnTo>
                    <a:pt x="289" y="51"/>
                  </a:lnTo>
                  <a:lnTo>
                    <a:pt x="289" y="46"/>
                  </a:lnTo>
                  <a:lnTo>
                    <a:pt x="289" y="40"/>
                  </a:lnTo>
                  <a:lnTo>
                    <a:pt x="295" y="40"/>
                  </a:lnTo>
                  <a:lnTo>
                    <a:pt x="295" y="34"/>
                  </a:lnTo>
                  <a:lnTo>
                    <a:pt x="295" y="29"/>
                  </a:lnTo>
                  <a:lnTo>
                    <a:pt x="301" y="29"/>
                  </a:lnTo>
                  <a:lnTo>
                    <a:pt x="301" y="23"/>
                  </a:lnTo>
                  <a:lnTo>
                    <a:pt x="306" y="17"/>
                  </a:lnTo>
                  <a:lnTo>
                    <a:pt x="306" y="12"/>
                  </a:lnTo>
                  <a:lnTo>
                    <a:pt x="306" y="6"/>
                  </a:lnTo>
                  <a:lnTo>
                    <a:pt x="318" y="0"/>
                  </a:lnTo>
                  <a:lnTo>
                    <a:pt x="323" y="0"/>
                  </a:lnTo>
                  <a:lnTo>
                    <a:pt x="329" y="0"/>
                  </a:lnTo>
                  <a:lnTo>
                    <a:pt x="335" y="0"/>
                  </a:lnTo>
                  <a:lnTo>
                    <a:pt x="346" y="6"/>
                  </a:lnTo>
                  <a:lnTo>
                    <a:pt x="352" y="12"/>
                  </a:lnTo>
                  <a:lnTo>
                    <a:pt x="357" y="17"/>
                  </a:lnTo>
                  <a:lnTo>
                    <a:pt x="363" y="17"/>
                  </a:lnTo>
                  <a:lnTo>
                    <a:pt x="363" y="23"/>
                  </a:lnTo>
                  <a:lnTo>
                    <a:pt x="369" y="23"/>
                  </a:lnTo>
                  <a:lnTo>
                    <a:pt x="369" y="29"/>
                  </a:lnTo>
                  <a:lnTo>
                    <a:pt x="374" y="29"/>
                  </a:lnTo>
                  <a:lnTo>
                    <a:pt x="374" y="34"/>
                  </a:lnTo>
                  <a:lnTo>
                    <a:pt x="374" y="40"/>
                  </a:lnTo>
                  <a:lnTo>
                    <a:pt x="374" y="46"/>
                  </a:lnTo>
                  <a:lnTo>
                    <a:pt x="380" y="51"/>
                  </a:lnTo>
                  <a:lnTo>
                    <a:pt x="380" y="57"/>
                  </a:lnTo>
                  <a:lnTo>
                    <a:pt x="380" y="63"/>
                  </a:lnTo>
                  <a:lnTo>
                    <a:pt x="380" y="68"/>
                  </a:lnTo>
                  <a:lnTo>
                    <a:pt x="386" y="68"/>
                  </a:lnTo>
                  <a:lnTo>
                    <a:pt x="386" y="74"/>
                  </a:lnTo>
                  <a:lnTo>
                    <a:pt x="391" y="80"/>
                  </a:lnTo>
                  <a:lnTo>
                    <a:pt x="391" y="85"/>
                  </a:lnTo>
                  <a:lnTo>
                    <a:pt x="391" y="97"/>
                  </a:lnTo>
                  <a:lnTo>
                    <a:pt x="397" y="102"/>
                  </a:lnTo>
                  <a:lnTo>
                    <a:pt x="397" y="108"/>
                  </a:lnTo>
                  <a:lnTo>
                    <a:pt x="403" y="108"/>
                  </a:lnTo>
                  <a:lnTo>
                    <a:pt x="408" y="114"/>
                  </a:lnTo>
                  <a:lnTo>
                    <a:pt x="408" y="119"/>
                  </a:lnTo>
                  <a:lnTo>
                    <a:pt x="414" y="119"/>
                  </a:lnTo>
                  <a:lnTo>
                    <a:pt x="420" y="125"/>
                  </a:lnTo>
                  <a:lnTo>
                    <a:pt x="425" y="125"/>
                  </a:lnTo>
                  <a:lnTo>
                    <a:pt x="425" y="131"/>
                  </a:lnTo>
                  <a:lnTo>
                    <a:pt x="431" y="131"/>
                  </a:lnTo>
                  <a:lnTo>
                    <a:pt x="437" y="136"/>
                  </a:lnTo>
                  <a:lnTo>
                    <a:pt x="442" y="136"/>
                  </a:lnTo>
                  <a:lnTo>
                    <a:pt x="442" y="142"/>
                  </a:lnTo>
                  <a:lnTo>
                    <a:pt x="448" y="142"/>
                  </a:lnTo>
                  <a:lnTo>
                    <a:pt x="448" y="148"/>
                  </a:lnTo>
                  <a:lnTo>
                    <a:pt x="454" y="148"/>
                  </a:lnTo>
                  <a:lnTo>
                    <a:pt x="459" y="153"/>
                  </a:lnTo>
                  <a:lnTo>
                    <a:pt x="465" y="159"/>
                  </a:lnTo>
                  <a:lnTo>
                    <a:pt x="471" y="165"/>
                  </a:lnTo>
                  <a:lnTo>
                    <a:pt x="471" y="170"/>
                  </a:lnTo>
                  <a:lnTo>
                    <a:pt x="471" y="176"/>
                  </a:lnTo>
                  <a:lnTo>
                    <a:pt x="476" y="176"/>
                  </a:lnTo>
                  <a:lnTo>
                    <a:pt x="482" y="182"/>
                  </a:lnTo>
                  <a:lnTo>
                    <a:pt x="488" y="182"/>
                  </a:lnTo>
                  <a:lnTo>
                    <a:pt x="493" y="182"/>
                  </a:lnTo>
                  <a:lnTo>
                    <a:pt x="499" y="176"/>
                  </a:lnTo>
                  <a:lnTo>
                    <a:pt x="499" y="170"/>
                  </a:lnTo>
                  <a:lnTo>
                    <a:pt x="505" y="165"/>
                  </a:lnTo>
                  <a:lnTo>
                    <a:pt x="510" y="153"/>
                  </a:lnTo>
                  <a:lnTo>
                    <a:pt x="516" y="148"/>
                  </a:lnTo>
                  <a:lnTo>
                    <a:pt x="516" y="142"/>
                  </a:lnTo>
                  <a:lnTo>
                    <a:pt x="516" y="136"/>
                  </a:lnTo>
                  <a:lnTo>
                    <a:pt x="522" y="136"/>
                  </a:lnTo>
                  <a:lnTo>
                    <a:pt x="527" y="136"/>
                  </a:lnTo>
                  <a:lnTo>
                    <a:pt x="527" y="131"/>
                  </a:lnTo>
                  <a:lnTo>
                    <a:pt x="527" y="125"/>
                  </a:lnTo>
                  <a:lnTo>
                    <a:pt x="533" y="125"/>
                  </a:lnTo>
                  <a:lnTo>
                    <a:pt x="533" y="119"/>
                  </a:lnTo>
                  <a:lnTo>
                    <a:pt x="533" y="114"/>
                  </a:lnTo>
                  <a:lnTo>
                    <a:pt x="533" y="108"/>
                  </a:lnTo>
                  <a:lnTo>
                    <a:pt x="539" y="108"/>
                  </a:lnTo>
                  <a:lnTo>
                    <a:pt x="544" y="108"/>
                  </a:lnTo>
                  <a:lnTo>
                    <a:pt x="550" y="108"/>
                  </a:lnTo>
                  <a:lnTo>
                    <a:pt x="556" y="108"/>
                  </a:lnTo>
                  <a:lnTo>
                    <a:pt x="567" y="108"/>
                  </a:lnTo>
                  <a:lnTo>
                    <a:pt x="573" y="108"/>
                  </a:lnTo>
                  <a:lnTo>
                    <a:pt x="578" y="108"/>
                  </a:lnTo>
                  <a:lnTo>
                    <a:pt x="590" y="108"/>
                  </a:lnTo>
                  <a:lnTo>
                    <a:pt x="601" y="108"/>
                  </a:lnTo>
                  <a:lnTo>
                    <a:pt x="590" y="119"/>
                  </a:lnTo>
                  <a:lnTo>
                    <a:pt x="590" y="125"/>
                  </a:lnTo>
                  <a:lnTo>
                    <a:pt x="584" y="131"/>
                  </a:lnTo>
                  <a:lnTo>
                    <a:pt x="578" y="148"/>
                  </a:lnTo>
                  <a:lnTo>
                    <a:pt x="573" y="153"/>
                  </a:lnTo>
                  <a:lnTo>
                    <a:pt x="573" y="159"/>
                  </a:lnTo>
                  <a:lnTo>
                    <a:pt x="578" y="165"/>
                  </a:lnTo>
                  <a:lnTo>
                    <a:pt x="584" y="170"/>
                  </a:lnTo>
                  <a:lnTo>
                    <a:pt x="584" y="176"/>
                  </a:lnTo>
                  <a:lnTo>
                    <a:pt x="584" y="182"/>
                  </a:lnTo>
                  <a:lnTo>
                    <a:pt x="584" y="187"/>
                  </a:lnTo>
                  <a:lnTo>
                    <a:pt x="590" y="193"/>
                  </a:lnTo>
                  <a:lnTo>
                    <a:pt x="590" y="199"/>
                  </a:lnTo>
                  <a:lnTo>
                    <a:pt x="595" y="199"/>
                  </a:lnTo>
                  <a:lnTo>
                    <a:pt x="595" y="204"/>
                  </a:lnTo>
                  <a:lnTo>
                    <a:pt x="590" y="204"/>
                  </a:lnTo>
                  <a:lnTo>
                    <a:pt x="590" y="216"/>
                  </a:lnTo>
                  <a:lnTo>
                    <a:pt x="590" y="221"/>
                  </a:lnTo>
                  <a:lnTo>
                    <a:pt x="590" y="227"/>
                  </a:lnTo>
                  <a:lnTo>
                    <a:pt x="590" y="233"/>
                  </a:lnTo>
                  <a:lnTo>
                    <a:pt x="590" y="238"/>
                  </a:lnTo>
                  <a:lnTo>
                    <a:pt x="590" y="244"/>
                  </a:lnTo>
                  <a:lnTo>
                    <a:pt x="584" y="244"/>
                  </a:lnTo>
                  <a:lnTo>
                    <a:pt x="584" y="250"/>
                  </a:lnTo>
                  <a:lnTo>
                    <a:pt x="584" y="255"/>
                  </a:lnTo>
                  <a:lnTo>
                    <a:pt x="584" y="261"/>
                  </a:lnTo>
                  <a:lnTo>
                    <a:pt x="584" y="272"/>
                  </a:lnTo>
                  <a:lnTo>
                    <a:pt x="578" y="278"/>
                  </a:lnTo>
                  <a:lnTo>
                    <a:pt x="578" y="289"/>
                  </a:lnTo>
                  <a:lnTo>
                    <a:pt x="578" y="295"/>
                  </a:lnTo>
                  <a:lnTo>
                    <a:pt x="578" y="301"/>
                  </a:lnTo>
                  <a:lnTo>
                    <a:pt x="584" y="301"/>
                  </a:lnTo>
                  <a:lnTo>
                    <a:pt x="590" y="301"/>
                  </a:lnTo>
                  <a:lnTo>
                    <a:pt x="590" y="295"/>
                  </a:lnTo>
                  <a:lnTo>
                    <a:pt x="595" y="289"/>
                  </a:lnTo>
                  <a:lnTo>
                    <a:pt x="601" y="289"/>
                  </a:lnTo>
                  <a:lnTo>
                    <a:pt x="607" y="289"/>
                  </a:lnTo>
                  <a:lnTo>
                    <a:pt x="612" y="284"/>
                  </a:lnTo>
                  <a:lnTo>
                    <a:pt x="612" y="278"/>
                  </a:lnTo>
                  <a:lnTo>
                    <a:pt x="624" y="278"/>
                  </a:lnTo>
                  <a:lnTo>
                    <a:pt x="629" y="278"/>
                  </a:lnTo>
                  <a:lnTo>
                    <a:pt x="629" y="272"/>
                  </a:lnTo>
                  <a:lnTo>
                    <a:pt x="641" y="272"/>
                  </a:lnTo>
                  <a:lnTo>
                    <a:pt x="646" y="272"/>
                  </a:lnTo>
                  <a:lnTo>
                    <a:pt x="652" y="272"/>
                  </a:lnTo>
                  <a:lnTo>
                    <a:pt x="658" y="272"/>
                  </a:lnTo>
                  <a:lnTo>
                    <a:pt x="658" y="267"/>
                  </a:lnTo>
                  <a:lnTo>
                    <a:pt x="669" y="267"/>
                  </a:lnTo>
                  <a:lnTo>
                    <a:pt x="669" y="261"/>
                  </a:lnTo>
                  <a:lnTo>
                    <a:pt x="675" y="261"/>
                  </a:lnTo>
                  <a:lnTo>
                    <a:pt x="686" y="261"/>
                  </a:lnTo>
                  <a:lnTo>
                    <a:pt x="692" y="255"/>
                  </a:lnTo>
                  <a:lnTo>
                    <a:pt x="697" y="255"/>
                  </a:lnTo>
                  <a:lnTo>
                    <a:pt x="709" y="250"/>
                  </a:lnTo>
                  <a:lnTo>
                    <a:pt x="714" y="250"/>
                  </a:lnTo>
                  <a:lnTo>
                    <a:pt x="720" y="250"/>
                  </a:lnTo>
                  <a:lnTo>
                    <a:pt x="726" y="250"/>
                  </a:lnTo>
                  <a:lnTo>
                    <a:pt x="732" y="250"/>
                  </a:lnTo>
                  <a:lnTo>
                    <a:pt x="743" y="244"/>
                  </a:lnTo>
                  <a:lnTo>
                    <a:pt x="754" y="244"/>
                  </a:lnTo>
                  <a:lnTo>
                    <a:pt x="766" y="244"/>
                  </a:lnTo>
                  <a:lnTo>
                    <a:pt x="771" y="244"/>
                  </a:lnTo>
                  <a:lnTo>
                    <a:pt x="777" y="244"/>
                  </a:lnTo>
                  <a:lnTo>
                    <a:pt x="788" y="244"/>
                  </a:lnTo>
                  <a:lnTo>
                    <a:pt x="800" y="244"/>
                  </a:lnTo>
                  <a:lnTo>
                    <a:pt x="805" y="244"/>
                  </a:lnTo>
                  <a:lnTo>
                    <a:pt x="811" y="244"/>
                  </a:lnTo>
                  <a:lnTo>
                    <a:pt x="811" y="255"/>
                  </a:lnTo>
                  <a:lnTo>
                    <a:pt x="811" y="267"/>
                  </a:lnTo>
                  <a:lnTo>
                    <a:pt x="811" y="272"/>
                  </a:lnTo>
                  <a:lnTo>
                    <a:pt x="811" y="278"/>
                  </a:lnTo>
                  <a:lnTo>
                    <a:pt x="817" y="289"/>
                  </a:lnTo>
                  <a:lnTo>
                    <a:pt x="817" y="295"/>
                  </a:lnTo>
                  <a:lnTo>
                    <a:pt x="817" y="301"/>
                  </a:lnTo>
                  <a:lnTo>
                    <a:pt x="822" y="301"/>
                  </a:lnTo>
                  <a:lnTo>
                    <a:pt x="822" y="306"/>
                  </a:lnTo>
                  <a:lnTo>
                    <a:pt x="828" y="312"/>
                  </a:lnTo>
                  <a:lnTo>
                    <a:pt x="828" y="318"/>
                  </a:lnTo>
                  <a:lnTo>
                    <a:pt x="828" y="323"/>
                  </a:lnTo>
                  <a:lnTo>
                    <a:pt x="834" y="329"/>
                  </a:lnTo>
                  <a:lnTo>
                    <a:pt x="839" y="335"/>
                  </a:lnTo>
                  <a:lnTo>
                    <a:pt x="845" y="341"/>
                  </a:lnTo>
                  <a:lnTo>
                    <a:pt x="845" y="346"/>
                  </a:lnTo>
                  <a:lnTo>
                    <a:pt x="851" y="352"/>
                  </a:lnTo>
                  <a:lnTo>
                    <a:pt x="851" y="358"/>
                  </a:lnTo>
                  <a:lnTo>
                    <a:pt x="851" y="369"/>
                  </a:lnTo>
                  <a:lnTo>
                    <a:pt x="851" y="386"/>
                  </a:lnTo>
                  <a:lnTo>
                    <a:pt x="851" y="397"/>
                  </a:lnTo>
                  <a:lnTo>
                    <a:pt x="851" y="414"/>
                  </a:lnTo>
                  <a:lnTo>
                    <a:pt x="851" y="426"/>
                  </a:lnTo>
                  <a:lnTo>
                    <a:pt x="851" y="443"/>
                  </a:lnTo>
                  <a:lnTo>
                    <a:pt x="856" y="443"/>
                  </a:lnTo>
                  <a:lnTo>
                    <a:pt x="856" y="454"/>
                  </a:lnTo>
                  <a:lnTo>
                    <a:pt x="856" y="460"/>
                  </a:lnTo>
                  <a:lnTo>
                    <a:pt x="862" y="460"/>
                  </a:lnTo>
                  <a:lnTo>
                    <a:pt x="868" y="471"/>
                  </a:lnTo>
                  <a:lnTo>
                    <a:pt x="873" y="471"/>
                  </a:lnTo>
                  <a:lnTo>
                    <a:pt x="879" y="471"/>
                  </a:lnTo>
                  <a:lnTo>
                    <a:pt x="879" y="477"/>
                  </a:lnTo>
                  <a:lnTo>
                    <a:pt x="885" y="477"/>
                  </a:lnTo>
                  <a:lnTo>
                    <a:pt x="885" y="482"/>
                  </a:lnTo>
                  <a:lnTo>
                    <a:pt x="885" y="488"/>
                  </a:lnTo>
                  <a:lnTo>
                    <a:pt x="885" y="494"/>
                  </a:lnTo>
                  <a:lnTo>
                    <a:pt x="879" y="494"/>
                  </a:lnTo>
                  <a:lnTo>
                    <a:pt x="879" y="499"/>
                  </a:lnTo>
                  <a:lnTo>
                    <a:pt x="879" y="511"/>
                  </a:lnTo>
                  <a:lnTo>
                    <a:pt x="873" y="511"/>
                  </a:lnTo>
                  <a:lnTo>
                    <a:pt x="873" y="516"/>
                  </a:lnTo>
                  <a:lnTo>
                    <a:pt x="873" y="522"/>
                  </a:lnTo>
                  <a:lnTo>
                    <a:pt x="868" y="522"/>
                  </a:lnTo>
                  <a:lnTo>
                    <a:pt x="868" y="528"/>
                  </a:lnTo>
                  <a:lnTo>
                    <a:pt x="868" y="533"/>
                  </a:lnTo>
                  <a:lnTo>
                    <a:pt x="868" y="539"/>
                  </a:lnTo>
                  <a:lnTo>
                    <a:pt x="862" y="539"/>
                  </a:lnTo>
                  <a:lnTo>
                    <a:pt x="862" y="545"/>
                  </a:lnTo>
                  <a:lnTo>
                    <a:pt x="856" y="550"/>
                  </a:lnTo>
                  <a:lnTo>
                    <a:pt x="851" y="550"/>
                  </a:lnTo>
                  <a:lnTo>
                    <a:pt x="845" y="556"/>
                  </a:lnTo>
                  <a:lnTo>
                    <a:pt x="839" y="556"/>
                  </a:lnTo>
                  <a:lnTo>
                    <a:pt x="834" y="556"/>
                  </a:lnTo>
                  <a:lnTo>
                    <a:pt x="828" y="556"/>
                  </a:lnTo>
                  <a:lnTo>
                    <a:pt x="822" y="562"/>
                  </a:lnTo>
                  <a:lnTo>
                    <a:pt x="817" y="562"/>
                  </a:lnTo>
                  <a:lnTo>
                    <a:pt x="811" y="567"/>
                  </a:lnTo>
                  <a:lnTo>
                    <a:pt x="805" y="573"/>
                  </a:lnTo>
                  <a:lnTo>
                    <a:pt x="800" y="579"/>
                  </a:lnTo>
                  <a:lnTo>
                    <a:pt x="800" y="584"/>
                  </a:lnTo>
                  <a:lnTo>
                    <a:pt x="794" y="584"/>
                  </a:lnTo>
                  <a:lnTo>
                    <a:pt x="794" y="590"/>
                  </a:lnTo>
                  <a:lnTo>
                    <a:pt x="794" y="596"/>
                  </a:lnTo>
                  <a:lnTo>
                    <a:pt x="794" y="601"/>
                  </a:lnTo>
                  <a:lnTo>
                    <a:pt x="794" y="607"/>
                  </a:lnTo>
                  <a:lnTo>
                    <a:pt x="794" y="613"/>
                  </a:lnTo>
                  <a:lnTo>
                    <a:pt x="783" y="607"/>
                  </a:lnTo>
                  <a:lnTo>
                    <a:pt x="777" y="601"/>
                  </a:lnTo>
                  <a:lnTo>
                    <a:pt x="771" y="590"/>
                  </a:lnTo>
                  <a:lnTo>
                    <a:pt x="766" y="584"/>
                  </a:lnTo>
                  <a:lnTo>
                    <a:pt x="760" y="579"/>
                  </a:lnTo>
                  <a:lnTo>
                    <a:pt x="754" y="579"/>
                  </a:lnTo>
                  <a:lnTo>
                    <a:pt x="749" y="579"/>
                  </a:lnTo>
                  <a:lnTo>
                    <a:pt x="743" y="579"/>
                  </a:lnTo>
                  <a:lnTo>
                    <a:pt x="732" y="579"/>
                  </a:lnTo>
                  <a:lnTo>
                    <a:pt x="726" y="579"/>
                  </a:lnTo>
                  <a:lnTo>
                    <a:pt x="726" y="584"/>
                  </a:lnTo>
                  <a:lnTo>
                    <a:pt x="720" y="584"/>
                  </a:lnTo>
                  <a:lnTo>
                    <a:pt x="720" y="590"/>
                  </a:lnTo>
                  <a:lnTo>
                    <a:pt x="714" y="590"/>
                  </a:lnTo>
                  <a:lnTo>
                    <a:pt x="714" y="596"/>
                  </a:lnTo>
                  <a:lnTo>
                    <a:pt x="709" y="596"/>
                  </a:lnTo>
                  <a:lnTo>
                    <a:pt x="703" y="601"/>
                  </a:lnTo>
                  <a:lnTo>
                    <a:pt x="703" y="607"/>
                  </a:lnTo>
                  <a:lnTo>
                    <a:pt x="697" y="607"/>
                  </a:lnTo>
                  <a:lnTo>
                    <a:pt x="692" y="613"/>
                  </a:lnTo>
                  <a:lnTo>
                    <a:pt x="686" y="613"/>
                  </a:lnTo>
                  <a:lnTo>
                    <a:pt x="686" y="618"/>
                  </a:lnTo>
                  <a:lnTo>
                    <a:pt x="686" y="624"/>
                  </a:lnTo>
                  <a:lnTo>
                    <a:pt x="675" y="630"/>
                  </a:lnTo>
                  <a:lnTo>
                    <a:pt x="675" y="635"/>
                  </a:lnTo>
                  <a:lnTo>
                    <a:pt x="669" y="635"/>
                  </a:lnTo>
                  <a:lnTo>
                    <a:pt x="663" y="641"/>
                  </a:lnTo>
                  <a:lnTo>
                    <a:pt x="658" y="641"/>
                  </a:lnTo>
                  <a:lnTo>
                    <a:pt x="658" y="652"/>
                  </a:lnTo>
                  <a:lnTo>
                    <a:pt x="652" y="652"/>
                  </a:lnTo>
                  <a:lnTo>
                    <a:pt x="646" y="658"/>
                  </a:lnTo>
                  <a:lnTo>
                    <a:pt x="641" y="664"/>
                  </a:lnTo>
                  <a:lnTo>
                    <a:pt x="629" y="669"/>
                  </a:lnTo>
                  <a:lnTo>
                    <a:pt x="629" y="675"/>
                  </a:lnTo>
                  <a:lnTo>
                    <a:pt x="624" y="675"/>
                  </a:lnTo>
                  <a:lnTo>
                    <a:pt x="618" y="681"/>
                  </a:lnTo>
                  <a:lnTo>
                    <a:pt x="612" y="686"/>
                  </a:lnTo>
                  <a:lnTo>
                    <a:pt x="607" y="692"/>
                  </a:lnTo>
                  <a:lnTo>
                    <a:pt x="601" y="692"/>
                  </a:lnTo>
                  <a:lnTo>
                    <a:pt x="595" y="692"/>
                  </a:lnTo>
                  <a:lnTo>
                    <a:pt x="590" y="692"/>
                  </a:lnTo>
                  <a:lnTo>
                    <a:pt x="590" y="686"/>
                  </a:lnTo>
                  <a:lnTo>
                    <a:pt x="590" y="681"/>
                  </a:lnTo>
                  <a:lnTo>
                    <a:pt x="584" y="681"/>
                  </a:lnTo>
                  <a:lnTo>
                    <a:pt x="584" y="675"/>
                  </a:lnTo>
                  <a:lnTo>
                    <a:pt x="584" y="669"/>
                  </a:lnTo>
                  <a:lnTo>
                    <a:pt x="578" y="664"/>
                  </a:lnTo>
                  <a:lnTo>
                    <a:pt x="573" y="664"/>
                  </a:lnTo>
                  <a:lnTo>
                    <a:pt x="573" y="669"/>
                  </a:lnTo>
                  <a:lnTo>
                    <a:pt x="573" y="675"/>
                  </a:lnTo>
                  <a:lnTo>
                    <a:pt x="573" y="681"/>
                  </a:lnTo>
                  <a:lnTo>
                    <a:pt x="567" y="686"/>
                  </a:lnTo>
                  <a:lnTo>
                    <a:pt x="567" y="692"/>
                  </a:lnTo>
                  <a:lnTo>
                    <a:pt x="561" y="692"/>
                  </a:lnTo>
                  <a:lnTo>
                    <a:pt x="561" y="698"/>
                  </a:lnTo>
                  <a:lnTo>
                    <a:pt x="561" y="703"/>
                  </a:lnTo>
                  <a:lnTo>
                    <a:pt x="556" y="703"/>
                  </a:lnTo>
                  <a:lnTo>
                    <a:pt x="550" y="709"/>
                  </a:lnTo>
                  <a:lnTo>
                    <a:pt x="544" y="715"/>
                  </a:lnTo>
                  <a:lnTo>
                    <a:pt x="544" y="720"/>
                  </a:lnTo>
                  <a:lnTo>
                    <a:pt x="539" y="720"/>
                  </a:lnTo>
                  <a:lnTo>
                    <a:pt x="533" y="726"/>
                  </a:lnTo>
                  <a:lnTo>
                    <a:pt x="533" y="732"/>
                  </a:lnTo>
                  <a:lnTo>
                    <a:pt x="533" y="743"/>
                  </a:lnTo>
                  <a:lnTo>
                    <a:pt x="527" y="754"/>
                  </a:lnTo>
                  <a:lnTo>
                    <a:pt x="527" y="760"/>
                  </a:lnTo>
                  <a:lnTo>
                    <a:pt x="527" y="766"/>
                  </a:lnTo>
                  <a:lnTo>
                    <a:pt x="522" y="771"/>
                  </a:lnTo>
                  <a:lnTo>
                    <a:pt x="516" y="771"/>
                  </a:lnTo>
                  <a:lnTo>
                    <a:pt x="510" y="777"/>
                  </a:lnTo>
                  <a:lnTo>
                    <a:pt x="505" y="777"/>
                  </a:lnTo>
                  <a:lnTo>
                    <a:pt x="499" y="777"/>
                  </a:lnTo>
                  <a:lnTo>
                    <a:pt x="493" y="777"/>
                  </a:lnTo>
                  <a:lnTo>
                    <a:pt x="488" y="777"/>
                  </a:lnTo>
                  <a:lnTo>
                    <a:pt x="471" y="777"/>
                  </a:lnTo>
                  <a:lnTo>
                    <a:pt x="471" y="771"/>
                  </a:lnTo>
                  <a:lnTo>
                    <a:pt x="471" y="760"/>
                  </a:lnTo>
                  <a:lnTo>
                    <a:pt x="471" y="754"/>
                  </a:lnTo>
                  <a:lnTo>
                    <a:pt x="471" y="749"/>
                  </a:lnTo>
                  <a:lnTo>
                    <a:pt x="465" y="743"/>
                  </a:lnTo>
                  <a:lnTo>
                    <a:pt x="465" y="737"/>
                  </a:lnTo>
                  <a:lnTo>
                    <a:pt x="465" y="732"/>
                  </a:lnTo>
                  <a:lnTo>
                    <a:pt x="459" y="720"/>
                  </a:lnTo>
                  <a:lnTo>
                    <a:pt x="459" y="709"/>
                  </a:lnTo>
                  <a:lnTo>
                    <a:pt x="459" y="703"/>
                  </a:lnTo>
                  <a:lnTo>
                    <a:pt x="459" y="692"/>
                  </a:lnTo>
                  <a:lnTo>
                    <a:pt x="459" y="686"/>
                  </a:lnTo>
                  <a:lnTo>
                    <a:pt x="459" y="681"/>
                  </a:lnTo>
                  <a:lnTo>
                    <a:pt x="459" y="675"/>
                  </a:lnTo>
                  <a:lnTo>
                    <a:pt x="459" y="669"/>
                  </a:lnTo>
                  <a:lnTo>
                    <a:pt x="459" y="664"/>
                  </a:lnTo>
                  <a:lnTo>
                    <a:pt x="465" y="658"/>
                  </a:lnTo>
                  <a:lnTo>
                    <a:pt x="465" y="652"/>
                  </a:lnTo>
                  <a:lnTo>
                    <a:pt x="471" y="647"/>
                  </a:lnTo>
                  <a:lnTo>
                    <a:pt x="471" y="641"/>
                  </a:lnTo>
                  <a:lnTo>
                    <a:pt x="476" y="635"/>
                  </a:lnTo>
                  <a:lnTo>
                    <a:pt x="476" y="624"/>
                  </a:lnTo>
                  <a:lnTo>
                    <a:pt x="476" y="613"/>
                  </a:lnTo>
                  <a:lnTo>
                    <a:pt x="476" y="607"/>
                  </a:lnTo>
                  <a:lnTo>
                    <a:pt x="482" y="596"/>
                  </a:lnTo>
                  <a:lnTo>
                    <a:pt x="482" y="590"/>
                  </a:lnTo>
                  <a:lnTo>
                    <a:pt x="488" y="590"/>
                  </a:lnTo>
                  <a:lnTo>
                    <a:pt x="488" y="584"/>
                  </a:lnTo>
                  <a:lnTo>
                    <a:pt x="488" y="579"/>
                  </a:lnTo>
                  <a:lnTo>
                    <a:pt x="488" y="567"/>
                  </a:lnTo>
                  <a:lnTo>
                    <a:pt x="493" y="562"/>
                  </a:lnTo>
                  <a:lnTo>
                    <a:pt x="493" y="556"/>
                  </a:lnTo>
                  <a:lnTo>
                    <a:pt x="488" y="550"/>
                  </a:lnTo>
                  <a:lnTo>
                    <a:pt x="488" y="545"/>
                  </a:lnTo>
                  <a:lnTo>
                    <a:pt x="488" y="539"/>
                  </a:lnTo>
                  <a:lnTo>
                    <a:pt x="488" y="533"/>
                  </a:lnTo>
                  <a:lnTo>
                    <a:pt x="482" y="533"/>
                  </a:lnTo>
                  <a:lnTo>
                    <a:pt x="482" y="528"/>
                  </a:lnTo>
                  <a:lnTo>
                    <a:pt x="476" y="522"/>
                  </a:lnTo>
                  <a:lnTo>
                    <a:pt x="476" y="516"/>
                  </a:lnTo>
                  <a:lnTo>
                    <a:pt x="476" y="511"/>
                  </a:lnTo>
                  <a:lnTo>
                    <a:pt x="471" y="511"/>
                  </a:lnTo>
                  <a:lnTo>
                    <a:pt x="465" y="511"/>
                  </a:lnTo>
                  <a:lnTo>
                    <a:pt x="459" y="505"/>
                  </a:lnTo>
                  <a:lnTo>
                    <a:pt x="454" y="511"/>
                  </a:lnTo>
                  <a:lnTo>
                    <a:pt x="448" y="511"/>
                  </a:lnTo>
                  <a:lnTo>
                    <a:pt x="437" y="511"/>
                  </a:lnTo>
                  <a:lnTo>
                    <a:pt x="431" y="511"/>
                  </a:lnTo>
                  <a:lnTo>
                    <a:pt x="431" y="516"/>
                  </a:lnTo>
                  <a:lnTo>
                    <a:pt x="425" y="516"/>
                  </a:lnTo>
                  <a:lnTo>
                    <a:pt x="420" y="516"/>
                  </a:lnTo>
                  <a:lnTo>
                    <a:pt x="414" y="516"/>
                  </a:lnTo>
                  <a:lnTo>
                    <a:pt x="414" y="511"/>
                  </a:lnTo>
                  <a:lnTo>
                    <a:pt x="408" y="511"/>
                  </a:lnTo>
                  <a:lnTo>
                    <a:pt x="408" y="505"/>
                  </a:lnTo>
                  <a:lnTo>
                    <a:pt x="408" y="499"/>
                  </a:lnTo>
                  <a:lnTo>
                    <a:pt x="403" y="494"/>
                  </a:lnTo>
                  <a:lnTo>
                    <a:pt x="403" y="488"/>
                  </a:lnTo>
                  <a:lnTo>
                    <a:pt x="403" y="482"/>
                  </a:lnTo>
                  <a:lnTo>
                    <a:pt x="397" y="488"/>
                  </a:lnTo>
                  <a:lnTo>
                    <a:pt x="391" y="488"/>
                  </a:lnTo>
                  <a:lnTo>
                    <a:pt x="386" y="488"/>
                  </a:lnTo>
                  <a:lnTo>
                    <a:pt x="380" y="488"/>
                  </a:lnTo>
                  <a:lnTo>
                    <a:pt x="380" y="482"/>
                  </a:lnTo>
                  <a:lnTo>
                    <a:pt x="380" y="477"/>
                  </a:lnTo>
                  <a:lnTo>
                    <a:pt x="380" y="471"/>
                  </a:lnTo>
                  <a:lnTo>
                    <a:pt x="374" y="471"/>
                  </a:lnTo>
                  <a:lnTo>
                    <a:pt x="369" y="471"/>
                  </a:lnTo>
                  <a:lnTo>
                    <a:pt x="363" y="471"/>
                  </a:lnTo>
                  <a:lnTo>
                    <a:pt x="357" y="471"/>
                  </a:lnTo>
                  <a:lnTo>
                    <a:pt x="357" y="465"/>
                  </a:lnTo>
                  <a:lnTo>
                    <a:pt x="352" y="465"/>
                  </a:lnTo>
                  <a:lnTo>
                    <a:pt x="352" y="460"/>
                  </a:lnTo>
                  <a:lnTo>
                    <a:pt x="352" y="454"/>
                  </a:lnTo>
                  <a:lnTo>
                    <a:pt x="346" y="454"/>
                  </a:lnTo>
                  <a:lnTo>
                    <a:pt x="340" y="448"/>
                  </a:lnTo>
                  <a:lnTo>
                    <a:pt x="335" y="443"/>
                  </a:lnTo>
                  <a:lnTo>
                    <a:pt x="323" y="443"/>
                  </a:lnTo>
                  <a:lnTo>
                    <a:pt x="318" y="448"/>
                  </a:lnTo>
                  <a:lnTo>
                    <a:pt x="312" y="454"/>
                  </a:lnTo>
                  <a:lnTo>
                    <a:pt x="306" y="454"/>
                  </a:lnTo>
                  <a:lnTo>
                    <a:pt x="301" y="454"/>
                  </a:lnTo>
                  <a:lnTo>
                    <a:pt x="295" y="454"/>
                  </a:lnTo>
                  <a:lnTo>
                    <a:pt x="289" y="454"/>
                  </a:lnTo>
                  <a:lnTo>
                    <a:pt x="284" y="454"/>
                  </a:lnTo>
                  <a:lnTo>
                    <a:pt x="278" y="454"/>
                  </a:lnTo>
                  <a:lnTo>
                    <a:pt x="278" y="448"/>
                  </a:lnTo>
                  <a:lnTo>
                    <a:pt x="278" y="443"/>
                  </a:lnTo>
                  <a:lnTo>
                    <a:pt x="278" y="431"/>
                  </a:lnTo>
                  <a:lnTo>
                    <a:pt x="284" y="431"/>
                  </a:lnTo>
                  <a:lnTo>
                    <a:pt x="289" y="426"/>
                  </a:lnTo>
                  <a:lnTo>
                    <a:pt x="289" y="420"/>
                  </a:lnTo>
                  <a:lnTo>
                    <a:pt x="284" y="414"/>
                  </a:lnTo>
                  <a:lnTo>
                    <a:pt x="278" y="420"/>
                  </a:lnTo>
                  <a:lnTo>
                    <a:pt x="272" y="420"/>
                  </a:lnTo>
                  <a:lnTo>
                    <a:pt x="272" y="414"/>
                  </a:lnTo>
                  <a:lnTo>
                    <a:pt x="267" y="414"/>
                  </a:lnTo>
                  <a:lnTo>
                    <a:pt x="267" y="409"/>
                  </a:lnTo>
                  <a:lnTo>
                    <a:pt x="267" y="403"/>
                  </a:lnTo>
                  <a:lnTo>
                    <a:pt x="261" y="403"/>
                  </a:lnTo>
                  <a:lnTo>
                    <a:pt x="255" y="409"/>
                  </a:lnTo>
                  <a:lnTo>
                    <a:pt x="244" y="403"/>
                  </a:lnTo>
                  <a:lnTo>
                    <a:pt x="238" y="403"/>
                  </a:lnTo>
                  <a:lnTo>
                    <a:pt x="238" y="397"/>
                  </a:lnTo>
                  <a:lnTo>
                    <a:pt x="233" y="397"/>
                  </a:lnTo>
                  <a:lnTo>
                    <a:pt x="227" y="392"/>
                  </a:lnTo>
                  <a:lnTo>
                    <a:pt x="227" y="386"/>
                  </a:lnTo>
                  <a:lnTo>
                    <a:pt x="221" y="386"/>
                  </a:lnTo>
                  <a:lnTo>
                    <a:pt x="221" y="380"/>
                  </a:lnTo>
                  <a:lnTo>
                    <a:pt x="216" y="375"/>
                  </a:lnTo>
                  <a:lnTo>
                    <a:pt x="210" y="375"/>
                  </a:lnTo>
                  <a:lnTo>
                    <a:pt x="210" y="369"/>
                  </a:lnTo>
                  <a:lnTo>
                    <a:pt x="204" y="363"/>
                  </a:lnTo>
                  <a:lnTo>
                    <a:pt x="204" y="358"/>
                  </a:lnTo>
                  <a:lnTo>
                    <a:pt x="210" y="346"/>
                  </a:lnTo>
                  <a:lnTo>
                    <a:pt x="210" y="341"/>
                  </a:lnTo>
                  <a:lnTo>
                    <a:pt x="210" y="335"/>
                  </a:lnTo>
                  <a:lnTo>
                    <a:pt x="204" y="335"/>
                  </a:lnTo>
                  <a:lnTo>
                    <a:pt x="199" y="335"/>
                  </a:lnTo>
                  <a:lnTo>
                    <a:pt x="182" y="335"/>
                  </a:lnTo>
                  <a:lnTo>
                    <a:pt x="170" y="341"/>
                  </a:lnTo>
                  <a:lnTo>
                    <a:pt x="165" y="341"/>
                  </a:lnTo>
                  <a:lnTo>
                    <a:pt x="165" y="335"/>
                  </a:lnTo>
                  <a:lnTo>
                    <a:pt x="153" y="335"/>
                  </a:lnTo>
                  <a:lnTo>
                    <a:pt x="148" y="335"/>
                  </a:lnTo>
                  <a:lnTo>
                    <a:pt x="148" y="329"/>
                  </a:lnTo>
                  <a:lnTo>
                    <a:pt x="142" y="329"/>
                  </a:lnTo>
                  <a:lnTo>
                    <a:pt x="136" y="329"/>
                  </a:lnTo>
                  <a:lnTo>
                    <a:pt x="131" y="329"/>
                  </a:lnTo>
                  <a:lnTo>
                    <a:pt x="125" y="329"/>
                  </a:lnTo>
                  <a:lnTo>
                    <a:pt x="125" y="323"/>
                  </a:lnTo>
                  <a:lnTo>
                    <a:pt x="119" y="323"/>
                  </a:lnTo>
                  <a:lnTo>
                    <a:pt x="119" y="318"/>
                  </a:lnTo>
                  <a:lnTo>
                    <a:pt x="114" y="318"/>
                  </a:lnTo>
                  <a:lnTo>
                    <a:pt x="108" y="318"/>
                  </a:lnTo>
                  <a:lnTo>
                    <a:pt x="102" y="312"/>
                  </a:lnTo>
                  <a:lnTo>
                    <a:pt x="97" y="312"/>
                  </a:lnTo>
                  <a:lnTo>
                    <a:pt x="97" y="306"/>
                  </a:lnTo>
                  <a:lnTo>
                    <a:pt x="91" y="301"/>
                  </a:lnTo>
                  <a:lnTo>
                    <a:pt x="91" y="295"/>
                  </a:lnTo>
                  <a:lnTo>
                    <a:pt x="91" y="289"/>
                  </a:lnTo>
                  <a:lnTo>
                    <a:pt x="91" y="284"/>
                  </a:lnTo>
                  <a:lnTo>
                    <a:pt x="91" y="278"/>
                  </a:lnTo>
                  <a:lnTo>
                    <a:pt x="97" y="278"/>
                  </a:lnTo>
                  <a:lnTo>
                    <a:pt x="97" y="272"/>
                  </a:lnTo>
                  <a:lnTo>
                    <a:pt x="102" y="272"/>
                  </a:lnTo>
                  <a:lnTo>
                    <a:pt x="102" y="267"/>
                  </a:lnTo>
                  <a:lnTo>
                    <a:pt x="108" y="267"/>
                  </a:lnTo>
                  <a:lnTo>
                    <a:pt x="114" y="261"/>
                  </a:lnTo>
                  <a:lnTo>
                    <a:pt x="114" y="250"/>
                  </a:lnTo>
                  <a:lnTo>
                    <a:pt x="108" y="250"/>
                  </a:lnTo>
                  <a:lnTo>
                    <a:pt x="108" y="244"/>
                  </a:lnTo>
                  <a:lnTo>
                    <a:pt x="102" y="244"/>
                  </a:lnTo>
                  <a:lnTo>
                    <a:pt x="97" y="244"/>
                  </a:lnTo>
                  <a:lnTo>
                    <a:pt x="97" y="250"/>
                  </a:lnTo>
                  <a:lnTo>
                    <a:pt x="91" y="250"/>
                  </a:lnTo>
                  <a:lnTo>
                    <a:pt x="85" y="250"/>
                  </a:lnTo>
                  <a:lnTo>
                    <a:pt x="80" y="250"/>
                  </a:lnTo>
                  <a:lnTo>
                    <a:pt x="80" y="255"/>
                  </a:lnTo>
                  <a:lnTo>
                    <a:pt x="74" y="255"/>
                  </a:lnTo>
                  <a:lnTo>
                    <a:pt x="68" y="255"/>
                  </a:lnTo>
                  <a:lnTo>
                    <a:pt x="68" y="261"/>
                  </a:lnTo>
                  <a:lnTo>
                    <a:pt x="63" y="261"/>
                  </a:lnTo>
                  <a:lnTo>
                    <a:pt x="63" y="250"/>
                  </a:lnTo>
                  <a:lnTo>
                    <a:pt x="68" y="244"/>
                  </a:lnTo>
                  <a:close/>
                </a:path>
              </a:pathLst>
            </a:custGeom>
            <a:solidFill>
              <a:srgbClr val="F2F2F2"/>
            </a:solidFill>
            <a:ln w="25400">
              <a:solidFill>
                <a:srgbClr val="B4B4B4"/>
              </a:solidFill>
              <a:round/>
              <a:headEnd/>
              <a:tailEnd/>
            </a:ln>
          </p:spPr>
          <p:txBody>
            <a:bodyPr lIns="93296" tIns="46648" rIns="93296" bIns="46648"/>
            <a:lstStyle/>
            <a:p>
              <a:pPr>
                <a:defRPr/>
              </a:pPr>
              <a:endParaRPr lang="en-US" sz="1000" kern="0">
                <a:solidFill>
                  <a:prstClr val="black">
                    <a:lumMod val="65000"/>
                    <a:lumOff val="35000"/>
                  </a:prstClr>
                </a:solidFill>
              </a:endParaRPr>
            </a:p>
          </p:txBody>
        </p:sp>
        <p:sp>
          <p:nvSpPr>
            <p:cNvPr id="12" name="Freeform 11"/>
            <p:cNvSpPr>
              <a:spLocks noEditPoints="1"/>
            </p:cNvSpPr>
            <p:nvPr/>
          </p:nvSpPr>
          <p:spPr bwMode="gray">
            <a:xfrm>
              <a:off x="200490" y="2485901"/>
              <a:ext cx="1734167" cy="1043911"/>
            </a:xfrm>
            <a:custGeom>
              <a:avLst/>
              <a:gdLst>
                <a:gd name="T0" fmla="*/ 2147483647 w 1235"/>
                <a:gd name="T1" fmla="*/ 2147483647 h 822"/>
                <a:gd name="T2" fmla="*/ 2147483647 w 1235"/>
                <a:gd name="T3" fmla="*/ 2147483647 h 822"/>
                <a:gd name="T4" fmla="*/ 2147483647 w 1235"/>
                <a:gd name="T5" fmla="*/ 2147483647 h 822"/>
                <a:gd name="T6" fmla="*/ 2147483647 w 1235"/>
                <a:gd name="T7" fmla="*/ 2147483647 h 822"/>
                <a:gd name="T8" fmla="*/ 2147483647 w 1235"/>
                <a:gd name="T9" fmla="*/ 2147483647 h 822"/>
                <a:gd name="T10" fmla="*/ 2147483647 w 1235"/>
                <a:gd name="T11" fmla="*/ 2147483647 h 822"/>
                <a:gd name="T12" fmla="*/ 2147483647 w 1235"/>
                <a:gd name="T13" fmla="*/ 2147483647 h 822"/>
                <a:gd name="T14" fmla="*/ 2147483647 w 1235"/>
                <a:gd name="T15" fmla="*/ 2147483647 h 822"/>
                <a:gd name="T16" fmla="*/ 2147483647 w 1235"/>
                <a:gd name="T17" fmla="*/ 2147483647 h 822"/>
                <a:gd name="T18" fmla="*/ 2147483647 w 1235"/>
                <a:gd name="T19" fmla="*/ 2147483647 h 822"/>
                <a:gd name="T20" fmla="*/ 2147483647 w 1235"/>
                <a:gd name="T21" fmla="*/ 2147483647 h 822"/>
                <a:gd name="T22" fmla="*/ 2147483647 w 1235"/>
                <a:gd name="T23" fmla="*/ 2147483647 h 822"/>
                <a:gd name="T24" fmla="*/ 2147483647 w 1235"/>
                <a:gd name="T25" fmla="*/ 2147483647 h 822"/>
                <a:gd name="T26" fmla="*/ 2147483647 w 1235"/>
                <a:gd name="T27" fmla="*/ 2147483647 h 822"/>
                <a:gd name="T28" fmla="*/ 2147483647 w 1235"/>
                <a:gd name="T29" fmla="*/ 2147483647 h 822"/>
                <a:gd name="T30" fmla="*/ 2147483647 w 1235"/>
                <a:gd name="T31" fmla="*/ 2147483647 h 822"/>
                <a:gd name="T32" fmla="*/ 2147483647 w 1235"/>
                <a:gd name="T33" fmla="*/ 2147483647 h 822"/>
                <a:gd name="T34" fmla="*/ 2147483647 w 1235"/>
                <a:gd name="T35" fmla="*/ 2147483647 h 822"/>
                <a:gd name="T36" fmla="*/ 2147483647 w 1235"/>
                <a:gd name="T37" fmla="*/ 2147483647 h 822"/>
                <a:gd name="T38" fmla="*/ 2147483647 w 1235"/>
                <a:gd name="T39" fmla="*/ 2147483647 h 822"/>
                <a:gd name="T40" fmla="*/ 2147483647 w 1235"/>
                <a:gd name="T41" fmla="*/ 2147483647 h 822"/>
                <a:gd name="T42" fmla="*/ 2147483647 w 1235"/>
                <a:gd name="T43" fmla="*/ 2147483647 h 822"/>
                <a:gd name="T44" fmla="*/ 2147483647 w 1235"/>
                <a:gd name="T45" fmla="*/ 2147483647 h 822"/>
                <a:gd name="T46" fmla="*/ 2147483647 w 1235"/>
                <a:gd name="T47" fmla="*/ 2147483647 h 822"/>
                <a:gd name="T48" fmla="*/ 2147483647 w 1235"/>
                <a:gd name="T49" fmla="*/ 2147483647 h 822"/>
                <a:gd name="T50" fmla="*/ 2147483647 w 1235"/>
                <a:gd name="T51" fmla="*/ 2147483647 h 822"/>
                <a:gd name="T52" fmla="*/ 2147483647 w 1235"/>
                <a:gd name="T53" fmla="*/ 2147483647 h 822"/>
                <a:gd name="T54" fmla="*/ 2147483647 w 1235"/>
                <a:gd name="T55" fmla="*/ 2147483647 h 822"/>
                <a:gd name="T56" fmla="*/ 2147483647 w 1235"/>
                <a:gd name="T57" fmla="*/ 2147483647 h 822"/>
                <a:gd name="T58" fmla="*/ 2147483647 w 1235"/>
                <a:gd name="T59" fmla="*/ 2147483647 h 822"/>
                <a:gd name="T60" fmla="*/ 2147483647 w 1235"/>
                <a:gd name="T61" fmla="*/ 2147483647 h 822"/>
                <a:gd name="T62" fmla="*/ 2147483647 w 1235"/>
                <a:gd name="T63" fmla="*/ 2147483647 h 822"/>
                <a:gd name="T64" fmla="*/ 2147483647 w 1235"/>
                <a:gd name="T65" fmla="*/ 2147483647 h 822"/>
                <a:gd name="T66" fmla="*/ 2147483647 w 1235"/>
                <a:gd name="T67" fmla="*/ 2147483647 h 822"/>
                <a:gd name="T68" fmla="*/ 2147483647 w 1235"/>
                <a:gd name="T69" fmla="*/ 2147483647 h 822"/>
                <a:gd name="T70" fmla="*/ 2147483647 w 1235"/>
                <a:gd name="T71" fmla="*/ 2147483647 h 822"/>
                <a:gd name="T72" fmla="*/ 2147483647 w 1235"/>
                <a:gd name="T73" fmla="*/ 2147483647 h 822"/>
                <a:gd name="T74" fmla="*/ 2147483647 w 1235"/>
                <a:gd name="T75" fmla="*/ 2147483647 h 822"/>
                <a:gd name="T76" fmla="*/ 2147483647 w 1235"/>
                <a:gd name="T77" fmla="*/ 2147483647 h 822"/>
                <a:gd name="T78" fmla="*/ 2147483647 w 1235"/>
                <a:gd name="T79" fmla="*/ 2147483647 h 822"/>
                <a:gd name="T80" fmla="*/ 2147483647 w 1235"/>
                <a:gd name="T81" fmla="*/ 2147483647 h 822"/>
                <a:gd name="T82" fmla="*/ 2147483647 w 1235"/>
                <a:gd name="T83" fmla="*/ 2147483647 h 822"/>
                <a:gd name="T84" fmla="*/ 2147483647 w 1235"/>
                <a:gd name="T85" fmla="*/ 2147483647 h 822"/>
                <a:gd name="T86" fmla="*/ 2147483647 w 1235"/>
                <a:gd name="T87" fmla="*/ 2147483647 h 822"/>
                <a:gd name="T88" fmla="*/ 2147483647 w 1235"/>
                <a:gd name="T89" fmla="*/ 2147483647 h 822"/>
                <a:gd name="T90" fmla="*/ 2147483647 w 1235"/>
                <a:gd name="T91" fmla="*/ 2147483647 h 822"/>
                <a:gd name="T92" fmla="*/ 2147483647 w 1235"/>
                <a:gd name="T93" fmla="*/ 2147483647 h 822"/>
                <a:gd name="T94" fmla="*/ 2147483647 w 1235"/>
                <a:gd name="T95" fmla="*/ 2147483647 h 822"/>
                <a:gd name="T96" fmla="*/ 2147483647 w 1235"/>
                <a:gd name="T97" fmla="*/ 2147483647 h 822"/>
                <a:gd name="T98" fmla="*/ 2147483647 w 1235"/>
                <a:gd name="T99" fmla="*/ 2147483647 h 822"/>
                <a:gd name="T100" fmla="*/ 2147483647 w 1235"/>
                <a:gd name="T101" fmla="*/ 2147483647 h 822"/>
                <a:gd name="T102" fmla="*/ 2147483647 w 1235"/>
                <a:gd name="T103" fmla="*/ 2147483647 h 822"/>
                <a:gd name="T104" fmla="*/ 2147483647 w 1235"/>
                <a:gd name="T105" fmla="*/ 2147483647 h 822"/>
                <a:gd name="T106" fmla="*/ 2147483647 w 1235"/>
                <a:gd name="T107" fmla="*/ 2147483647 h 822"/>
                <a:gd name="T108" fmla="*/ 2147483647 w 1235"/>
                <a:gd name="T109" fmla="*/ 2147483647 h 822"/>
                <a:gd name="T110" fmla="*/ 2147483647 w 1235"/>
                <a:gd name="T111" fmla="*/ 2147483647 h 822"/>
                <a:gd name="T112" fmla="*/ 2147483647 w 1235"/>
                <a:gd name="T113" fmla="*/ 2147483647 h 822"/>
                <a:gd name="T114" fmla="*/ 2147483647 w 1235"/>
                <a:gd name="T115" fmla="*/ 2147483647 h 822"/>
                <a:gd name="T116" fmla="*/ 2147483647 w 1235"/>
                <a:gd name="T117" fmla="*/ 2147483647 h 82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235"/>
                <a:gd name="T178" fmla="*/ 0 h 822"/>
                <a:gd name="T179" fmla="*/ 1235 w 1235"/>
                <a:gd name="T180" fmla="*/ 822 h 82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235" h="822">
                  <a:moveTo>
                    <a:pt x="629" y="759"/>
                  </a:moveTo>
                  <a:lnTo>
                    <a:pt x="629" y="765"/>
                  </a:lnTo>
                  <a:lnTo>
                    <a:pt x="634" y="771"/>
                  </a:lnTo>
                  <a:lnTo>
                    <a:pt x="634" y="782"/>
                  </a:lnTo>
                  <a:lnTo>
                    <a:pt x="634" y="793"/>
                  </a:lnTo>
                  <a:lnTo>
                    <a:pt x="634" y="799"/>
                  </a:lnTo>
                  <a:lnTo>
                    <a:pt x="629" y="805"/>
                  </a:lnTo>
                  <a:lnTo>
                    <a:pt x="617" y="810"/>
                  </a:lnTo>
                  <a:lnTo>
                    <a:pt x="617" y="816"/>
                  </a:lnTo>
                  <a:lnTo>
                    <a:pt x="612" y="816"/>
                  </a:lnTo>
                  <a:lnTo>
                    <a:pt x="606" y="822"/>
                  </a:lnTo>
                  <a:lnTo>
                    <a:pt x="606" y="816"/>
                  </a:lnTo>
                  <a:lnTo>
                    <a:pt x="595" y="810"/>
                  </a:lnTo>
                  <a:lnTo>
                    <a:pt x="595" y="805"/>
                  </a:lnTo>
                  <a:lnTo>
                    <a:pt x="595" y="799"/>
                  </a:lnTo>
                  <a:lnTo>
                    <a:pt x="589" y="793"/>
                  </a:lnTo>
                  <a:lnTo>
                    <a:pt x="589" y="788"/>
                  </a:lnTo>
                  <a:lnTo>
                    <a:pt x="595" y="788"/>
                  </a:lnTo>
                  <a:lnTo>
                    <a:pt x="595" y="782"/>
                  </a:lnTo>
                  <a:lnTo>
                    <a:pt x="595" y="776"/>
                  </a:lnTo>
                  <a:lnTo>
                    <a:pt x="600" y="776"/>
                  </a:lnTo>
                  <a:lnTo>
                    <a:pt x="600" y="771"/>
                  </a:lnTo>
                  <a:lnTo>
                    <a:pt x="600" y="765"/>
                  </a:lnTo>
                  <a:lnTo>
                    <a:pt x="606" y="765"/>
                  </a:lnTo>
                  <a:lnTo>
                    <a:pt x="612" y="765"/>
                  </a:lnTo>
                  <a:lnTo>
                    <a:pt x="617" y="765"/>
                  </a:lnTo>
                  <a:lnTo>
                    <a:pt x="623" y="765"/>
                  </a:lnTo>
                  <a:lnTo>
                    <a:pt x="629" y="759"/>
                  </a:lnTo>
                  <a:close/>
                  <a:moveTo>
                    <a:pt x="5" y="538"/>
                  </a:moveTo>
                  <a:lnTo>
                    <a:pt x="5" y="533"/>
                  </a:lnTo>
                  <a:lnTo>
                    <a:pt x="5" y="527"/>
                  </a:lnTo>
                  <a:lnTo>
                    <a:pt x="5" y="521"/>
                  </a:lnTo>
                  <a:lnTo>
                    <a:pt x="5" y="516"/>
                  </a:lnTo>
                  <a:lnTo>
                    <a:pt x="5" y="510"/>
                  </a:lnTo>
                  <a:lnTo>
                    <a:pt x="0" y="510"/>
                  </a:lnTo>
                  <a:lnTo>
                    <a:pt x="5" y="504"/>
                  </a:lnTo>
                  <a:lnTo>
                    <a:pt x="0" y="499"/>
                  </a:lnTo>
                  <a:lnTo>
                    <a:pt x="5" y="499"/>
                  </a:lnTo>
                  <a:lnTo>
                    <a:pt x="5" y="493"/>
                  </a:lnTo>
                  <a:lnTo>
                    <a:pt x="5" y="487"/>
                  </a:lnTo>
                  <a:lnTo>
                    <a:pt x="5" y="482"/>
                  </a:lnTo>
                  <a:lnTo>
                    <a:pt x="5" y="476"/>
                  </a:lnTo>
                  <a:lnTo>
                    <a:pt x="0" y="476"/>
                  </a:lnTo>
                  <a:lnTo>
                    <a:pt x="0" y="470"/>
                  </a:lnTo>
                  <a:lnTo>
                    <a:pt x="0" y="465"/>
                  </a:lnTo>
                  <a:lnTo>
                    <a:pt x="0" y="459"/>
                  </a:lnTo>
                  <a:lnTo>
                    <a:pt x="5" y="459"/>
                  </a:lnTo>
                  <a:lnTo>
                    <a:pt x="11" y="459"/>
                  </a:lnTo>
                  <a:lnTo>
                    <a:pt x="11" y="453"/>
                  </a:lnTo>
                  <a:lnTo>
                    <a:pt x="11" y="448"/>
                  </a:lnTo>
                  <a:lnTo>
                    <a:pt x="11" y="442"/>
                  </a:lnTo>
                  <a:lnTo>
                    <a:pt x="11" y="436"/>
                  </a:lnTo>
                  <a:lnTo>
                    <a:pt x="5" y="436"/>
                  </a:lnTo>
                  <a:lnTo>
                    <a:pt x="11" y="436"/>
                  </a:lnTo>
                  <a:lnTo>
                    <a:pt x="11" y="425"/>
                  </a:lnTo>
                  <a:lnTo>
                    <a:pt x="11" y="419"/>
                  </a:lnTo>
                  <a:lnTo>
                    <a:pt x="11" y="414"/>
                  </a:lnTo>
                  <a:lnTo>
                    <a:pt x="17" y="408"/>
                  </a:lnTo>
                  <a:lnTo>
                    <a:pt x="17" y="402"/>
                  </a:lnTo>
                  <a:lnTo>
                    <a:pt x="11" y="402"/>
                  </a:lnTo>
                  <a:lnTo>
                    <a:pt x="17" y="402"/>
                  </a:lnTo>
                  <a:lnTo>
                    <a:pt x="17" y="397"/>
                  </a:lnTo>
                  <a:lnTo>
                    <a:pt x="17" y="391"/>
                  </a:lnTo>
                  <a:lnTo>
                    <a:pt x="17" y="385"/>
                  </a:lnTo>
                  <a:lnTo>
                    <a:pt x="11" y="385"/>
                  </a:lnTo>
                  <a:lnTo>
                    <a:pt x="17" y="380"/>
                  </a:lnTo>
                  <a:lnTo>
                    <a:pt x="17" y="374"/>
                  </a:lnTo>
                  <a:lnTo>
                    <a:pt x="17" y="368"/>
                  </a:lnTo>
                  <a:lnTo>
                    <a:pt x="17" y="363"/>
                  </a:lnTo>
                  <a:lnTo>
                    <a:pt x="39" y="363"/>
                  </a:lnTo>
                  <a:lnTo>
                    <a:pt x="45" y="363"/>
                  </a:lnTo>
                  <a:lnTo>
                    <a:pt x="51" y="363"/>
                  </a:lnTo>
                  <a:lnTo>
                    <a:pt x="56" y="357"/>
                  </a:lnTo>
                  <a:lnTo>
                    <a:pt x="62" y="357"/>
                  </a:lnTo>
                  <a:lnTo>
                    <a:pt x="79" y="351"/>
                  </a:lnTo>
                  <a:lnTo>
                    <a:pt x="79" y="357"/>
                  </a:lnTo>
                  <a:lnTo>
                    <a:pt x="90" y="363"/>
                  </a:lnTo>
                  <a:lnTo>
                    <a:pt x="96" y="363"/>
                  </a:lnTo>
                  <a:lnTo>
                    <a:pt x="102" y="357"/>
                  </a:lnTo>
                  <a:lnTo>
                    <a:pt x="107" y="357"/>
                  </a:lnTo>
                  <a:lnTo>
                    <a:pt x="113" y="357"/>
                  </a:lnTo>
                  <a:lnTo>
                    <a:pt x="124" y="351"/>
                  </a:lnTo>
                  <a:lnTo>
                    <a:pt x="124" y="340"/>
                  </a:lnTo>
                  <a:lnTo>
                    <a:pt x="130" y="334"/>
                  </a:lnTo>
                  <a:lnTo>
                    <a:pt x="136" y="317"/>
                  </a:lnTo>
                  <a:lnTo>
                    <a:pt x="136" y="312"/>
                  </a:lnTo>
                  <a:lnTo>
                    <a:pt x="136" y="300"/>
                  </a:lnTo>
                  <a:lnTo>
                    <a:pt x="141" y="295"/>
                  </a:lnTo>
                  <a:lnTo>
                    <a:pt x="147" y="289"/>
                  </a:lnTo>
                  <a:lnTo>
                    <a:pt x="153" y="289"/>
                  </a:lnTo>
                  <a:lnTo>
                    <a:pt x="153" y="283"/>
                  </a:lnTo>
                  <a:lnTo>
                    <a:pt x="147" y="278"/>
                  </a:lnTo>
                  <a:lnTo>
                    <a:pt x="147" y="272"/>
                  </a:lnTo>
                  <a:lnTo>
                    <a:pt x="147" y="266"/>
                  </a:lnTo>
                  <a:lnTo>
                    <a:pt x="147" y="261"/>
                  </a:lnTo>
                  <a:lnTo>
                    <a:pt x="147" y="255"/>
                  </a:lnTo>
                  <a:lnTo>
                    <a:pt x="141" y="238"/>
                  </a:lnTo>
                  <a:lnTo>
                    <a:pt x="141" y="232"/>
                  </a:lnTo>
                  <a:lnTo>
                    <a:pt x="141" y="221"/>
                  </a:lnTo>
                  <a:lnTo>
                    <a:pt x="147" y="215"/>
                  </a:lnTo>
                  <a:lnTo>
                    <a:pt x="147" y="210"/>
                  </a:lnTo>
                  <a:lnTo>
                    <a:pt x="153" y="210"/>
                  </a:lnTo>
                  <a:lnTo>
                    <a:pt x="158" y="210"/>
                  </a:lnTo>
                  <a:lnTo>
                    <a:pt x="158" y="204"/>
                  </a:lnTo>
                  <a:lnTo>
                    <a:pt x="164" y="204"/>
                  </a:lnTo>
                  <a:lnTo>
                    <a:pt x="170" y="193"/>
                  </a:lnTo>
                  <a:lnTo>
                    <a:pt x="170" y="187"/>
                  </a:lnTo>
                  <a:lnTo>
                    <a:pt x="175" y="181"/>
                  </a:lnTo>
                  <a:lnTo>
                    <a:pt x="181" y="176"/>
                  </a:lnTo>
                  <a:lnTo>
                    <a:pt x="181" y="170"/>
                  </a:lnTo>
                  <a:lnTo>
                    <a:pt x="187" y="170"/>
                  </a:lnTo>
                  <a:lnTo>
                    <a:pt x="187" y="159"/>
                  </a:lnTo>
                  <a:lnTo>
                    <a:pt x="187" y="153"/>
                  </a:lnTo>
                  <a:lnTo>
                    <a:pt x="192" y="153"/>
                  </a:lnTo>
                  <a:lnTo>
                    <a:pt x="198" y="153"/>
                  </a:lnTo>
                  <a:lnTo>
                    <a:pt x="204" y="153"/>
                  </a:lnTo>
                  <a:lnTo>
                    <a:pt x="209" y="153"/>
                  </a:lnTo>
                  <a:lnTo>
                    <a:pt x="215" y="147"/>
                  </a:lnTo>
                  <a:lnTo>
                    <a:pt x="221" y="142"/>
                  </a:lnTo>
                  <a:lnTo>
                    <a:pt x="221" y="136"/>
                  </a:lnTo>
                  <a:lnTo>
                    <a:pt x="215" y="130"/>
                  </a:lnTo>
                  <a:lnTo>
                    <a:pt x="209" y="119"/>
                  </a:lnTo>
                  <a:lnTo>
                    <a:pt x="209" y="113"/>
                  </a:lnTo>
                  <a:lnTo>
                    <a:pt x="209" y="108"/>
                  </a:lnTo>
                  <a:lnTo>
                    <a:pt x="209" y="102"/>
                  </a:lnTo>
                  <a:lnTo>
                    <a:pt x="221" y="96"/>
                  </a:lnTo>
                  <a:lnTo>
                    <a:pt x="221" y="91"/>
                  </a:lnTo>
                  <a:lnTo>
                    <a:pt x="226" y="91"/>
                  </a:lnTo>
                  <a:lnTo>
                    <a:pt x="232" y="91"/>
                  </a:lnTo>
                  <a:lnTo>
                    <a:pt x="243" y="85"/>
                  </a:lnTo>
                  <a:lnTo>
                    <a:pt x="255" y="79"/>
                  </a:lnTo>
                  <a:lnTo>
                    <a:pt x="266" y="79"/>
                  </a:lnTo>
                  <a:lnTo>
                    <a:pt x="272" y="79"/>
                  </a:lnTo>
                  <a:lnTo>
                    <a:pt x="277" y="79"/>
                  </a:lnTo>
                  <a:lnTo>
                    <a:pt x="283" y="79"/>
                  </a:lnTo>
                  <a:lnTo>
                    <a:pt x="289" y="79"/>
                  </a:lnTo>
                  <a:lnTo>
                    <a:pt x="289" y="74"/>
                  </a:lnTo>
                  <a:lnTo>
                    <a:pt x="294" y="68"/>
                  </a:lnTo>
                  <a:lnTo>
                    <a:pt x="294" y="62"/>
                  </a:lnTo>
                  <a:lnTo>
                    <a:pt x="300" y="57"/>
                  </a:lnTo>
                  <a:lnTo>
                    <a:pt x="306" y="51"/>
                  </a:lnTo>
                  <a:lnTo>
                    <a:pt x="311" y="45"/>
                  </a:lnTo>
                  <a:lnTo>
                    <a:pt x="311" y="40"/>
                  </a:lnTo>
                  <a:lnTo>
                    <a:pt x="311" y="34"/>
                  </a:lnTo>
                  <a:lnTo>
                    <a:pt x="311" y="28"/>
                  </a:lnTo>
                  <a:lnTo>
                    <a:pt x="311" y="23"/>
                  </a:lnTo>
                  <a:lnTo>
                    <a:pt x="311" y="17"/>
                  </a:lnTo>
                  <a:lnTo>
                    <a:pt x="311" y="11"/>
                  </a:lnTo>
                  <a:lnTo>
                    <a:pt x="311" y="6"/>
                  </a:lnTo>
                  <a:lnTo>
                    <a:pt x="317" y="0"/>
                  </a:lnTo>
                  <a:lnTo>
                    <a:pt x="323" y="6"/>
                  </a:lnTo>
                  <a:lnTo>
                    <a:pt x="328" y="11"/>
                  </a:lnTo>
                  <a:lnTo>
                    <a:pt x="334" y="11"/>
                  </a:lnTo>
                  <a:lnTo>
                    <a:pt x="357" y="11"/>
                  </a:lnTo>
                  <a:lnTo>
                    <a:pt x="362" y="11"/>
                  </a:lnTo>
                  <a:lnTo>
                    <a:pt x="368" y="17"/>
                  </a:lnTo>
                  <a:lnTo>
                    <a:pt x="368" y="23"/>
                  </a:lnTo>
                  <a:lnTo>
                    <a:pt x="374" y="23"/>
                  </a:lnTo>
                  <a:lnTo>
                    <a:pt x="374" y="28"/>
                  </a:lnTo>
                  <a:lnTo>
                    <a:pt x="379" y="28"/>
                  </a:lnTo>
                  <a:lnTo>
                    <a:pt x="385" y="28"/>
                  </a:lnTo>
                  <a:lnTo>
                    <a:pt x="385" y="23"/>
                  </a:lnTo>
                  <a:lnTo>
                    <a:pt x="391" y="23"/>
                  </a:lnTo>
                  <a:lnTo>
                    <a:pt x="391" y="17"/>
                  </a:lnTo>
                  <a:lnTo>
                    <a:pt x="391" y="11"/>
                  </a:lnTo>
                  <a:lnTo>
                    <a:pt x="396" y="11"/>
                  </a:lnTo>
                  <a:lnTo>
                    <a:pt x="396" y="6"/>
                  </a:lnTo>
                  <a:lnTo>
                    <a:pt x="402" y="11"/>
                  </a:lnTo>
                  <a:lnTo>
                    <a:pt x="408" y="23"/>
                  </a:lnTo>
                  <a:lnTo>
                    <a:pt x="413" y="23"/>
                  </a:lnTo>
                  <a:lnTo>
                    <a:pt x="419" y="28"/>
                  </a:lnTo>
                  <a:lnTo>
                    <a:pt x="413" y="28"/>
                  </a:lnTo>
                  <a:lnTo>
                    <a:pt x="413" y="34"/>
                  </a:lnTo>
                  <a:lnTo>
                    <a:pt x="408" y="40"/>
                  </a:lnTo>
                  <a:lnTo>
                    <a:pt x="413" y="45"/>
                  </a:lnTo>
                  <a:lnTo>
                    <a:pt x="419" y="45"/>
                  </a:lnTo>
                  <a:lnTo>
                    <a:pt x="425" y="40"/>
                  </a:lnTo>
                  <a:lnTo>
                    <a:pt x="430" y="45"/>
                  </a:lnTo>
                  <a:lnTo>
                    <a:pt x="430" y="51"/>
                  </a:lnTo>
                  <a:lnTo>
                    <a:pt x="430" y="57"/>
                  </a:lnTo>
                  <a:lnTo>
                    <a:pt x="436" y="57"/>
                  </a:lnTo>
                  <a:lnTo>
                    <a:pt x="442" y="57"/>
                  </a:lnTo>
                  <a:lnTo>
                    <a:pt x="442" y="62"/>
                  </a:lnTo>
                  <a:lnTo>
                    <a:pt x="442" y="68"/>
                  </a:lnTo>
                  <a:lnTo>
                    <a:pt x="436" y="68"/>
                  </a:lnTo>
                  <a:lnTo>
                    <a:pt x="430" y="62"/>
                  </a:lnTo>
                  <a:lnTo>
                    <a:pt x="430" y="68"/>
                  </a:lnTo>
                  <a:lnTo>
                    <a:pt x="425" y="68"/>
                  </a:lnTo>
                  <a:lnTo>
                    <a:pt x="430" y="68"/>
                  </a:lnTo>
                  <a:lnTo>
                    <a:pt x="430" y="74"/>
                  </a:lnTo>
                  <a:lnTo>
                    <a:pt x="436" y="79"/>
                  </a:lnTo>
                  <a:lnTo>
                    <a:pt x="442" y="79"/>
                  </a:lnTo>
                  <a:lnTo>
                    <a:pt x="447" y="79"/>
                  </a:lnTo>
                  <a:lnTo>
                    <a:pt x="453" y="79"/>
                  </a:lnTo>
                  <a:lnTo>
                    <a:pt x="459" y="79"/>
                  </a:lnTo>
                  <a:lnTo>
                    <a:pt x="459" y="91"/>
                  </a:lnTo>
                  <a:lnTo>
                    <a:pt x="464" y="91"/>
                  </a:lnTo>
                  <a:lnTo>
                    <a:pt x="470" y="91"/>
                  </a:lnTo>
                  <a:lnTo>
                    <a:pt x="476" y="96"/>
                  </a:lnTo>
                  <a:lnTo>
                    <a:pt x="481" y="96"/>
                  </a:lnTo>
                  <a:lnTo>
                    <a:pt x="481" y="91"/>
                  </a:lnTo>
                  <a:lnTo>
                    <a:pt x="487" y="85"/>
                  </a:lnTo>
                  <a:lnTo>
                    <a:pt x="487" y="79"/>
                  </a:lnTo>
                  <a:lnTo>
                    <a:pt x="493" y="79"/>
                  </a:lnTo>
                  <a:lnTo>
                    <a:pt x="493" y="85"/>
                  </a:lnTo>
                  <a:lnTo>
                    <a:pt x="493" y="91"/>
                  </a:lnTo>
                  <a:lnTo>
                    <a:pt x="498" y="91"/>
                  </a:lnTo>
                  <a:lnTo>
                    <a:pt x="504" y="91"/>
                  </a:lnTo>
                  <a:lnTo>
                    <a:pt x="504" y="96"/>
                  </a:lnTo>
                  <a:lnTo>
                    <a:pt x="510" y="102"/>
                  </a:lnTo>
                  <a:lnTo>
                    <a:pt x="510" y="108"/>
                  </a:lnTo>
                  <a:lnTo>
                    <a:pt x="515" y="108"/>
                  </a:lnTo>
                  <a:lnTo>
                    <a:pt x="515" y="113"/>
                  </a:lnTo>
                  <a:lnTo>
                    <a:pt x="515" y="119"/>
                  </a:lnTo>
                  <a:lnTo>
                    <a:pt x="521" y="119"/>
                  </a:lnTo>
                  <a:lnTo>
                    <a:pt x="527" y="125"/>
                  </a:lnTo>
                  <a:lnTo>
                    <a:pt x="532" y="130"/>
                  </a:lnTo>
                  <a:lnTo>
                    <a:pt x="532" y="136"/>
                  </a:lnTo>
                  <a:lnTo>
                    <a:pt x="544" y="147"/>
                  </a:lnTo>
                  <a:lnTo>
                    <a:pt x="555" y="153"/>
                  </a:lnTo>
                  <a:lnTo>
                    <a:pt x="555" y="159"/>
                  </a:lnTo>
                  <a:lnTo>
                    <a:pt x="555" y="164"/>
                  </a:lnTo>
                  <a:lnTo>
                    <a:pt x="561" y="164"/>
                  </a:lnTo>
                  <a:lnTo>
                    <a:pt x="566" y="176"/>
                  </a:lnTo>
                  <a:lnTo>
                    <a:pt x="572" y="176"/>
                  </a:lnTo>
                  <a:lnTo>
                    <a:pt x="572" y="181"/>
                  </a:lnTo>
                  <a:lnTo>
                    <a:pt x="583" y="193"/>
                  </a:lnTo>
                  <a:lnTo>
                    <a:pt x="589" y="193"/>
                  </a:lnTo>
                  <a:lnTo>
                    <a:pt x="600" y="210"/>
                  </a:lnTo>
                  <a:lnTo>
                    <a:pt x="606" y="210"/>
                  </a:lnTo>
                  <a:lnTo>
                    <a:pt x="612" y="215"/>
                  </a:lnTo>
                  <a:lnTo>
                    <a:pt x="612" y="221"/>
                  </a:lnTo>
                  <a:lnTo>
                    <a:pt x="617" y="227"/>
                  </a:lnTo>
                  <a:lnTo>
                    <a:pt x="617" y="232"/>
                  </a:lnTo>
                  <a:lnTo>
                    <a:pt x="623" y="232"/>
                  </a:lnTo>
                  <a:lnTo>
                    <a:pt x="629" y="232"/>
                  </a:lnTo>
                  <a:lnTo>
                    <a:pt x="629" y="238"/>
                  </a:lnTo>
                  <a:lnTo>
                    <a:pt x="634" y="244"/>
                  </a:lnTo>
                  <a:lnTo>
                    <a:pt x="640" y="249"/>
                  </a:lnTo>
                  <a:lnTo>
                    <a:pt x="646" y="261"/>
                  </a:lnTo>
                  <a:lnTo>
                    <a:pt x="651" y="261"/>
                  </a:lnTo>
                  <a:lnTo>
                    <a:pt x="657" y="266"/>
                  </a:lnTo>
                  <a:lnTo>
                    <a:pt x="668" y="272"/>
                  </a:lnTo>
                  <a:lnTo>
                    <a:pt x="668" y="278"/>
                  </a:lnTo>
                  <a:lnTo>
                    <a:pt x="674" y="278"/>
                  </a:lnTo>
                  <a:lnTo>
                    <a:pt x="680" y="278"/>
                  </a:lnTo>
                  <a:lnTo>
                    <a:pt x="685" y="278"/>
                  </a:lnTo>
                  <a:lnTo>
                    <a:pt x="685" y="283"/>
                  </a:lnTo>
                  <a:lnTo>
                    <a:pt x="691" y="283"/>
                  </a:lnTo>
                  <a:lnTo>
                    <a:pt x="697" y="289"/>
                  </a:lnTo>
                  <a:lnTo>
                    <a:pt x="702" y="289"/>
                  </a:lnTo>
                  <a:lnTo>
                    <a:pt x="708" y="289"/>
                  </a:lnTo>
                  <a:lnTo>
                    <a:pt x="714" y="295"/>
                  </a:lnTo>
                  <a:lnTo>
                    <a:pt x="714" y="300"/>
                  </a:lnTo>
                  <a:lnTo>
                    <a:pt x="714" y="306"/>
                  </a:lnTo>
                  <a:lnTo>
                    <a:pt x="719" y="317"/>
                  </a:lnTo>
                  <a:lnTo>
                    <a:pt x="719" y="323"/>
                  </a:lnTo>
                  <a:lnTo>
                    <a:pt x="719" y="329"/>
                  </a:lnTo>
                  <a:lnTo>
                    <a:pt x="725" y="329"/>
                  </a:lnTo>
                  <a:lnTo>
                    <a:pt x="725" y="334"/>
                  </a:lnTo>
                  <a:lnTo>
                    <a:pt x="731" y="340"/>
                  </a:lnTo>
                  <a:lnTo>
                    <a:pt x="736" y="340"/>
                  </a:lnTo>
                  <a:lnTo>
                    <a:pt x="742" y="340"/>
                  </a:lnTo>
                  <a:lnTo>
                    <a:pt x="765" y="329"/>
                  </a:lnTo>
                  <a:lnTo>
                    <a:pt x="771" y="329"/>
                  </a:lnTo>
                  <a:lnTo>
                    <a:pt x="776" y="329"/>
                  </a:lnTo>
                  <a:lnTo>
                    <a:pt x="782" y="329"/>
                  </a:lnTo>
                  <a:lnTo>
                    <a:pt x="782" y="323"/>
                  </a:lnTo>
                  <a:lnTo>
                    <a:pt x="788" y="323"/>
                  </a:lnTo>
                  <a:lnTo>
                    <a:pt x="788" y="317"/>
                  </a:lnTo>
                  <a:lnTo>
                    <a:pt x="799" y="317"/>
                  </a:lnTo>
                  <a:lnTo>
                    <a:pt x="810" y="317"/>
                  </a:lnTo>
                  <a:lnTo>
                    <a:pt x="816" y="323"/>
                  </a:lnTo>
                  <a:lnTo>
                    <a:pt x="822" y="329"/>
                  </a:lnTo>
                  <a:lnTo>
                    <a:pt x="827" y="329"/>
                  </a:lnTo>
                  <a:lnTo>
                    <a:pt x="833" y="334"/>
                  </a:lnTo>
                  <a:lnTo>
                    <a:pt x="839" y="334"/>
                  </a:lnTo>
                  <a:lnTo>
                    <a:pt x="839" y="340"/>
                  </a:lnTo>
                  <a:lnTo>
                    <a:pt x="839" y="346"/>
                  </a:lnTo>
                  <a:lnTo>
                    <a:pt x="844" y="346"/>
                  </a:lnTo>
                  <a:lnTo>
                    <a:pt x="850" y="346"/>
                  </a:lnTo>
                  <a:lnTo>
                    <a:pt x="856" y="351"/>
                  </a:lnTo>
                  <a:lnTo>
                    <a:pt x="856" y="357"/>
                  </a:lnTo>
                  <a:lnTo>
                    <a:pt x="861" y="357"/>
                  </a:lnTo>
                  <a:lnTo>
                    <a:pt x="867" y="357"/>
                  </a:lnTo>
                  <a:lnTo>
                    <a:pt x="867" y="363"/>
                  </a:lnTo>
                  <a:lnTo>
                    <a:pt x="867" y="368"/>
                  </a:lnTo>
                  <a:lnTo>
                    <a:pt x="873" y="374"/>
                  </a:lnTo>
                  <a:lnTo>
                    <a:pt x="878" y="380"/>
                  </a:lnTo>
                  <a:lnTo>
                    <a:pt x="884" y="385"/>
                  </a:lnTo>
                  <a:lnTo>
                    <a:pt x="890" y="385"/>
                  </a:lnTo>
                  <a:lnTo>
                    <a:pt x="895" y="385"/>
                  </a:lnTo>
                  <a:lnTo>
                    <a:pt x="901" y="385"/>
                  </a:lnTo>
                  <a:lnTo>
                    <a:pt x="918" y="391"/>
                  </a:lnTo>
                  <a:lnTo>
                    <a:pt x="924" y="391"/>
                  </a:lnTo>
                  <a:lnTo>
                    <a:pt x="935" y="397"/>
                  </a:lnTo>
                  <a:lnTo>
                    <a:pt x="952" y="397"/>
                  </a:lnTo>
                  <a:lnTo>
                    <a:pt x="958" y="402"/>
                  </a:lnTo>
                  <a:lnTo>
                    <a:pt x="963" y="402"/>
                  </a:lnTo>
                  <a:lnTo>
                    <a:pt x="969" y="408"/>
                  </a:lnTo>
                  <a:lnTo>
                    <a:pt x="975" y="408"/>
                  </a:lnTo>
                  <a:lnTo>
                    <a:pt x="980" y="414"/>
                  </a:lnTo>
                  <a:lnTo>
                    <a:pt x="986" y="419"/>
                  </a:lnTo>
                  <a:lnTo>
                    <a:pt x="992" y="419"/>
                  </a:lnTo>
                  <a:lnTo>
                    <a:pt x="1009" y="431"/>
                  </a:lnTo>
                  <a:lnTo>
                    <a:pt x="1014" y="436"/>
                  </a:lnTo>
                  <a:lnTo>
                    <a:pt x="1020" y="442"/>
                  </a:lnTo>
                  <a:lnTo>
                    <a:pt x="1026" y="442"/>
                  </a:lnTo>
                  <a:lnTo>
                    <a:pt x="1026" y="448"/>
                  </a:lnTo>
                  <a:lnTo>
                    <a:pt x="1031" y="448"/>
                  </a:lnTo>
                  <a:lnTo>
                    <a:pt x="1037" y="453"/>
                  </a:lnTo>
                  <a:lnTo>
                    <a:pt x="1048" y="453"/>
                  </a:lnTo>
                  <a:lnTo>
                    <a:pt x="1054" y="453"/>
                  </a:lnTo>
                  <a:lnTo>
                    <a:pt x="1065" y="459"/>
                  </a:lnTo>
                  <a:lnTo>
                    <a:pt x="1065" y="465"/>
                  </a:lnTo>
                  <a:lnTo>
                    <a:pt x="1071" y="465"/>
                  </a:lnTo>
                  <a:lnTo>
                    <a:pt x="1071" y="470"/>
                  </a:lnTo>
                  <a:lnTo>
                    <a:pt x="1077" y="470"/>
                  </a:lnTo>
                  <a:lnTo>
                    <a:pt x="1077" y="476"/>
                  </a:lnTo>
                  <a:lnTo>
                    <a:pt x="1077" y="482"/>
                  </a:lnTo>
                  <a:lnTo>
                    <a:pt x="1082" y="482"/>
                  </a:lnTo>
                  <a:lnTo>
                    <a:pt x="1094" y="482"/>
                  </a:lnTo>
                  <a:lnTo>
                    <a:pt x="1099" y="487"/>
                  </a:lnTo>
                  <a:lnTo>
                    <a:pt x="1122" y="487"/>
                  </a:lnTo>
                  <a:lnTo>
                    <a:pt x="1122" y="482"/>
                  </a:lnTo>
                  <a:lnTo>
                    <a:pt x="1139" y="482"/>
                  </a:lnTo>
                  <a:lnTo>
                    <a:pt x="1145" y="487"/>
                  </a:lnTo>
                  <a:lnTo>
                    <a:pt x="1150" y="487"/>
                  </a:lnTo>
                  <a:lnTo>
                    <a:pt x="1162" y="482"/>
                  </a:lnTo>
                  <a:lnTo>
                    <a:pt x="1167" y="482"/>
                  </a:lnTo>
                  <a:lnTo>
                    <a:pt x="1179" y="482"/>
                  </a:lnTo>
                  <a:lnTo>
                    <a:pt x="1184" y="476"/>
                  </a:lnTo>
                  <a:lnTo>
                    <a:pt x="1190" y="476"/>
                  </a:lnTo>
                  <a:lnTo>
                    <a:pt x="1196" y="482"/>
                  </a:lnTo>
                  <a:lnTo>
                    <a:pt x="1201" y="482"/>
                  </a:lnTo>
                  <a:lnTo>
                    <a:pt x="1207" y="482"/>
                  </a:lnTo>
                  <a:lnTo>
                    <a:pt x="1207" y="487"/>
                  </a:lnTo>
                  <a:lnTo>
                    <a:pt x="1213" y="487"/>
                  </a:lnTo>
                  <a:lnTo>
                    <a:pt x="1218" y="487"/>
                  </a:lnTo>
                  <a:lnTo>
                    <a:pt x="1224" y="493"/>
                  </a:lnTo>
                  <a:lnTo>
                    <a:pt x="1230" y="493"/>
                  </a:lnTo>
                  <a:lnTo>
                    <a:pt x="1235" y="493"/>
                  </a:lnTo>
                  <a:lnTo>
                    <a:pt x="1235" y="487"/>
                  </a:lnTo>
                  <a:lnTo>
                    <a:pt x="1235" y="493"/>
                  </a:lnTo>
                  <a:lnTo>
                    <a:pt x="1235" y="499"/>
                  </a:lnTo>
                  <a:lnTo>
                    <a:pt x="1235" y="504"/>
                  </a:lnTo>
                  <a:lnTo>
                    <a:pt x="1230" y="510"/>
                  </a:lnTo>
                  <a:lnTo>
                    <a:pt x="1230" y="516"/>
                  </a:lnTo>
                  <a:lnTo>
                    <a:pt x="1224" y="516"/>
                  </a:lnTo>
                  <a:lnTo>
                    <a:pt x="1224" y="521"/>
                  </a:lnTo>
                  <a:lnTo>
                    <a:pt x="1224" y="527"/>
                  </a:lnTo>
                  <a:lnTo>
                    <a:pt x="1218" y="527"/>
                  </a:lnTo>
                  <a:lnTo>
                    <a:pt x="1218" y="533"/>
                  </a:lnTo>
                  <a:lnTo>
                    <a:pt x="1218" y="538"/>
                  </a:lnTo>
                  <a:lnTo>
                    <a:pt x="1213" y="538"/>
                  </a:lnTo>
                  <a:lnTo>
                    <a:pt x="1213" y="544"/>
                  </a:lnTo>
                  <a:lnTo>
                    <a:pt x="1213" y="550"/>
                  </a:lnTo>
                  <a:lnTo>
                    <a:pt x="1207" y="550"/>
                  </a:lnTo>
                  <a:lnTo>
                    <a:pt x="1207" y="555"/>
                  </a:lnTo>
                  <a:lnTo>
                    <a:pt x="1207" y="561"/>
                  </a:lnTo>
                  <a:lnTo>
                    <a:pt x="1207" y="567"/>
                  </a:lnTo>
                  <a:lnTo>
                    <a:pt x="1207" y="572"/>
                  </a:lnTo>
                  <a:lnTo>
                    <a:pt x="1207" y="578"/>
                  </a:lnTo>
                  <a:lnTo>
                    <a:pt x="1207" y="584"/>
                  </a:lnTo>
                  <a:lnTo>
                    <a:pt x="1207" y="589"/>
                  </a:lnTo>
                  <a:lnTo>
                    <a:pt x="1207" y="601"/>
                  </a:lnTo>
                  <a:lnTo>
                    <a:pt x="1201" y="601"/>
                  </a:lnTo>
                  <a:lnTo>
                    <a:pt x="1201" y="606"/>
                  </a:lnTo>
                  <a:lnTo>
                    <a:pt x="1196" y="606"/>
                  </a:lnTo>
                  <a:lnTo>
                    <a:pt x="1190" y="606"/>
                  </a:lnTo>
                  <a:lnTo>
                    <a:pt x="1179" y="606"/>
                  </a:lnTo>
                  <a:lnTo>
                    <a:pt x="1173" y="606"/>
                  </a:lnTo>
                  <a:lnTo>
                    <a:pt x="1167" y="606"/>
                  </a:lnTo>
                  <a:lnTo>
                    <a:pt x="1162" y="606"/>
                  </a:lnTo>
                  <a:lnTo>
                    <a:pt x="1150" y="601"/>
                  </a:lnTo>
                  <a:lnTo>
                    <a:pt x="1145" y="601"/>
                  </a:lnTo>
                  <a:lnTo>
                    <a:pt x="1139" y="601"/>
                  </a:lnTo>
                  <a:lnTo>
                    <a:pt x="1133" y="601"/>
                  </a:lnTo>
                  <a:lnTo>
                    <a:pt x="1122" y="606"/>
                  </a:lnTo>
                  <a:lnTo>
                    <a:pt x="1116" y="606"/>
                  </a:lnTo>
                  <a:lnTo>
                    <a:pt x="1111" y="606"/>
                  </a:lnTo>
                  <a:lnTo>
                    <a:pt x="1105" y="606"/>
                  </a:lnTo>
                  <a:lnTo>
                    <a:pt x="1099" y="606"/>
                  </a:lnTo>
                  <a:lnTo>
                    <a:pt x="1094" y="606"/>
                  </a:lnTo>
                  <a:lnTo>
                    <a:pt x="1082" y="606"/>
                  </a:lnTo>
                  <a:lnTo>
                    <a:pt x="1077" y="601"/>
                  </a:lnTo>
                  <a:lnTo>
                    <a:pt x="1065" y="601"/>
                  </a:lnTo>
                  <a:lnTo>
                    <a:pt x="1065" y="595"/>
                  </a:lnTo>
                  <a:lnTo>
                    <a:pt x="1060" y="595"/>
                  </a:lnTo>
                  <a:lnTo>
                    <a:pt x="1054" y="595"/>
                  </a:lnTo>
                  <a:lnTo>
                    <a:pt x="1043" y="589"/>
                  </a:lnTo>
                  <a:lnTo>
                    <a:pt x="1043" y="584"/>
                  </a:lnTo>
                  <a:lnTo>
                    <a:pt x="1037" y="584"/>
                  </a:lnTo>
                  <a:lnTo>
                    <a:pt x="1031" y="578"/>
                  </a:lnTo>
                  <a:lnTo>
                    <a:pt x="1026" y="578"/>
                  </a:lnTo>
                  <a:lnTo>
                    <a:pt x="1020" y="572"/>
                  </a:lnTo>
                  <a:lnTo>
                    <a:pt x="1014" y="567"/>
                  </a:lnTo>
                  <a:lnTo>
                    <a:pt x="1009" y="567"/>
                  </a:lnTo>
                  <a:lnTo>
                    <a:pt x="1009" y="561"/>
                  </a:lnTo>
                  <a:lnTo>
                    <a:pt x="1003" y="561"/>
                  </a:lnTo>
                  <a:lnTo>
                    <a:pt x="997" y="561"/>
                  </a:lnTo>
                  <a:lnTo>
                    <a:pt x="992" y="561"/>
                  </a:lnTo>
                  <a:lnTo>
                    <a:pt x="986" y="561"/>
                  </a:lnTo>
                  <a:lnTo>
                    <a:pt x="986" y="567"/>
                  </a:lnTo>
                  <a:lnTo>
                    <a:pt x="980" y="567"/>
                  </a:lnTo>
                  <a:lnTo>
                    <a:pt x="980" y="572"/>
                  </a:lnTo>
                  <a:lnTo>
                    <a:pt x="975" y="572"/>
                  </a:lnTo>
                  <a:lnTo>
                    <a:pt x="975" y="578"/>
                  </a:lnTo>
                  <a:lnTo>
                    <a:pt x="969" y="584"/>
                  </a:lnTo>
                  <a:lnTo>
                    <a:pt x="969" y="589"/>
                  </a:lnTo>
                  <a:lnTo>
                    <a:pt x="963" y="589"/>
                  </a:lnTo>
                  <a:lnTo>
                    <a:pt x="963" y="595"/>
                  </a:lnTo>
                  <a:lnTo>
                    <a:pt x="958" y="595"/>
                  </a:lnTo>
                  <a:lnTo>
                    <a:pt x="958" y="601"/>
                  </a:lnTo>
                  <a:lnTo>
                    <a:pt x="952" y="601"/>
                  </a:lnTo>
                  <a:lnTo>
                    <a:pt x="952" y="606"/>
                  </a:lnTo>
                  <a:lnTo>
                    <a:pt x="946" y="606"/>
                  </a:lnTo>
                  <a:lnTo>
                    <a:pt x="946" y="612"/>
                  </a:lnTo>
                  <a:lnTo>
                    <a:pt x="941" y="612"/>
                  </a:lnTo>
                  <a:lnTo>
                    <a:pt x="935" y="612"/>
                  </a:lnTo>
                  <a:lnTo>
                    <a:pt x="935" y="618"/>
                  </a:lnTo>
                  <a:lnTo>
                    <a:pt x="935" y="623"/>
                  </a:lnTo>
                  <a:lnTo>
                    <a:pt x="929" y="623"/>
                  </a:lnTo>
                  <a:lnTo>
                    <a:pt x="929" y="629"/>
                  </a:lnTo>
                  <a:lnTo>
                    <a:pt x="935" y="640"/>
                  </a:lnTo>
                  <a:lnTo>
                    <a:pt x="941" y="640"/>
                  </a:lnTo>
                  <a:lnTo>
                    <a:pt x="941" y="652"/>
                  </a:lnTo>
                  <a:lnTo>
                    <a:pt x="941" y="657"/>
                  </a:lnTo>
                  <a:lnTo>
                    <a:pt x="946" y="663"/>
                  </a:lnTo>
                  <a:lnTo>
                    <a:pt x="952" y="663"/>
                  </a:lnTo>
                  <a:lnTo>
                    <a:pt x="958" y="663"/>
                  </a:lnTo>
                  <a:lnTo>
                    <a:pt x="963" y="663"/>
                  </a:lnTo>
                  <a:lnTo>
                    <a:pt x="963" y="669"/>
                  </a:lnTo>
                  <a:lnTo>
                    <a:pt x="969" y="669"/>
                  </a:lnTo>
                  <a:lnTo>
                    <a:pt x="969" y="674"/>
                  </a:lnTo>
                  <a:lnTo>
                    <a:pt x="969" y="680"/>
                  </a:lnTo>
                  <a:lnTo>
                    <a:pt x="969" y="686"/>
                  </a:lnTo>
                  <a:lnTo>
                    <a:pt x="975" y="691"/>
                  </a:lnTo>
                  <a:lnTo>
                    <a:pt x="980" y="691"/>
                  </a:lnTo>
                  <a:lnTo>
                    <a:pt x="986" y="691"/>
                  </a:lnTo>
                  <a:lnTo>
                    <a:pt x="997" y="691"/>
                  </a:lnTo>
                  <a:lnTo>
                    <a:pt x="1003" y="691"/>
                  </a:lnTo>
                  <a:lnTo>
                    <a:pt x="1009" y="691"/>
                  </a:lnTo>
                  <a:lnTo>
                    <a:pt x="1009" y="697"/>
                  </a:lnTo>
                  <a:lnTo>
                    <a:pt x="1009" y="703"/>
                  </a:lnTo>
                  <a:lnTo>
                    <a:pt x="1009" y="708"/>
                  </a:lnTo>
                  <a:lnTo>
                    <a:pt x="1009" y="714"/>
                  </a:lnTo>
                  <a:lnTo>
                    <a:pt x="1003" y="720"/>
                  </a:lnTo>
                  <a:lnTo>
                    <a:pt x="1003" y="725"/>
                  </a:lnTo>
                  <a:lnTo>
                    <a:pt x="997" y="725"/>
                  </a:lnTo>
                  <a:lnTo>
                    <a:pt x="997" y="731"/>
                  </a:lnTo>
                  <a:lnTo>
                    <a:pt x="997" y="725"/>
                  </a:lnTo>
                  <a:lnTo>
                    <a:pt x="992" y="720"/>
                  </a:lnTo>
                  <a:lnTo>
                    <a:pt x="986" y="714"/>
                  </a:lnTo>
                  <a:lnTo>
                    <a:pt x="980" y="714"/>
                  </a:lnTo>
                  <a:lnTo>
                    <a:pt x="980" y="708"/>
                  </a:lnTo>
                  <a:lnTo>
                    <a:pt x="975" y="708"/>
                  </a:lnTo>
                  <a:lnTo>
                    <a:pt x="969" y="708"/>
                  </a:lnTo>
                  <a:lnTo>
                    <a:pt x="963" y="708"/>
                  </a:lnTo>
                  <a:lnTo>
                    <a:pt x="958" y="708"/>
                  </a:lnTo>
                  <a:lnTo>
                    <a:pt x="952" y="714"/>
                  </a:lnTo>
                  <a:lnTo>
                    <a:pt x="946" y="714"/>
                  </a:lnTo>
                  <a:lnTo>
                    <a:pt x="946" y="720"/>
                  </a:lnTo>
                  <a:lnTo>
                    <a:pt x="941" y="720"/>
                  </a:lnTo>
                  <a:lnTo>
                    <a:pt x="941" y="731"/>
                  </a:lnTo>
                  <a:lnTo>
                    <a:pt x="941" y="737"/>
                  </a:lnTo>
                  <a:lnTo>
                    <a:pt x="941" y="742"/>
                  </a:lnTo>
                  <a:lnTo>
                    <a:pt x="935" y="748"/>
                  </a:lnTo>
                  <a:lnTo>
                    <a:pt x="929" y="748"/>
                  </a:lnTo>
                  <a:lnTo>
                    <a:pt x="924" y="754"/>
                  </a:lnTo>
                  <a:lnTo>
                    <a:pt x="912" y="754"/>
                  </a:lnTo>
                  <a:lnTo>
                    <a:pt x="907" y="754"/>
                  </a:lnTo>
                  <a:lnTo>
                    <a:pt x="901" y="748"/>
                  </a:lnTo>
                  <a:lnTo>
                    <a:pt x="895" y="748"/>
                  </a:lnTo>
                  <a:lnTo>
                    <a:pt x="890" y="748"/>
                  </a:lnTo>
                  <a:lnTo>
                    <a:pt x="884" y="742"/>
                  </a:lnTo>
                  <a:lnTo>
                    <a:pt x="884" y="737"/>
                  </a:lnTo>
                  <a:lnTo>
                    <a:pt x="878" y="737"/>
                  </a:lnTo>
                  <a:lnTo>
                    <a:pt x="873" y="731"/>
                  </a:lnTo>
                  <a:lnTo>
                    <a:pt x="873" y="725"/>
                  </a:lnTo>
                  <a:lnTo>
                    <a:pt x="867" y="725"/>
                  </a:lnTo>
                  <a:lnTo>
                    <a:pt x="861" y="725"/>
                  </a:lnTo>
                  <a:lnTo>
                    <a:pt x="856" y="731"/>
                  </a:lnTo>
                  <a:lnTo>
                    <a:pt x="850" y="731"/>
                  </a:lnTo>
                  <a:lnTo>
                    <a:pt x="850" y="737"/>
                  </a:lnTo>
                  <a:lnTo>
                    <a:pt x="844" y="737"/>
                  </a:lnTo>
                  <a:lnTo>
                    <a:pt x="839" y="737"/>
                  </a:lnTo>
                  <a:lnTo>
                    <a:pt x="833" y="731"/>
                  </a:lnTo>
                  <a:lnTo>
                    <a:pt x="827" y="731"/>
                  </a:lnTo>
                  <a:lnTo>
                    <a:pt x="822" y="731"/>
                  </a:lnTo>
                  <a:lnTo>
                    <a:pt x="816" y="731"/>
                  </a:lnTo>
                  <a:lnTo>
                    <a:pt x="805" y="731"/>
                  </a:lnTo>
                  <a:lnTo>
                    <a:pt x="799" y="731"/>
                  </a:lnTo>
                  <a:lnTo>
                    <a:pt x="799" y="725"/>
                  </a:lnTo>
                  <a:lnTo>
                    <a:pt x="793" y="720"/>
                  </a:lnTo>
                  <a:lnTo>
                    <a:pt x="788" y="714"/>
                  </a:lnTo>
                  <a:lnTo>
                    <a:pt x="782" y="714"/>
                  </a:lnTo>
                  <a:lnTo>
                    <a:pt x="776" y="708"/>
                  </a:lnTo>
                  <a:lnTo>
                    <a:pt x="771" y="708"/>
                  </a:lnTo>
                  <a:lnTo>
                    <a:pt x="765" y="708"/>
                  </a:lnTo>
                  <a:lnTo>
                    <a:pt x="759" y="714"/>
                  </a:lnTo>
                  <a:lnTo>
                    <a:pt x="759" y="720"/>
                  </a:lnTo>
                  <a:lnTo>
                    <a:pt x="753" y="720"/>
                  </a:lnTo>
                  <a:lnTo>
                    <a:pt x="748" y="720"/>
                  </a:lnTo>
                  <a:lnTo>
                    <a:pt x="742" y="720"/>
                  </a:lnTo>
                  <a:lnTo>
                    <a:pt x="736" y="720"/>
                  </a:lnTo>
                  <a:lnTo>
                    <a:pt x="731" y="720"/>
                  </a:lnTo>
                  <a:lnTo>
                    <a:pt x="725" y="720"/>
                  </a:lnTo>
                  <a:lnTo>
                    <a:pt x="719" y="720"/>
                  </a:lnTo>
                  <a:lnTo>
                    <a:pt x="719" y="725"/>
                  </a:lnTo>
                  <a:lnTo>
                    <a:pt x="714" y="725"/>
                  </a:lnTo>
                  <a:lnTo>
                    <a:pt x="702" y="731"/>
                  </a:lnTo>
                  <a:lnTo>
                    <a:pt x="702" y="725"/>
                  </a:lnTo>
                  <a:lnTo>
                    <a:pt x="697" y="725"/>
                  </a:lnTo>
                  <a:lnTo>
                    <a:pt x="691" y="725"/>
                  </a:lnTo>
                  <a:lnTo>
                    <a:pt x="685" y="725"/>
                  </a:lnTo>
                  <a:lnTo>
                    <a:pt x="685" y="720"/>
                  </a:lnTo>
                  <a:lnTo>
                    <a:pt x="680" y="725"/>
                  </a:lnTo>
                  <a:lnTo>
                    <a:pt x="674" y="725"/>
                  </a:lnTo>
                  <a:lnTo>
                    <a:pt x="663" y="725"/>
                  </a:lnTo>
                  <a:lnTo>
                    <a:pt x="657" y="725"/>
                  </a:lnTo>
                  <a:lnTo>
                    <a:pt x="651" y="725"/>
                  </a:lnTo>
                  <a:lnTo>
                    <a:pt x="646" y="720"/>
                  </a:lnTo>
                  <a:lnTo>
                    <a:pt x="640" y="720"/>
                  </a:lnTo>
                  <a:lnTo>
                    <a:pt x="634" y="714"/>
                  </a:lnTo>
                  <a:lnTo>
                    <a:pt x="629" y="708"/>
                  </a:lnTo>
                  <a:lnTo>
                    <a:pt x="629" y="703"/>
                  </a:lnTo>
                  <a:lnTo>
                    <a:pt x="623" y="691"/>
                  </a:lnTo>
                  <a:lnTo>
                    <a:pt x="629" y="691"/>
                  </a:lnTo>
                  <a:lnTo>
                    <a:pt x="623" y="680"/>
                  </a:lnTo>
                  <a:lnTo>
                    <a:pt x="617" y="674"/>
                  </a:lnTo>
                  <a:lnTo>
                    <a:pt x="617" y="669"/>
                  </a:lnTo>
                  <a:lnTo>
                    <a:pt x="617" y="663"/>
                  </a:lnTo>
                  <a:lnTo>
                    <a:pt x="612" y="663"/>
                  </a:lnTo>
                  <a:lnTo>
                    <a:pt x="606" y="657"/>
                  </a:lnTo>
                  <a:lnTo>
                    <a:pt x="600" y="652"/>
                  </a:lnTo>
                  <a:lnTo>
                    <a:pt x="595" y="646"/>
                  </a:lnTo>
                  <a:lnTo>
                    <a:pt x="595" y="640"/>
                  </a:lnTo>
                  <a:lnTo>
                    <a:pt x="589" y="640"/>
                  </a:lnTo>
                  <a:lnTo>
                    <a:pt x="589" y="635"/>
                  </a:lnTo>
                  <a:lnTo>
                    <a:pt x="583" y="635"/>
                  </a:lnTo>
                  <a:lnTo>
                    <a:pt x="578" y="629"/>
                  </a:lnTo>
                  <a:lnTo>
                    <a:pt x="578" y="623"/>
                  </a:lnTo>
                  <a:lnTo>
                    <a:pt x="572" y="618"/>
                  </a:lnTo>
                  <a:lnTo>
                    <a:pt x="566" y="612"/>
                  </a:lnTo>
                  <a:lnTo>
                    <a:pt x="566" y="606"/>
                  </a:lnTo>
                  <a:lnTo>
                    <a:pt x="561" y="601"/>
                  </a:lnTo>
                  <a:lnTo>
                    <a:pt x="561" y="595"/>
                  </a:lnTo>
                  <a:lnTo>
                    <a:pt x="555" y="595"/>
                  </a:lnTo>
                  <a:lnTo>
                    <a:pt x="555" y="589"/>
                  </a:lnTo>
                  <a:lnTo>
                    <a:pt x="549" y="584"/>
                  </a:lnTo>
                  <a:lnTo>
                    <a:pt x="549" y="578"/>
                  </a:lnTo>
                  <a:lnTo>
                    <a:pt x="544" y="567"/>
                  </a:lnTo>
                  <a:lnTo>
                    <a:pt x="544" y="561"/>
                  </a:lnTo>
                  <a:lnTo>
                    <a:pt x="538" y="555"/>
                  </a:lnTo>
                  <a:lnTo>
                    <a:pt x="532" y="550"/>
                  </a:lnTo>
                  <a:lnTo>
                    <a:pt x="532" y="544"/>
                  </a:lnTo>
                  <a:lnTo>
                    <a:pt x="527" y="538"/>
                  </a:lnTo>
                  <a:lnTo>
                    <a:pt x="521" y="533"/>
                  </a:lnTo>
                  <a:lnTo>
                    <a:pt x="521" y="527"/>
                  </a:lnTo>
                  <a:lnTo>
                    <a:pt x="515" y="527"/>
                  </a:lnTo>
                  <a:lnTo>
                    <a:pt x="515" y="521"/>
                  </a:lnTo>
                  <a:lnTo>
                    <a:pt x="515" y="516"/>
                  </a:lnTo>
                  <a:lnTo>
                    <a:pt x="515" y="510"/>
                  </a:lnTo>
                  <a:lnTo>
                    <a:pt x="510" y="510"/>
                  </a:lnTo>
                  <a:lnTo>
                    <a:pt x="510" y="504"/>
                  </a:lnTo>
                  <a:lnTo>
                    <a:pt x="504" y="499"/>
                  </a:lnTo>
                  <a:lnTo>
                    <a:pt x="504" y="493"/>
                  </a:lnTo>
                  <a:lnTo>
                    <a:pt x="504" y="487"/>
                  </a:lnTo>
                  <a:lnTo>
                    <a:pt x="504" y="482"/>
                  </a:lnTo>
                  <a:lnTo>
                    <a:pt x="504" y="476"/>
                  </a:lnTo>
                  <a:lnTo>
                    <a:pt x="504" y="470"/>
                  </a:lnTo>
                  <a:lnTo>
                    <a:pt x="504" y="465"/>
                  </a:lnTo>
                  <a:lnTo>
                    <a:pt x="504" y="459"/>
                  </a:lnTo>
                  <a:lnTo>
                    <a:pt x="510" y="459"/>
                  </a:lnTo>
                  <a:lnTo>
                    <a:pt x="515" y="459"/>
                  </a:lnTo>
                  <a:lnTo>
                    <a:pt x="515" y="453"/>
                  </a:lnTo>
                  <a:lnTo>
                    <a:pt x="515" y="448"/>
                  </a:lnTo>
                  <a:lnTo>
                    <a:pt x="521" y="442"/>
                  </a:lnTo>
                  <a:lnTo>
                    <a:pt x="521" y="436"/>
                  </a:lnTo>
                  <a:lnTo>
                    <a:pt x="527" y="431"/>
                  </a:lnTo>
                  <a:lnTo>
                    <a:pt x="532" y="425"/>
                  </a:lnTo>
                  <a:lnTo>
                    <a:pt x="538" y="419"/>
                  </a:lnTo>
                  <a:lnTo>
                    <a:pt x="544" y="414"/>
                  </a:lnTo>
                  <a:lnTo>
                    <a:pt x="555" y="408"/>
                  </a:lnTo>
                  <a:lnTo>
                    <a:pt x="561" y="402"/>
                  </a:lnTo>
                  <a:lnTo>
                    <a:pt x="566" y="402"/>
                  </a:lnTo>
                  <a:lnTo>
                    <a:pt x="566" y="397"/>
                  </a:lnTo>
                  <a:lnTo>
                    <a:pt x="566" y="391"/>
                  </a:lnTo>
                  <a:lnTo>
                    <a:pt x="561" y="385"/>
                  </a:lnTo>
                  <a:lnTo>
                    <a:pt x="555" y="380"/>
                  </a:lnTo>
                  <a:lnTo>
                    <a:pt x="549" y="385"/>
                  </a:lnTo>
                  <a:lnTo>
                    <a:pt x="544" y="385"/>
                  </a:lnTo>
                  <a:lnTo>
                    <a:pt x="538" y="385"/>
                  </a:lnTo>
                  <a:lnTo>
                    <a:pt x="538" y="391"/>
                  </a:lnTo>
                  <a:lnTo>
                    <a:pt x="532" y="391"/>
                  </a:lnTo>
                  <a:lnTo>
                    <a:pt x="532" y="397"/>
                  </a:lnTo>
                  <a:lnTo>
                    <a:pt x="527" y="397"/>
                  </a:lnTo>
                  <a:lnTo>
                    <a:pt x="521" y="402"/>
                  </a:lnTo>
                  <a:lnTo>
                    <a:pt x="515" y="408"/>
                  </a:lnTo>
                  <a:lnTo>
                    <a:pt x="515" y="414"/>
                  </a:lnTo>
                  <a:lnTo>
                    <a:pt x="510" y="414"/>
                  </a:lnTo>
                  <a:lnTo>
                    <a:pt x="504" y="414"/>
                  </a:lnTo>
                  <a:lnTo>
                    <a:pt x="498" y="408"/>
                  </a:lnTo>
                  <a:lnTo>
                    <a:pt x="493" y="408"/>
                  </a:lnTo>
                  <a:lnTo>
                    <a:pt x="493" y="402"/>
                  </a:lnTo>
                  <a:lnTo>
                    <a:pt x="487" y="402"/>
                  </a:lnTo>
                  <a:lnTo>
                    <a:pt x="481" y="402"/>
                  </a:lnTo>
                  <a:lnTo>
                    <a:pt x="476" y="397"/>
                  </a:lnTo>
                  <a:lnTo>
                    <a:pt x="476" y="391"/>
                  </a:lnTo>
                  <a:lnTo>
                    <a:pt x="464" y="385"/>
                  </a:lnTo>
                  <a:lnTo>
                    <a:pt x="464" y="380"/>
                  </a:lnTo>
                  <a:lnTo>
                    <a:pt x="459" y="380"/>
                  </a:lnTo>
                  <a:lnTo>
                    <a:pt x="459" y="374"/>
                  </a:lnTo>
                  <a:lnTo>
                    <a:pt x="453" y="374"/>
                  </a:lnTo>
                  <a:lnTo>
                    <a:pt x="447" y="374"/>
                  </a:lnTo>
                  <a:lnTo>
                    <a:pt x="447" y="368"/>
                  </a:lnTo>
                  <a:lnTo>
                    <a:pt x="442" y="363"/>
                  </a:lnTo>
                  <a:lnTo>
                    <a:pt x="436" y="357"/>
                  </a:lnTo>
                  <a:lnTo>
                    <a:pt x="442" y="351"/>
                  </a:lnTo>
                  <a:lnTo>
                    <a:pt x="436" y="351"/>
                  </a:lnTo>
                  <a:lnTo>
                    <a:pt x="436" y="346"/>
                  </a:lnTo>
                  <a:lnTo>
                    <a:pt x="436" y="340"/>
                  </a:lnTo>
                  <a:lnTo>
                    <a:pt x="436" y="334"/>
                  </a:lnTo>
                  <a:lnTo>
                    <a:pt x="430" y="334"/>
                  </a:lnTo>
                  <a:lnTo>
                    <a:pt x="419" y="329"/>
                  </a:lnTo>
                  <a:lnTo>
                    <a:pt x="419" y="323"/>
                  </a:lnTo>
                  <a:lnTo>
                    <a:pt x="413" y="317"/>
                  </a:lnTo>
                  <a:lnTo>
                    <a:pt x="408" y="317"/>
                  </a:lnTo>
                  <a:lnTo>
                    <a:pt x="402" y="317"/>
                  </a:lnTo>
                  <a:lnTo>
                    <a:pt x="396" y="317"/>
                  </a:lnTo>
                  <a:lnTo>
                    <a:pt x="391" y="317"/>
                  </a:lnTo>
                  <a:lnTo>
                    <a:pt x="391" y="323"/>
                  </a:lnTo>
                  <a:lnTo>
                    <a:pt x="385" y="323"/>
                  </a:lnTo>
                  <a:lnTo>
                    <a:pt x="379" y="323"/>
                  </a:lnTo>
                  <a:lnTo>
                    <a:pt x="379" y="329"/>
                  </a:lnTo>
                  <a:lnTo>
                    <a:pt x="374" y="329"/>
                  </a:lnTo>
                  <a:lnTo>
                    <a:pt x="374" y="334"/>
                  </a:lnTo>
                  <a:lnTo>
                    <a:pt x="368" y="334"/>
                  </a:lnTo>
                  <a:lnTo>
                    <a:pt x="362" y="340"/>
                  </a:lnTo>
                  <a:lnTo>
                    <a:pt x="362" y="346"/>
                  </a:lnTo>
                  <a:lnTo>
                    <a:pt x="357" y="346"/>
                  </a:lnTo>
                  <a:lnTo>
                    <a:pt x="357" y="351"/>
                  </a:lnTo>
                  <a:lnTo>
                    <a:pt x="357" y="357"/>
                  </a:lnTo>
                  <a:lnTo>
                    <a:pt x="357" y="363"/>
                  </a:lnTo>
                  <a:lnTo>
                    <a:pt x="357" y="368"/>
                  </a:lnTo>
                  <a:lnTo>
                    <a:pt x="351" y="374"/>
                  </a:lnTo>
                  <a:lnTo>
                    <a:pt x="351" y="380"/>
                  </a:lnTo>
                  <a:lnTo>
                    <a:pt x="345" y="385"/>
                  </a:lnTo>
                  <a:lnTo>
                    <a:pt x="340" y="385"/>
                  </a:lnTo>
                  <a:lnTo>
                    <a:pt x="340" y="391"/>
                  </a:lnTo>
                  <a:lnTo>
                    <a:pt x="334" y="391"/>
                  </a:lnTo>
                  <a:lnTo>
                    <a:pt x="334" y="397"/>
                  </a:lnTo>
                  <a:lnTo>
                    <a:pt x="328" y="397"/>
                  </a:lnTo>
                  <a:lnTo>
                    <a:pt x="323" y="397"/>
                  </a:lnTo>
                  <a:lnTo>
                    <a:pt x="323" y="402"/>
                  </a:lnTo>
                  <a:lnTo>
                    <a:pt x="317" y="402"/>
                  </a:lnTo>
                  <a:lnTo>
                    <a:pt x="306" y="408"/>
                  </a:lnTo>
                  <a:lnTo>
                    <a:pt x="294" y="414"/>
                  </a:lnTo>
                  <a:lnTo>
                    <a:pt x="283" y="414"/>
                  </a:lnTo>
                  <a:lnTo>
                    <a:pt x="277" y="419"/>
                  </a:lnTo>
                  <a:lnTo>
                    <a:pt x="266" y="419"/>
                  </a:lnTo>
                  <a:lnTo>
                    <a:pt x="266" y="425"/>
                  </a:lnTo>
                  <a:lnTo>
                    <a:pt x="255" y="425"/>
                  </a:lnTo>
                  <a:lnTo>
                    <a:pt x="249" y="431"/>
                  </a:lnTo>
                  <a:lnTo>
                    <a:pt x="243" y="431"/>
                  </a:lnTo>
                  <a:lnTo>
                    <a:pt x="238" y="431"/>
                  </a:lnTo>
                  <a:lnTo>
                    <a:pt x="238" y="436"/>
                  </a:lnTo>
                  <a:lnTo>
                    <a:pt x="238" y="442"/>
                  </a:lnTo>
                  <a:lnTo>
                    <a:pt x="232" y="442"/>
                  </a:lnTo>
                  <a:lnTo>
                    <a:pt x="226" y="442"/>
                  </a:lnTo>
                  <a:lnTo>
                    <a:pt x="221" y="448"/>
                  </a:lnTo>
                  <a:lnTo>
                    <a:pt x="215" y="448"/>
                  </a:lnTo>
                  <a:lnTo>
                    <a:pt x="209" y="448"/>
                  </a:lnTo>
                  <a:lnTo>
                    <a:pt x="204" y="448"/>
                  </a:lnTo>
                  <a:lnTo>
                    <a:pt x="198" y="453"/>
                  </a:lnTo>
                  <a:lnTo>
                    <a:pt x="192" y="459"/>
                  </a:lnTo>
                  <a:lnTo>
                    <a:pt x="187" y="459"/>
                  </a:lnTo>
                  <a:lnTo>
                    <a:pt x="181" y="459"/>
                  </a:lnTo>
                  <a:lnTo>
                    <a:pt x="175" y="459"/>
                  </a:lnTo>
                  <a:lnTo>
                    <a:pt x="170" y="459"/>
                  </a:lnTo>
                  <a:lnTo>
                    <a:pt x="164" y="459"/>
                  </a:lnTo>
                  <a:lnTo>
                    <a:pt x="158" y="459"/>
                  </a:lnTo>
                  <a:lnTo>
                    <a:pt x="153" y="459"/>
                  </a:lnTo>
                  <a:lnTo>
                    <a:pt x="147" y="459"/>
                  </a:lnTo>
                  <a:lnTo>
                    <a:pt x="141" y="459"/>
                  </a:lnTo>
                  <a:lnTo>
                    <a:pt x="136" y="459"/>
                  </a:lnTo>
                  <a:lnTo>
                    <a:pt x="130" y="459"/>
                  </a:lnTo>
                  <a:lnTo>
                    <a:pt x="124" y="465"/>
                  </a:lnTo>
                  <a:lnTo>
                    <a:pt x="124" y="470"/>
                  </a:lnTo>
                  <a:lnTo>
                    <a:pt x="119" y="470"/>
                  </a:lnTo>
                  <a:lnTo>
                    <a:pt x="113" y="470"/>
                  </a:lnTo>
                  <a:lnTo>
                    <a:pt x="107" y="476"/>
                  </a:lnTo>
                  <a:lnTo>
                    <a:pt x="107" y="482"/>
                  </a:lnTo>
                  <a:lnTo>
                    <a:pt x="102" y="482"/>
                  </a:lnTo>
                  <a:lnTo>
                    <a:pt x="96" y="482"/>
                  </a:lnTo>
                  <a:lnTo>
                    <a:pt x="96" y="487"/>
                  </a:lnTo>
                  <a:lnTo>
                    <a:pt x="90" y="493"/>
                  </a:lnTo>
                  <a:lnTo>
                    <a:pt x="85" y="493"/>
                  </a:lnTo>
                  <a:lnTo>
                    <a:pt x="85" y="499"/>
                  </a:lnTo>
                  <a:lnTo>
                    <a:pt x="73" y="504"/>
                  </a:lnTo>
                  <a:lnTo>
                    <a:pt x="68" y="510"/>
                  </a:lnTo>
                  <a:lnTo>
                    <a:pt x="68" y="516"/>
                  </a:lnTo>
                  <a:lnTo>
                    <a:pt x="62" y="516"/>
                  </a:lnTo>
                  <a:lnTo>
                    <a:pt x="56" y="516"/>
                  </a:lnTo>
                  <a:lnTo>
                    <a:pt x="56" y="521"/>
                  </a:lnTo>
                  <a:lnTo>
                    <a:pt x="51" y="527"/>
                  </a:lnTo>
                  <a:lnTo>
                    <a:pt x="45" y="521"/>
                  </a:lnTo>
                  <a:lnTo>
                    <a:pt x="39" y="521"/>
                  </a:lnTo>
                  <a:lnTo>
                    <a:pt x="28" y="516"/>
                  </a:lnTo>
                  <a:lnTo>
                    <a:pt x="22" y="521"/>
                  </a:lnTo>
                  <a:lnTo>
                    <a:pt x="17" y="521"/>
                  </a:lnTo>
                  <a:lnTo>
                    <a:pt x="17" y="527"/>
                  </a:lnTo>
                  <a:lnTo>
                    <a:pt x="11" y="533"/>
                  </a:lnTo>
                  <a:lnTo>
                    <a:pt x="11" y="538"/>
                  </a:lnTo>
                  <a:lnTo>
                    <a:pt x="5" y="538"/>
                  </a:lnTo>
                  <a:close/>
                </a:path>
              </a:pathLst>
            </a:custGeom>
            <a:solidFill>
              <a:schemeClr val="bg1">
                <a:lumMod val="95000"/>
              </a:schemeClr>
            </a:solidFill>
            <a:ln w="25400">
              <a:solidFill>
                <a:schemeClr val="bg1">
                  <a:lumMod val="65000"/>
                </a:schemeClr>
              </a:solidFill>
              <a:round/>
              <a:headEnd/>
              <a:tailEnd/>
            </a:ln>
          </p:spPr>
          <p:txBody>
            <a:bodyPr lIns="93296" tIns="46648" rIns="93296" bIns="46648"/>
            <a:lstStyle/>
            <a:p>
              <a:pPr>
                <a:defRPr/>
              </a:pPr>
              <a:endParaRPr lang="en-US" sz="1000" kern="0">
                <a:solidFill>
                  <a:prstClr val="black">
                    <a:lumMod val="65000"/>
                    <a:lumOff val="35000"/>
                  </a:prstClr>
                </a:solidFill>
              </a:endParaRPr>
            </a:p>
          </p:txBody>
        </p:sp>
        <p:sp>
          <p:nvSpPr>
            <p:cNvPr id="13" name="Freeform 12"/>
            <p:cNvSpPr>
              <a:spLocks/>
            </p:cNvSpPr>
            <p:nvPr/>
          </p:nvSpPr>
          <p:spPr bwMode="gray">
            <a:xfrm>
              <a:off x="635648" y="1861777"/>
              <a:ext cx="1916709" cy="1490960"/>
            </a:xfrm>
            <a:custGeom>
              <a:avLst/>
              <a:gdLst>
                <a:gd name="T0" fmla="*/ 2147483647 w 1366"/>
                <a:gd name="T1" fmla="*/ 2147483647 h 1117"/>
                <a:gd name="T2" fmla="*/ 2147483647 w 1366"/>
                <a:gd name="T3" fmla="*/ 2147483647 h 1117"/>
                <a:gd name="T4" fmla="*/ 2147483647 w 1366"/>
                <a:gd name="T5" fmla="*/ 2147483647 h 1117"/>
                <a:gd name="T6" fmla="*/ 2147483647 w 1366"/>
                <a:gd name="T7" fmla="*/ 2147483647 h 1117"/>
                <a:gd name="T8" fmla="*/ 2147483647 w 1366"/>
                <a:gd name="T9" fmla="*/ 2147483647 h 1117"/>
                <a:gd name="T10" fmla="*/ 2147483647 w 1366"/>
                <a:gd name="T11" fmla="*/ 2147483647 h 1117"/>
                <a:gd name="T12" fmla="*/ 2147483647 w 1366"/>
                <a:gd name="T13" fmla="*/ 2147483647 h 1117"/>
                <a:gd name="T14" fmla="*/ 2147483647 w 1366"/>
                <a:gd name="T15" fmla="*/ 2147483647 h 1117"/>
                <a:gd name="T16" fmla="*/ 2147483647 w 1366"/>
                <a:gd name="T17" fmla="*/ 2147483647 h 1117"/>
                <a:gd name="T18" fmla="*/ 2147483647 w 1366"/>
                <a:gd name="T19" fmla="*/ 2147483647 h 1117"/>
                <a:gd name="T20" fmla="*/ 2147483647 w 1366"/>
                <a:gd name="T21" fmla="*/ 2147483647 h 1117"/>
                <a:gd name="T22" fmla="*/ 2147483647 w 1366"/>
                <a:gd name="T23" fmla="*/ 2147483647 h 1117"/>
                <a:gd name="T24" fmla="*/ 2147483647 w 1366"/>
                <a:gd name="T25" fmla="*/ 2147483647 h 1117"/>
                <a:gd name="T26" fmla="*/ 2147483647 w 1366"/>
                <a:gd name="T27" fmla="*/ 2147483647 h 1117"/>
                <a:gd name="T28" fmla="*/ 2147483647 w 1366"/>
                <a:gd name="T29" fmla="*/ 2147483647 h 1117"/>
                <a:gd name="T30" fmla="*/ 2147483647 w 1366"/>
                <a:gd name="T31" fmla="*/ 2147483647 h 1117"/>
                <a:gd name="T32" fmla="*/ 2147483647 w 1366"/>
                <a:gd name="T33" fmla="*/ 2147483647 h 1117"/>
                <a:gd name="T34" fmla="*/ 2147483647 w 1366"/>
                <a:gd name="T35" fmla="*/ 2147483647 h 1117"/>
                <a:gd name="T36" fmla="*/ 2147483647 w 1366"/>
                <a:gd name="T37" fmla="*/ 2147483647 h 1117"/>
                <a:gd name="T38" fmla="*/ 2147483647 w 1366"/>
                <a:gd name="T39" fmla="*/ 2147483647 h 1117"/>
                <a:gd name="T40" fmla="*/ 2147483647 w 1366"/>
                <a:gd name="T41" fmla="*/ 2147483647 h 1117"/>
                <a:gd name="T42" fmla="*/ 2147483647 w 1366"/>
                <a:gd name="T43" fmla="*/ 0 h 1117"/>
                <a:gd name="T44" fmla="*/ 2147483647 w 1366"/>
                <a:gd name="T45" fmla="*/ 2147483647 h 1117"/>
                <a:gd name="T46" fmla="*/ 2147483647 w 1366"/>
                <a:gd name="T47" fmla="*/ 2147483647 h 1117"/>
                <a:gd name="T48" fmla="*/ 2147483647 w 1366"/>
                <a:gd name="T49" fmla="*/ 2147483647 h 1117"/>
                <a:gd name="T50" fmla="*/ 2147483647 w 1366"/>
                <a:gd name="T51" fmla="*/ 2147483647 h 1117"/>
                <a:gd name="T52" fmla="*/ 2147483647 w 1366"/>
                <a:gd name="T53" fmla="*/ 2147483647 h 1117"/>
                <a:gd name="T54" fmla="*/ 2147483647 w 1366"/>
                <a:gd name="T55" fmla="*/ 2147483647 h 1117"/>
                <a:gd name="T56" fmla="*/ 2147483647 w 1366"/>
                <a:gd name="T57" fmla="*/ 2147483647 h 1117"/>
                <a:gd name="T58" fmla="*/ 2147483647 w 1366"/>
                <a:gd name="T59" fmla="*/ 2147483647 h 1117"/>
                <a:gd name="T60" fmla="*/ 2147483647 w 1366"/>
                <a:gd name="T61" fmla="*/ 2147483647 h 1117"/>
                <a:gd name="T62" fmla="*/ 2147483647 w 1366"/>
                <a:gd name="T63" fmla="*/ 2147483647 h 1117"/>
                <a:gd name="T64" fmla="*/ 2147483647 w 1366"/>
                <a:gd name="T65" fmla="*/ 2147483647 h 1117"/>
                <a:gd name="T66" fmla="*/ 2147483647 w 1366"/>
                <a:gd name="T67" fmla="*/ 2147483647 h 1117"/>
                <a:gd name="T68" fmla="*/ 2147483647 w 1366"/>
                <a:gd name="T69" fmla="*/ 2147483647 h 1117"/>
                <a:gd name="T70" fmla="*/ 2147483647 w 1366"/>
                <a:gd name="T71" fmla="*/ 2147483647 h 1117"/>
                <a:gd name="T72" fmla="*/ 2147483647 w 1366"/>
                <a:gd name="T73" fmla="*/ 2147483647 h 1117"/>
                <a:gd name="T74" fmla="*/ 2147483647 w 1366"/>
                <a:gd name="T75" fmla="*/ 2147483647 h 1117"/>
                <a:gd name="T76" fmla="*/ 2147483647 w 1366"/>
                <a:gd name="T77" fmla="*/ 2147483647 h 1117"/>
                <a:gd name="T78" fmla="*/ 2147483647 w 1366"/>
                <a:gd name="T79" fmla="*/ 2147483647 h 1117"/>
                <a:gd name="T80" fmla="*/ 2147483647 w 1366"/>
                <a:gd name="T81" fmla="*/ 2147483647 h 1117"/>
                <a:gd name="T82" fmla="*/ 2147483647 w 1366"/>
                <a:gd name="T83" fmla="*/ 2147483647 h 1117"/>
                <a:gd name="T84" fmla="*/ 2147483647 w 1366"/>
                <a:gd name="T85" fmla="*/ 2147483647 h 1117"/>
                <a:gd name="T86" fmla="*/ 2147483647 w 1366"/>
                <a:gd name="T87" fmla="*/ 2147483647 h 1117"/>
                <a:gd name="T88" fmla="*/ 2147483647 w 1366"/>
                <a:gd name="T89" fmla="*/ 2147483647 h 1117"/>
                <a:gd name="T90" fmla="*/ 2147483647 w 1366"/>
                <a:gd name="T91" fmla="*/ 2147483647 h 1117"/>
                <a:gd name="T92" fmla="*/ 2147483647 w 1366"/>
                <a:gd name="T93" fmla="*/ 2147483647 h 1117"/>
                <a:gd name="T94" fmla="*/ 2147483647 w 1366"/>
                <a:gd name="T95" fmla="*/ 2147483647 h 1117"/>
                <a:gd name="T96" fmla="*/ 2147483647 w 1366"/>
                <a:gd name="T97" fmla="*/ 2147483647 h 1117"/>
                <a:gd name="T98" fmla="*/ 2147483647 w 1366"/>
                <a:gd name="T99" fmla="*/ 2147483647 h 1117"/>
                <a:gd name="T100" fmla="*/ 2147483647 w 1366"/>
                <a:gd name="T101" fmla="*/ 2147483647 h 1117"/>
                <a:gd name="T102" fmla="*/ 2147483647 w 1366"/>
                <a:gd name="T103" fmla="*/ 2147483647 h 1117"/>
                <a:gd name="T104" fmla="*/ 2147483647 w 1366"/>
                <a:gd name="T105" fmla="*/ 2147483647 h 1117"/>
                <a:gd name="T106" fmla="*/ 2147483647 w 1366"/>
                <a:gd name="T107" fmla="*/ 2147483647 h 1117"/>
                <a:gd name="T108" fmla="*/ 2147483647 w 1366"/>
                <a:gd name="T109" fmla="*/ 2147483647 h 1117"/>
                <a:gd name="T110" fmla="*/ 2147483647 w 1366"/>
                <a:gd name="T111" fmla="*/ 2147483647 h 1117"/>
                <a:gd name="T112" fmla="*/ 2147483647 w 1366"/>
                <a:gd name="T113" fmla="*/ 2147483647 h 1117"/>
                <a:gd name="T114" fmla="*/ 2147483647 w 1366"/>
                <a:gd name="T115" fmla="*/ 2147483647 h 1117"/>
                <a:gd name="T116" fmla="*/ 2147483647 w 1366"/>
                <a:gd name="T117" fmla="*/ 2147483647 h 1117"/>
                <a:gd name="T118" fmla="*/ 2147483647 w 1366"/>
                <a:gd name="T119" fmla="*/ 2147483647 h 111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366"/>
                <a:gd name="T181" fmla="*/ 0 h 1117"/>
                <a:gd name="T182" fmla="*/ 1366 w 1366"/>
                <a:gd name="T183" fmla="*/ 1117 h 111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366" h="1117">
                  <a:moveTo>
                    <a:pt x="17" y="448"/>
                  </a:moveTo>
                  <a:lnTo>
                    <a:pt x="23" y="442"/>
                  </a:lnTo>
                  <a:lnTo>
                    <a:pt x="28" y="442"/>
                  </a:lnTo>
                  <a:lnTo>
                    <a:pt x="34" y="437"/>
                  </a:lnTo>
                  <a:lnTo>
                    <a:pt x="34" y="431"/>
                  </a:lnTo>
                  <a:lnTo>
                    <a:pt x="34" y="425"/>
                  </a:lnTo>
                  <a:lnTo>
                    <a:pt x="34" y="420"/>
                  </a:lnTo>
                  <a:lnTo>
                    <a:pt x="34" y="414"/>
                  </a:lnTo>
                  <a:lnTo>
                    <a:pt x="28" y="414"/>
                  </a:lnTo>
                  <a:lnTo>
                    <a:pt x="23" y="414"/>
                  </a:lnTo>
                  <a:lnTo>
                    <a:pt x="17" y="403"/>
                  </a:lnTo>
                  <a:lnTo>
                    <a:pt x="11" y="403"/>
                  </a:lnTo>
                  <a:lnTo>
                    <a:pt x="6" y="391"/>
                  </a:lnTo>
                  <a:lnTo>
                    <a:pt x="0" y="380"/>
                  </a:lnTo>
                  <a:lnTo>
                    <a:pt x="11" y="363"/>
                  </a:lnTo>
                  <a:lnTo>
                    <a:pt x="11" y="352"/>
                  </a:lnTo>
                  <a:lnTo>
                    <a:pt x="17" y="346"/>
                  </a:lnTo>
                  <a:lnTo>
                    <a:pt x="17" y="340"/>
                  </a:lnTo>
                  <a:lnTo>
                    <a:pt x="23" y="340"/>
                  </a:lnTo>
                  <a:lnTo>
                    <a:pt x="23" y="329"/>
                  </a:lnTo>
                  <a:lnTo>
                    <a:pt x="17" y="329"/>
                  </a:lnTo>
                  <a:lnTo>
                    <a:pt x="23" y="329"/>
                  </a:lnTo>
                  <a:lnTo>
                    <a:pt x="23" y="323"/>
                  </a:lnTo>
                  <a:lnTo>
                    <a:pt x="34" y="323"/>
                  </a:lnTo>
                  <a:lnTo>
                    <a:pt x="40" y="317"/>
                  </a:lnTo>
                  <a:lnTo>
                    <a:pt x="51" y="323"/>
                  </a:lnTo>
                  <a:lnTo>
                    <a:pt x="57" y="323"/>
                  </a:lnTo>
                  <a:lnTo>
                    <a:pt x="62" y="329"/>
                  </a:lnTo>
                  <a:lnTo>
                    <a:pt x="68" y="329"/>
                  </a:lnTo>
                  <a:lnTo>
                    <a:pt x="68" y="334"/>
                  </a:lnTo>
                  <a:lnTo>
                    <a:pt x="74" y="334"/>
                  </a:lnTo>
                  <a:lnTo>
                    <a:pt x="79" y="323"/>
                  </a:lnTo>
                  <a:lnTo>
                    <a:pt x="79" y="317"/>
                  </a:lnTo>
                  <a:lnTo>
                    <a:pt x="79" y="312"/>
                  </a:lnTo>
                  <a:lnTo>
                    <a:pt x="79" y="306"/>
                  </a:lnTo>
                  <a:lnTo>
                    <a:pt x="79" y="300"/>
                  </a:lnTo>
                  <a:lnTo>
                    <a:pt x="85" y="289"/>
                  </a:lnTo>
                  <a:lnTo>
                    <a:pt x="91" y="278"/>
                  </a:lnTo>
                  <a:lnTo>
                    <a:pt x="96" y="272"/>
                  </a:lnTo>
                  <a:lnTo>
                    <a:pt x="96" y="266"/>
                  </a:lnTo>
                  <a:lnTo>
                    <a:pt x="96" y="261"/>
                  </a:lnTo>
                  <a:lnTo>
                    <a:pt x="96" y="249"/>
                  </a:lnTo>
                  <a:lnTo>
                    <a:pt x="96" y="244"/>
                  </a:lnTo>
                  <a:lnTo>
                    <a:pt x="96" y="238"/>
                  </a:lnTo>
                  <a:lnTo>
                    <a:pt x="96" y="232"/>
                  </a:lnTo>
                  <a:lnTo>
                    <a:pt x="96" y="227"/>
                  </a:lnTo>
                  <a:lnTo>
                    <a:pt x="91" y="227"/>
                  </a:lnTo>
                  <a:lnTo>
                    <a:pt x="85" y="221"/>
                  </a:lnTo>
                  <a:lnTo>
                    <a:pt x="79" y="215"/>
                  </a:lnTo>
                  <a:lnTo>
                    <a:pt x="74" y="210"/>
                  </a:lnTo>
                  <a:lnTo>
                    <a:pt x="74" y="204"/>
                  </a:lnTo>
                  <a:lnTo>
                    <a:pt x="68" y="198"/>
                  </a:lnTo>
                  <a:lnTo>
                    <a:pt x="68" y="193"/>
                  </a:lnTo>
                  <a:lnTo>
                    <a:pt x="62" y="193"/>
                  </a:lnTo>
                  <a:lnTo>
                    <a:pt x="62" y="187"/>
                  </a:lnTo>
                  <a:lnTo>
                    <a:pt x="62" y="181"/>
                  </a:lnTo>
                  <a:lnTo>
                    <a:pt x="62" y="176"/>
                  </a:lnTo>
                  <a:lnTo>
                    <a:pt x="68" y="164"/>
                  </a:lnTo>
                  <a:lnTo>
                    <a:pt x="68" y="159"/>
                  </a:lnTo>
                  <a:lnTo>
                    <a:pt x="68" y="153"/>
                  </a:lnTo>
                  <a:lnTo>
                    <a:pt x="68" y="147"/>
                  </a:lnTo>
                  <a:lnTo>
                    <a:pt x="68" y="142"/>
                  </a:lnTo>
                  <a:lnTo>
                    <a:pt x="68" y="136"/>
                  </a:lnTo>
                  <a:lnTo>
                    <a:pt x="62" y="125"/>
                  </a:lnTo>
                  <a:lnTo>
                    <a:pt x="62" y="119"/>
                  </a:lnTo>
                  <a:lnTo>
                    <a:pt x="57" y="113"/>
                  </a:lnTo>
                  <a:lnTo>
                    <a:pt x="51" y="113"/>
                  </a:lnTo>
                  <a:lnTo>
                    <a:pt x="51" y="108"/>
                  </a:lnTo>
                  <a:lnTo>
                    <a:pt x="51" y="102"/>
                  </a:lnTo>
                  <a:lnTo>
                    <a:pt x="51" y="96"/>
                  </a:lnTo>
                  <a:lnTo>
                    <a:pt x="51" y="91"/>
                  </a:lnTo>
                  <a:lnTo>
                    <a:pt x="62" y="85"/>
                  </a:lnTo>
                  <a:lnTo>
                    <a:pt x="68" y="91"/>
                  </a:lnTo>
                  <a:lnTo>
                    <a:pt x="68" y="96"/>
                  </a:lnTo>
                  <a:lnTo>
                    <a:pt x="74" y="96"/>
                  </a:lnTo>
                  <a:lnTo>
                    <a:pt x="79" y="96"/>
                  </a:lnTo>
                  <a:lnTo>
                    <a:pt x="79" y="102"/>
                  </a:lnTo>
                  <a:lnTo>
                    <a:pt x="85" y="102"/>
                  </a:lnTo>
                  <a:lnTo>
                    <a:pt x="85" y="108"/>
                  </a:lnTo>
                  <a:lnTo>
                    <a:pt x="91" y="108"/>
                  </a:lnTo>
                  <a:lnTo>
                    <a:pt x="96" y="108"/>
                  </a:lnTo>
                  <a:lnTo>
                    <a:pt x="102" y="108"/>
                  </a:lnTo>
                  <a:lnTo>
                    <a:pt x="102" y="113"/>
                  </a:lnTo>
                  <a:lnTo>
                    <a:pt x="108" y="113"/>
                  </a:lnTo>
                  <a:lnTo>
                    <a:pt x="113" y="113"/>
                  </a:lnTo>
                  <a:lnTo>
                    <a:pt x="113" y="119"/>
                  </a:lnTo>
                  <a:lnTo>
                    <a:pt x="125" y="125"/>
                  </a:lnTo>
                  <a:lnTo>
                    <a:pt x="136" y="130"/>
                  </a:lnTo>
                  <a:lnTo>
                    <a:pt x="153" y="130"/>
                  </a:lnTo>
                  <a:lnTo>
                    <a:pt x="159" y="130"/>
                  </a:lnTo>
                  <a:lnTo>
                    <a:pt x="164" y="130"/>
                  </a:lnTo>
                  <a:lnTo>
                    <a:pt x="170" y="130"/>
                  </a:lnTo>
                  <a:lnTo>
                    <a:pt x="181" y="130"/>
                  </a:lnTo>
                  <a:lnTo>
                    <a:pt x="187" y="130"/>
                  </a:lnTo>
                  <a:lnTo>
                    <a:pt x="193" y="125"/>
                  </a:lnTo>
                  <a:lnTo>
                    <a:pt x="198" y="125"/>
                  </a:lnTo>
                  <a:lnTo>
                    <a:pt x="204" y="119"/>
                  </a:lnTo>
                  <a:lnTo>
                    <a:pt x="210" y="119"/>
                  </a:lnTo>
                  <a:lnTo>
                    <a:pt x="215" y="119"/>
                  </a:lnTo>
                  <a:lnTo>
                    <a:pt x="221" y="119"/>
                  </a:lnTo>
                  <a:lnTo>
                    <a:pt x="221" y="125"/>
                  </a:lnTo>
                  <a:lnTo>
                    <a:pt x="227" y="125"/>
                  </a:lnTo>
                  <a:lnTo>
                    <a:pt x="232" y="125"/>
                  </a:lnTo>
                  <a:lnTo>
                    <a:pt x="238" y="125"/>
                  </a:lnTo>
                  <a:lnTo>
                    <a:pt x="244" y="125"/>
                  </a:lnTo>
                  <a:lnTo>
                    <a:pt x="244" y="130"/>
                  </a:lnTo>
                  <a:lnTo>
                    <a:pt x="249" y="130"/>
                  </a:lnTo>
                  <a:lnTo>
                    <a:pt x="255" y="136"/>
                  </a:lnTo>
                  <a:lnTo>
                    <a:pt x="255" y="142"/>
                  </a:lnTo>
                  <a:lnTo>
                    <a:pt x="261" y="142"/>
                  </a:lnTo>
                  <a:lnTo>
                    <a:pt x="266" y="142"/>
                  </a:lnTo>
                  <a:lnTo>
                    <a:pt x="266" y="147"/>
                  </a:lnTo>
                  <a:lnTo>
                    <a:pt x="266" y="153"/>
                  </a:lnTo>
                  <a:lnTo>
                    <a:pt x="272" y="153"/>
                  </a:lnTo>
                  <a:lnTo>
                    <a:pt x="272" y="159"/>
                  </a:lnTo>
                  <a:lnTo>
                    <a:pt x="278" y="159"/>
                  </a:lnTo>
                  <a:lnTo>
                    <a:pt x="283" y="164"/>
                  </a:lnTo>
                  <a:lnTo>
                    <a:pt x="289" y="164"/>
                  </a:lnTo>
                  <a:lnTo>
                    <a:pt x="295" y="170"/>
                  </a:lnTo>
                  <a:lnTo>
                    <a:pt x="300" y="170"/>
                  </a:lnTo>
                  <a:lnTo>
                    <a:pt x="300" y="176"/>
                  </a:lnTo>
                  <a:lnTo>
                    <a:pt x="312" y="176"/>
                  </a:lnTo>
                  <a:lnTo>
                    <a:pt x="317" y="176"/>
                  </a:lnTo>
                  <a:lnTo>
                    <a:pt x="323" y="176"/>
                  </a:lnTo>
                  <a:lnTo>
                    <a:pt x="323" y="181"/>
                  </a:lnTo>
                  <a:lnTo>
                    <a:pt x="329" y="181"/>
                  </a:lnTo>
                  <a:lnTo>
                    <a:pt x="334" y="181"/>
                  </a:lnTo>
                  <a:lnTo>
                    <a:pt x="340" y="181"/>
                  </a:lnTo>
                  <a:lnTo>
                    <a:pt x="346" y="181"/>
                  </a:lnTo>
                  <a:lnTo>
                    <a:pt x="351" y="181"/>
                  </a:lnTo>
                  <a:lnTo>
                    <a:pt x="357" y="181"/>
                  </a:lnTo>
                  <a:lnTo>
                    <a:pt x="363" y="181"/>
                  </a:lnTo>
                  <a:lnTo>
                    <a:pt x="368" y="176"/>
                  </a:lnTo>
                  <a:lnTo>
                    <a:pt x="368" y="170"/>
                  </a:lnTo>
                  <a:lnTo>
                    <a:pt x="374" y="170"/>
                  </a:lnTo>
                  <a:lnTo>
                    <a:pt x="380" y="170"/>
                  </a:lnTo>
                  <a:lnTo>
                    <a:pt x="380" y="164"/>
                  </a:lnTo>
                  <a:lnTo>
                    <a:pt x="385" y="164"/>
                  </a:lnTo>
                  <a:lnTo>
                    <a:pt x="397" y="164"/>
                  </a:lnTo>
                  <a:lnTo>
                    <a:pt x="402" y="164"/>
                  </a:lnTo>
                  <a:lnTo>
                    <a:pt x="408" y="164"/>
                  </a:lnTo>
                  <a:lnTo>
                    <a:pt x="408" y="170"/>
                  </a:lnTo>
                  <a:lnTo>
                    <a:pt x="408" y="176"/>
                  </a:lnTo>
                  <a:lnTo>
                    <a:pt x="408" y="181"/>
                  </a:lnTo>
                  <a:lnTo>
                    <a:pt x="408" y="187"/>
                  </a:lnTo>
                  <a:lnTo>
                    <a:pt x="408" y="204"/>
                  </a:lnTo>
                  <a:lnTo>
                    <a:pt x="408" y="221"/>
                  </a:lnTo>
                  <a:lnTo>
                    <a:pt x="408" y="232"/>
                  </a:lnTo>
                  <a:lnTo>
                    <a:pt x="402" y="232"/>
                  </a:lnTo>
                  <a:lnTo>
                    <a:pt x="402" y="238"/>
                  </a:lnTo>
                  <a:lnTo>
                    <a:pt x="397" y="238"/>
                  </a:lnTo>
                  <a:lnTo>
                    <a:pt x="397" y="244"/>
                  </a:lnTo>
                  <a:lnTo>
                    <a:pt x="397" y="249"/>
                  </a:lnTo>
                  <a:lnTo>
                    <a:pt x="391" y="249"/>
                  </a:lnTo>
                  <a:lnTo>
                    <a:pt x="385" y="255"/>
                  </a:lnTo>
                  <a:lnTo>
                    <a:pt x="385" y="261"/>
                  </a:lnTo>
                  <a:lnTo>
                    <a:pt x="380" y="261"/>
                  </a:lnTo>
                  <a:lnTo>
                    <a:pt x="374" y="261"/>
                  </a:lnTo>
                  <a:lnTo>
                    <a:pt x="368" y="266"/>
                  </a:lnTo>
                  <a:lnTo>
                    <a:pt x="363" y="266"/>
                  </a:lnTo>
                  <a:lnTo>
                    <a:pt x="357" y="272"/>
                  </a:lnTo>
                  <a:lnTo>
                    <a:pt x="351" y="278"/>
                  </a:lnTo>
                  <a:lnTo>
                    <a:pt x="346" y="278"/>
                  </a:lnTo>
                  <a:lnTo>
                    <a:pt x="346" y="283"/>
                  </a:lnTo>
                  <a:lnTo>
                    <a:pt x="340" y="283"/>
                  </a:lnTo>
                  <a:lnTo>
                    <a:pt x="340" y="289"/>
                  </a:lnTo>
                  <a:lnTo>
                    <a:pt x="334" y="295"/>
                  </a:lnTo>
                  <a:lnTo>
                    <a:pt x="329" y="295"/>
                  </a:lnTo>
                  <a:lnTo>
                    <a:pt x="329" y="300"/>
                  </a:lnTo>
                  <a:lnTo>
                    <a:pt x="329" y="306"/>
                  </a:lnTo>
                  <a:lnTo>
                    <a:pt x="329" y="312"/>
                  </a:lnTo>
                  <a:lnTo>
                    <a:pt x="323" y="323"/>
                  </a:lnTo>
                  <a:lnTo>
                    <a:pt x="323" y="329"/>
                  </a:lnTo>
                  <a:lnTo>
                    <a:pt x="323" y="340"/>
                  </a:lnTo>
                  <a:lnTo>
                    <a:pt x="323" y="346"/>
                  </a:lnTo>
                  <a:lnTo>
                    <a:pt x="323" y="352"/>
                  </a:lnTo>
                  <a:lnTo>
                    <a:pt x="329" y="357"/>
                  </a:lnTo>
                  <a:lnTo>
                    <a:pt x="329" y="363"/>
                  </a:lnTo>
                  <a:lnTo>
                    <a:pt x="329" y="369"/>
                  </a:lnTo>
                  <a:lnTo>
                    <a:pt x="329" y="374"/>
                  </a:lnTo>
                  <a:lnTo>
                    <a:pt x="334" y="374"/>
                  </a:lnTo>
                  <a:lnTo>
                    <a:pt x="340" y="380"/>
                  </a:lnTo>
                  <a:lnTo>
                    <a:pt x="340" y="386"/>
                  </a:lnTo>
                  <a:lnTo>
                    <a:pt x="346" y="386"/>
                  </a:lnTo>
                  <a:lnTo>
                    <a:pt x="351" y="391"/>
                  </a:lnTo>
                  <a:lnTo>
                    <a:pt x="351" y="397"/>
                  </a:lnTo>
                  <a:lnTo>
                    <a:pt x="351" y="403"/>
                  </a:lnTo>
                  <a:lnTo>
                    <a:pt x="351" y="408"/>
                  </a:lnTo>
                  <a:lnTo>
                    <a:pt x="351" y="414"/>
                  </a:lnTo>
                  <a:lnTo>
                    <a:pt x="351" y="420"/>
                  </a:lnTo>
                  <a:lnTo>
                    <a:pt x="351" y="425"/>
                  </a:lnTo>
                  <a:lnTo>
                    <a:pt x="357" y="431"/>
                  </a:lnTo>
                  <a:lnTo>
                    <a:pt x="368" y="431"/>
                  </a:lnTo>
                  <a:lnTo>
                    <a:pt x="374" y="431"/>
                  </a:lnTo>
                  <a:lnTo>
                    <a:pt x="380" y="431"/>
                  </a:lnTo>
                  <a:lnTo>
                    <a:pt x="385" y="431"/>
                  </a:lnTo>
                  <a:lnTo>
                    <a:pt x="391" y="425"/>
                  </a:lnTo>
                  <a:lnTo>
                    <a:pt x="397" y="425"/>
                  </a:lnTo>
                  <a:lnTo>
                    <a:pt x="397" y="420"/>
                  </a:lnTo>
                  <a:lnTo>
                    <a:pt x="397" y="414"/>
                  </a:lnTo>
                  <a:lnTo>
                    <a:pt x="397" y="403"/>
                  </a:lnTo>
                  <a:lnTo>
                    <a:pt x="397" y="397"/>
                  </a:lnTo>
                  <a:lnTo>
                    <a:pt x="397" y="391"/>
                  </a:lnTo>
                  <a:lnTo>
                    <a:pt x="397" y="386"/>
                  </a:lnTo>
                  <a:lnTo>
                    <a:pt x="402" y="386"/>
                  </a:lnTo>
                  <a:lnTo>
                    <a:pt x="402" y="380"/>
                  </a:lnTo>
                  <a:lnTo>
                    <a:pt x="408" y="380"/>
                  </a:lnTo>
                  <a:lnTo>
                    <a:pt x="414" y="380"/>
                  </a:lnTo>
                  <a:lnTo>
                    <a:pt x="431" y="386"/>
                  </a:lnTo>
                  <a:lnTo>
                    <a:pt x="436" y="386"/>
                  </a:lnTo>
                  <a:lnTo>
                    <a:pt x="442" y="386"/>
                  </a:lnTo>
                  <a:lnTo>
                    <a:pt x="448" y="386"/>
                  </a:lnTo>
                  <a:lnTo>
                    <a:pt x="453" y="386"/>
                  </a:lnTo>
                  <a:lnTo>
                    <a:pt x="459" y="386"/>
                  </a:lnTo>
                  <a:lnTo>
                    <a:pt x="465" y="386"/>
                  </a:lnTo>
                  <a:lnTo>
                    <a:pt x="471" y="386"/>
                  </a:lnTo>
                  <a:lnTo>
                    <a:pt x="471" y="380"/>
                  </a:lnTo>
                  <a:lnTo>
                    <a:pt x="476" y="380"/>
                  </a:lnTo>
                  <a:lnTo>
                    <a:pt x="482" y="374"/>
                  </a:lnTo>
                  <a:lnTo>
                    <a:pt x="482" y="369"/>
                  </a:lnTo>
                  <a:lnTo>
                    <a:pt x="482" y="363"/>
                  </a:lnTo>
                  <a:lnTo>
                    <a:pt x="482" y="357"/>
                  </a:lnTo>
                  <a:lnTo>
                    <a:pt x="482" y="352"/>
                  </a:lnTo>
                  <a:lnTo>
                    <a:pt x="482" y="346"/>
                  </a:lnTo>
                  <a:lnTo>
                    <a:pt x="476" y="346"/>
                  </a:lnTo>
                  <a:lnTo>
                    <a:pt x="471" y="340"/>
                  </a:lnTo>
                  <a:lnTo>
                    <a:pt x="471" y="329"/>
                  </a:lnTo>
                  <a:lnTo>
                    <a:pt x="471" y="323"/>
                  </a:lnTo>
                  <a:lnTo>
                    <a:pt x="465" y="323"/>
                  </a:lnTo>
                  <a:lnTo>
                    <a:pt x="465" y="317"/>
                  </a:lnTo>
                  <a:lnTo>
                    <a:pt x="459" y="317"/>
                  </a:lnTo>
                  <a:lnTo>
                    <a:pt x="453" y="317"/>
                  </a:lnTo>
                  <a:lnTo>
                    <a:pt x="453" y="312"/>
                  </a:lnTo>
                  <a:lnTo>
                    <a:pt x="453" y="306"/>
                  </a:lnTo>
                  <a:lnTo>
                    <a:pt x="453" y="300"/>
                  </a:lnTo>
                  <a:lnTo>
                    <a:pt x="453" y="289"/>
                  </a:lnTo>
                  <a:lnTo>
                    <a:pt x="453" y="278"/>
                  </a:lnTo>
                  <a:lnTo>
                    <a:pt x="453" y="266"/>
                  </a:lnTo>
                  <a:lnTo>
                    <a:pt x="453" y="261"/>
                  </a:lnTo>
                  <a:lnTo>
                    <a:pt x="448" y="255"/>
                  </a:lnTo>
                  <a:lnTo>
                    <a:pt x="442" y="244"/>
                  </a:lnTo>
                  <a:lnTo>
                    <a:pt x="442" y="232"/>
                  </a:lnTo>
                  <a:lnTo>
                    <a:pt x="442" y="221"/>
                  </a:lnTo>
                  <a:lnTo>
                    <a:pt x="442" y="215"/>
                  </a:lnTo>
                  <a:lnTo>
                    <a:pt x="448" y="215"/>
                  </a:lnTo>
                  <a:lnTo>
                    <a:pt x="453" y="221"/>
                  </a:lnTo>
                  <a:lnTo>
                    <a:pt x="459" y="221"/>
                  </a:lnTo>
                  <a:lnTo>
                    <a:pt x="465" y="221"/>
                  </a:lnTo>
                  <a:lnTo>
                    <a:pt x="471" y="227"/>
                  </a:lnTo>
                  <a:lnTo>
                    <a:pt x="482" y="227"/>
                  </a:lnTo>
                  <a:lnTo>
                    <a:pt x="493" y="221"/>
                  </a:lnTo>
                  <a:lnTo>
                    <a:pt x="505" y="221"/>
                  </a:lnTo>
                  <a:lnTo>
                    <a:pt x="510" y="221"/>
                  </a:lnTo>
                  <a:lnTo>
                    <a:pt x="510" y="215"/>
                  </a:lnTo>
                  <a:lnTo>
                    <a:pt x="516" y="215"/>
                  </a:lnTo>
                  <a:lnTo>
                    <a:pt x="522" y="210"/>
                  </a:lnTo>
                  <a:lnTo>
                    <a:pt x="527" y="210"/>
                  </a:lnTo>
                  <a:lnTo>
                    <a:pt x="539" y="210"/>
                  </a:lnTo>
                  <a:lnTo>
                    <a:pt x="550" y="204"/>
                  </a:lnTo>
                  <a:lnTo>
                    <a:pt x="550" y="198"/>
                  </a:lnTo>
                  <a:lnTo>
                    <a:pt x="556" y="198"/>
                  </a:lnTo>
                  <a:lnTo>
                    <a:pt x="556" y="193"/>
                  </a:lnTo>
                  <a:lnTo>
                    <a:pt x="556" y="187"/>
                  </a:lnTo>
                  <a:lnTo>
                    <a:pt x="550" y="181"/>
                  </a:lnTo>
                  <a:lnTo>
                    <a:pt x="544" y="181"/>
                  </a:lnTo>
                  <a:lnTo>
                    <a:pt x="539" y="181"/>
                  </a:lnTo>
                  <a:lnTo>
                    <a:pt x="539" y="176"/>
                  </a:lnTo>
                  <a:lnTo>
                    <a:pt x="533" y="176"/>
                  </a:lnTo>
                  <a:lnTo>
                    <a:pt x="527" y="176"/>
                  </a:lnTo>
                  <a:lnTo>
                    <a:pt x="527" y="170"/>
                  </a:lnTo>
                  <a:lnTo>
                    <a:pt x="522" y="170"/>
                  </a:lnTo>
                  <a:lnTo>
                    <a:pt x="522" y="164"/>
                  </a:lnTo>
                  <a:lnTo>
                    <a:pt x="527" y="164"/>
                  </a:lnTo>
                  <a:lnTo>
                    <a:pt x="533" y="164"/>
                  </a:lnTo>
                  <a:lnTo>
                    <a:pt x="533" y="153"/>
                  </a:lnTo>
                  <a:lnTo>
                    <a:pt x="539" y="147"/>
                  </a:lnTo>
                  <a:lnTo>
                    <a:pt x="539" y="142"/>
                  </a:lnTo>
                  <a:lnTo>
                    <a:pt x="539" y="136"/>
                  </a:lnTo>
                  <a:lnTo>
                    <a:pt x="533" y="125"/>
                  </a:lnTo>
                  <a:lnTo>
                    <a:pt x="533" y="113"/>
                  </a:lnTo>
                  <a:lnTo>
                    <a:pt x="533" y="108"/>
                  </a:lnTo>
                  <a:lnTo>
                    <a:pt x="527" y="108"/>
                  </a:lnTo>
                  <a:lnTo>
                    <a:pt x="527" y="102"/>
                  </a:lnTo>
                  <a:lnTo>
                    <a:pt x="522" y="102"/>
                  </a:lnTo>
                  <a:lnTo>
                    <a:pt x="522" y="96"/>
                  </a:lnTo>
                  <a:lnTo>
                    <a:pt x="516" y="96"/>
                  </a:lnTo>
                  <a:lnTo>
                    <a:pt x="505" y="96"/>
                  </a:lnTo>
                  <a:lnTo>
                    <a:pt x="493" y="96"/>
                  </a:lnTo>
                  <a:lnTo>
                    <a:pt x="488" y="96"/>
                  </a:lnTo>
                  <a:lnTo>
                    <a:pt x="482" y="96"/>
                  </a:lnTo>
                  <a:lnTo>
                    <a:pt x="482" y="91"/>
                  </a:lnTo>
                  <a:lnTo>
                    <a:pt x="476" y="85"/>
                  </a:lnTo>
                  <a:lnTo>
                    <a:pt x="471" y="79"/>
                  </a:lnTo>
                  <a:lnTo>
                    <a:pt x="465" y="79"/>
                  </a:lnTo>
                  <a:lnTo>
                    <a:pt x="459" y="79"/>
                  </a:lnTo>
                  <a:lnTo>
                    <a:pt x="453" y="74"/>
                  </a:lnTo>
                  <a:lnTo>
                    <a:pt x="448" y="68"/>
                  </a:lnTo>
                  <a:lnTo>
                    <a:pt x="442" y="68"/>
                  </a:lnTo>
                  <a:lnTo>
                    <a:pt x="436" y="62"/>
                  </a:lnTo>
                  <a:lnTo>
                    <a:pt x="436" y="57"/>
                  </a:lnTo>
                  <a:lnTo>
                    <a:pt x="425" y="57"/>
                  </a:lnTo>
                  <a:lnTo>
                    <a:pt x="425" y="51"/>
                  </a:lnTo>
                  <a:lnTo>
                    <a:pt x="419" y="51"/>
                  </a:lnTo>
                  <a:lnTo>
                    <a:pt x="419" y="45"/>
                  </a:lnTo>
                  <a:lnTo>
                    <a:pt x="419" y="40"/>
                  </a:lnTo>
                  <a:lnTo>
                    <a:pt x="419" y="34"/>
                  </a:lnTo>
                  <a:lnTo>
                    <a:pt x="425" y="34"/>
                  </a:lnTo>
                  <a:lnTo>
                    <a:pt x="431" y="28"/>
                  </a:lnTo>
                  <a:lnTo>
                    <a:pt x="436" y="28"/>
                  </a:lnTo>
                  <a:lnTo>
                    <a:pt x="442" y="28"/>
                  </a:lnTo>
                  <a:lnTo>
                    <a:pt x="442" y="23"/>
                  </a:lnTo>
                  <a:lnTo>
                    <a:pt x="448" y="23"/>
                  </a:lnTo>
                  <a:lnTo>
                    <a:pt x="448" y="17"/>
                  </a:lnTo>
                  <a:lnTo>
                    <a:pt x="453" y="17"/>
                  </a:lnTo>
                  <a:lnTo>
                    <a:pt x="459" y="17"/>
                  </a:lnTo>
                  <a:lnTo>
                    <a:pt x="465" y="17"/>
                  </a:lnTo>
                  <a:lnTo>
                    <a:pt x="465" y="11"/>
                  </a:lnTo>
                  <a:lnTo>
                    <a:pt x="476" y="11"/>
                  </a:lnTo>
                  <a:lnTo>
                    <a:pt x="505" y="11"/>
                  </a:lnTo>
                  <a:lnTo>
                    <a:pt x="510" y="6"/>
                  </a:lnTo>
                  <a:lnTo>
                    <a:pt x="522" y="6"/>
                  </a:lnTo>
                  <a:lnTo>
                    <a:pt x="533" y="0"/>
                  </a:lnTo>
                  <a:lnTo>
                    <a:pt x="539" y="0"/>
                  </a:lnTo>
                  <a:lnTo>
                    <a:pt x="561" y="0"/>
                  </a:lnTo>
                  <a:lnTo>
                    <a:pt x="573" y="0"/>
                  </a:lnTo>
                  <a:lnTo>
                    <a:pt x="578" y="0"/>
                  </a:lnTo>
                  <a:lnTo>
                    <a:pt x="584" y="0"/>
                  </a:lnTo>
                  <a:lnTo>
                    <a:pt x="590" y="0"/>
                  </a:lnTo>
                  <a:lnTo>
                    <a:pt x="601" y="0"/>
                  </a:lnTo>
                  <a:lnTo>
                    <a:pt x="607" y="0"/>
                  </a:lnTo>
                  <a:lnTo>
                    <a:pt x="612" y="6"/>
                  </a:lnTo>
                  <a:lnTo>
                    <a:pt x="618" y="6"/>
                  </a:lnTo>
                  <a:lnTo>
                    <a:pt x="624" y="11"/>
                  </a:lnTo>
                  <a:lnTo>
                    <a:pt x="624" y="17"/>
                  </a:lnTo>
                  <a:lnTo>
                    <a:pt x="629" y="17"/>
                  </a:lnTo>
                  <a:lnTo>
                    <a:pt x="635" y="28"/>
                  </a:lnTo>
                  <a:lnTo>
                    <a:pt x="635" y="34"/>
                  </a:lnTo>
                  <a:lnTo>
                    <a:pt x="635" y="40"/>
                  </a:lnTo>
                  <a:lnTo>
                    <a:pt x="635" y="45"/>
                  </a:lnTo>
                  <a:lnTo>
                    <a:pt x="641" y="51"/>
                  </a:lnTo>
                  <a:lnTo>
                    <a:pt x="641" y="57"/>
                  </a:lnTo>
                  <a:lnTo>
                    <a:pt x="646" y="68"/>
                  </a:lnTo>
                  <a:lnTo>
                    <a:pt x="646" y="79"/>
                  </a:lnTo>
                  <a:lnTo>
                    <a:pt x="646" y="91"/>
                  </a:lnTo>
                  <a:lnTo>
                    <a:pt x="652" y="96"/>
                  </a:lnTo>
                  <a:lnTo>
                    <a:pt x="652" y="108"/>
                  </a:lnTo>
                  <a:lnTo>
                    <a:pt x="663" y="113"/>
                  </a:lnTo>
                  <a:lnTo>
                    <a:pt x="663" y="119"/>
                  </a:lnTo>
                  <a:lnTo>
                    <a:pt x="669" y="119"/>
                  </a:lnTo>
                  <a:lnTo>
                    <a:pt x="675" y="125"/>
                  </a:lnTo>
                  <a:lnTo>
                    <a:pt x="680" y="125"/>
                  </a:lnTo>
                  <a:lnTo>
                    <a:pt x="686" y="125"/>
                  </a:lnTo>
                  <a:lnTo>
                    <a:pt x="686" y="130"/>
                  </a:lnTo>
                  <a:lnTo>
                    <a:pt x="692" y="130"/>
                  </a:lnTo>
                  <a:lnTo>
                    <a:pt x="703" y="136"/>
                  </a:lnTo>
                  <a:lnTo>
                    <a:pt x="714" y="136"/>
                  </a:lnTo>
                  <a:lnTo>
                    <a:pt x="726" y="136"/>
                  </a:lnTo>
                  <a:lnTo>
                    <a:pt x="743" y="136"/>
                  </a:lnTo>
                  <a:lnTo>
                    <a:pt x="760" y="136"/>
                  </a:lnTo>
                  <a:lnTo>
                    <a:pt x="765" y="136"/>
                  </a:lnTo>
                  <a:lnTo>
                    <a:pt x="777" y="136"/>
                  </a:lnTo>
                  <a:lnTo>
                    <a:pt x="782" y="136"/>
                  </a:lnTo>
                  <a:lnTo>
                    <a:pt x="799" y="130"/>
                  </a:lnTo>
                  <a:lnTo>
                    <a:pt x="816" y="125"/>
                  </a:lnTo>
                  <a:lnTo>
                    <a:pt x="822" y="125"/>
                  </a:lnTo>
                  <a:lnTo>
                    <a:pt x="828" y="119"/>
                  </a:lnTo>
                  <a:lnTo>
                    <a:pt x="833" y="119"/>
                  </a:lnTo>
                  <a:lnTo>
                    <a:pt x="833" y="113"/>
                  </a:lnTo>
                  <a:lnTo>
                    <a:pt x="839" y="113"/>
                  </a:lnTo>
                  <a:lnTo>
                    <a:pt x="845" y="113"/>
                  </a:lnTo>
                  <a:lnTo>
                    <a:pt x="845" y="108"/>
                  </a:lnTo>
                  <a:lnTo>
                    <a:pt x="850" y="108"/>
                  </a:lnTo>
                  <a:lnTo>
                    <a:pt x="856" y="102"/>
                  </a:lnTo>
                  <a:lnTo>
                    <a:pt x="862" y="96"/>
                  </a:lnTo>
                  <a:lnTo>
                    <a:pt x="867" y="96"/>
                  </a:lnTo>
                  <a:lnTo>
                    <a:pt x="867" y="91"/>
                  </a:lnTo>
                  <a:lnTo>
                    <a:pt x="873" y="91"/>
                  </a:lnTo>
                  <a:lnTo>
                    <a:pt x="879" y="91"/>
                  </a:lnTo>
                  <a:lnTo>
                    <a:pt x="879" y="96"/>
                  </a:lnTo>
                  <a:lnTo>
                    <a:pt x="890" y="108"/>
                  </a:lnTo>
                  <a:lnTo>
                    <a:pt x="890" y="113"/>
                  </a:lnTo>
                  <a:lnTo>
                    <a:pt x="896" y="113"/>
                  </a:lnTo>
                  <a:lnTo>
                    <a:pt x="896" y="119"/>
                  </a:lnTo>
                  <a:lnTo>
                    <a:pt x="901" y="125"/>
                  </a:lnTo>
                  <a:lnTo>
                    <a:pt x="901" y="130"/>
                  </a:lnTo>
                  <a:lnTo>
                    <a:pt x="901" y="136"/>
                  </a:lnTo>
                  <a:lnTo>
                    <a:pt x="907" y="136"/>
                  </a:lnTo>
                  <a:lnTo>
                    <a:pt x="907" y="142"/>
                  </a:lnTo>
                  <a:lnTo>
                    <a:pt x="913" y="142"/>
                  </a:lnTo>
                  <a:lnTo>
                    <a:pt x="918" y="147"/>
                  </a:lnTo>
                  <a:lnTo>
                    <a:pt x="918" y="153"/>
                  </a:lnTo>
                  <a:lnTo>
                    <a:pt x="918" y="159"/>
                  </a:lnTo>
                  <a:lnTo>
                    <a:pt x="924" y="164"/>
                  </a:lnTo>
                  <a:lnTo>
                    <a:pt x="924" y="170"/>
                  </a:lnTo>
                  <a:lnTo>
                    <a:pt x="930" y="176"/>
                  </a:lnTo>
                  <a:lnTo>
                    <a:pt x="924" y="176"/>
                  </a:lnTo>
                  <a:lnTo>
                    <a:pt x="918" y="181"/>
                  </a:lnTo>
                  <a:lnTo>
                    <a:pt x="918" y="187"/>
                  </a:lnTo>
                  <a:lnTo>
                    <a:pt x="913" y="193"/>
                  </a:lnTo>
                  <a:lnTo>
                    <a:pt x="907" y="198"/>
                  </a:lnTo>
                  <a:lnTo>
                    <a:pt x="907" y="204"/>
                  </a:lnTo>
                  <a:lnTo>
                    <a:pt x="907" y="210"/>
                  </a:lnTo>
                  <a:lnTo>
                    <a:pt x="907" y="215"/>
                  </a:lnTo>
                  <a:lnTo>
                    <a:pt x="907" y="221"/>
                  </a:lnTo>
                  <a:lnTo>
                    <a:pt x="901" y="227"/>
                  </a:lnTo>
                  <a:lnTo>
                    <a:pt x="901" y="232"/>
                  </a:lnTo>
                  <a:lnTo>
                    <a:pt x="901" y="238"/>
                  </a:lnTo>
                  <a:lnTo>
                    <a:pt x="907" y="238"/>
                  </a:lnTo>
                  <a:lnTo>
                    <a:pt x="907" y="244"/>
                  </a:lnTo>
                  <a:lnTo>
                    <a:pt x="907" y="249"/>
                  </a:lnTo>
                  <a:lnTo>
                    <a:pt x="913" y="249"/>
                  </a:lnTo>
                  <a:lnTo>
                    <a:pt x="913" y="261"/>
                  </a:lnTo>
                  <a:lnTo>
                    <a:pt x="907" y="261"/>
                  </a:lnTo>
                  <a:lnTo>
                    <a:pt x="907" y="266"/>
                  </a:lnTo>
                  <a:lnTo>
                    <a:pt x="913" y="278"/>
                  </a:lnTo>
                  <a:lnTo>
                    <a:pt x="913" y="283"/>
                  </a:lnTo>
                  <a:lnTo>
                    <a:pt x="907" y="283"/>
                  </a:lnTo>
                  <a:lnTo>
                    <a:pt x="907" y="289"/>
                  </a:lnTo>
                  <a:lnTo>
                    <a:pt x="901" y="295"/>
                  </a:lnTo>
                  <a:lnTo>
                    <a:pt x="901" y="300"/>
                  </a:lnTo>
                  <a:lnTo>
                    <a:pt x="901" y="306"/>
                  </a:lnTo>
                  <a:lnTo>
                    <a:pt x="901" y="312"/>
                  </a:lnTo>
                  <a:lnTo>
                    <a:pt x="901" y="317"/>
                  </a:lnTo>
                  <a:lnTo>
                    <a:pt x="901" y="323"/>
                  </a:lnTo>
                  <a:lnTo>
                    <a:pt x="907" y="323"/>
                  </a:lnTo>
                  <a:lnTo>
                    <a:pt x="913" y="323"/>
                  </a:lnTo>
                  <a:lnTo>
                    <a:pt x="913" y="329"/>
                  </a:lnTo>
                  <a:lnTo>
                    <a:pt x="918" y="329"/>
                  </a:lnTo>
                  <a:lnTo>
                    <a:pt x="918" y="334"/>
                  </a:lnTo>
                  <a:lnTo>
                    <a:pt x="918" y="340"/>
                  </a:lnTo>
                  <a:lnTo>
                    <a:pt x="918" y="346"/>
                  </a:lnTo>
                  <a:lnTo>
                    <a:pt x="918" y="352"/>
                  </a:lnTo>
                  <a:lnTo>
                    <a:pt x="924" y="352"/>
                  </a:lnTo>
                  <a:lnTo>
                    <a:pt x="930" y="352"/>
                  </a:lnTo>
                  <a:lnTo>
                    <a:pt x="935" y="352"/>
                  </a:lnTo>
                  <a:lnTo>
                    <a:pt x="941" y="352"/>
                  </a:lnTo>
                  <a:lnTo>
                    <a:pt x="947" y="352"/>
                  </a:lnTo>
                  <a:lnTo>
                    <a:pt x="947" y="346"/>
                  </a:lnTo>
                  <a:lnTo>
                    <a:pt x="952" y="346"/>
                  </a:lnTo>
                  <a:lnTo>
                    <a:pt x="958" y="334"/>
                  </a:lnTo>
                  <a:lnTo>
                    <a:pt x="958" y="329"/>
                  </a:lnTo>
                  <a:lnTo>
                    <a:pt x="964" y="329"/>
                  </a:lnTo>
                  <a:lnTo>
                    <a:pt x="964" y="323"/>
                  </a:lnTo>
                  <a:lnTo>
                    <a:pt x="964" y="317"/>
                  </a:lnTo>
                  <a:lnTo>
                    <a:pt x="969" y="317"/>
                  </a:lnTo>
                  <a:lnTo>
                    <a:pt x="975" y="317"/>
                  </a:lnTo>
                  <a:lnTo>
                    <a:pt x="975" y="312"/>
                  </a:lnTo>
                  <a:lnTo>
                    <a:pt x="981" y="312"/>
                  </a:lnTo>
                  <a:lnTo>
                    <a:pt x="981" y="306"/>
                  </a:lnTo>
                  <a:lnTo>
                    <a:pt x="986" y="306"/>
                  </a:lnTo>
                  <a:lnTo>
                    <a:pt x="992" y="306"/>
                  </a:lnTo>
                  <a:lnTo>
                    <a:pt x="992" y="300"/>
                  </a:lnTo>
                  <a:lnTo>
                    <a:pt x="992" y="295"/>
                  </a:lnTo>
                  <a:lnTo>
                    <a:pt x="998" y="295"/>
                  </a:lnTo>
                  <a:lnTo>
                    <a:pt x="1009" y="289"/>
                  </a:lnTo>
                  <a:lnTo>
                    <a:pt x="1009" y="283"/>
                  </a:lnTo>
                  <a:lnTo>
                    <a:pt x="1015" y="283"/>
                  </a:lnTo>
                  <a:lnTo>
                    <a:pt x="1015" y="278"/>
                  </a:lnTo>
                  <a:lnTo>
                    <a:pt x="1020" y="278"/>
                  </a:lnTo>
                  <a:lnTo>
                    <a:pt x="1026" y="278"/>
                  </a:lnTo>
                  <a:lnTo>
                    <a:pt x="1026" y="272"/>
                  </a:lnTo>
                  <a:lnTo>
                    <a:pt x="1032" y="272"/>
                  </a:lnTo>
                  <a:lnTo>
                    <a:pt x="1032" y="266"/>
                  </a:lnTo>
                  <a:lnTo>
                    <a:pt x="1037" y="266"/>
                  </a:lnTo>
                  <a:lnTo>
                    <a:pt x="1043" y="266"/>
                  </a:lnTo>
                  <a:lnTo>
                    <a:pt x="1043" y="272"/>
                  </a:lnTo>
                  <a:lnTo>
                    <a:pt x="1049" y="272"/>
                  </a:lnTo>
                  <a:lnTo>
                    <a:pt x="1049" y="278"/>
                  </a:lnTo>
                  <a:lnTo>
                    <a:pt x="1049" y="283"/>
                  </a:lnTo>
                  <a:lnTo>
                    <a:pt x="1054" y="289"/>
                  </a:lnTo>
                  <a:lnTo>
                    <a:pt x="1060" y="295"/>
                  </a:lnTo>
                  <a:lnTo>
                    <a:pt x="1066" y="289"/>
                  </a:lnTo>
                  <a:lnTo>
                    <a:pt x="1071" y="289"/>
                  </a:lnTo>
                  <a:lnTo>
                    <a:pt x="1077" y="289"/>
                  </a:lnTo>
                  <a:lnTo>
                    <a:pt x="1083" y="289"/>
                  </a:lnTo>
                  <a:lnTo>
                    <a:pt x="1083" y="283"/>
                  </a:lnTo>
                  <a:lnTo>
                    <a:pt x="1088" y="283"/>
                  </a:lnTo>
                  <a:lnTo>
                    <a:pt x="1100" y="283"/>
                  </a:lnTo>
                  <a:lnTo>
                    <a:pt x="1100" y="278"/>
                  </a:lnTo>
                  <a:lnTo>
                    <a:pt x="1111" y="278"/>
                  </a:lnTo>
                  <a:lnTo>
                    <a:pt x="1128" y="278"/>
                  </a:lnTo>
                  <a:lnTo>
                    <a:pt x="1128" y="272"/>
                  </a:lnTo>
                  <a:lnTo>
                    <a:pt x="1122" y="266"/>
                  </a:lnTo>
                  <a:lnTo>
                    <a:pt x="1117" y="266"/>
                  </a:lnTo>
                  <a:lnTo>
                    <a:pt x="1117" y="261"/>
                  </a:lnTo>
                  <a:lnTo>
                    <a:pt x="1122" y="261"/>
                  </a:lnTo>
                  <a:lnTo>
                    <a:pt x="1128" y="261"/>
                  </a:lnTo>
                  <a:lnTo>
                    <a:pt x="1128" y="255"/>
                  </a:lnTo>
                  <a:lnTo>
                    <a:pt x="1134" y="255"/>
                  </a:lnTo>
                  <a:lnTo>
                    <a:pt x="1145" y="255"/>
                  </a:lnTo>
                  <a:lnTo>
                    <a:pt x="1151" y="261"/>
                  </a:lnTo>
                  <a:lnTo>
                    <a:pt x="1156" y="261"/>
                  </a:lnTo>
                  <a:lnTo>
                    <a:pt x="1162" y="261"/>
                  </a:lnTo>
                  <a:lnTo>
                    <a:pt x="1162" y="266"/>
                  </a:lnTo>
                  <a:lnTo>
                    <a:pt x="1168" y="272"/>
                  </a:lnTo>
                  <a:lnTo>
                    <a:pt x="1168" y="278"/>
                  </a:lnTo>
                  <a:lnTo>
                    <a:pt x="1162" y="278"/>
                  </a:lnTo>
                  <a:lnTo>
                    <a:pt x="1162" y="283"/>
                  </a:lnTo>
                  <a:lnTo>
                    <a:pt x="1162" y="289"/>
                  </a:lnTo>
                  <a:lnTo>
                    <a:pt x="1162" y="295"/>
                  </a:lnTo>
                  <a:lnTo>
                    <a:pt x="1168" y="295"/>
                  </a:lnTo>
                  <a:lnTo>
                    <a:pt x="1173" y="295"/>
                  </a:lnTo>
                  <a:lnTo>
                    <a:pt x="1185" y="295"/>
                  </a:lnTo>
                  <a:lnTo>
                    <a:pt x="1190" y="295"/>
                  </a:lnTo>
                  <a:lnTo>
                    <a:pt x="1190" y="300"/>
                  </a:lnTo>
                  <a:lnTo>
                    <a:pt x="1196" y="306"/>
                  </a:lnTo>
                  <a:lnTo>
                    <a:pt x="1202" y="306"/>
                  </a:lnTo>
                  <a:lnTo>
                    <a:pt x="1202" y="317"/>
                  </a:lnTo>
                  <a:lnTo>
                    <a:pt x="1202" y="323"/>
                  </a:lnTo>
                  <a:lnTo>
                    <a:pt x="1202" y="329"/>
                  </a:lnTo>
                  <a:lnTo>
                    <a:pt x="1196" y="334"/>
                  </a:lnTo>
                  <a:lnTo>
                    <a:pt x="1196" y="340"/>
                  </a:lnTo>
                  <a:lnTo>
                    <a:pt x="1190" y="346"/>
                  </a:lnTo>
                  <a:lnTo>
                    <a:pt x="1190" y="352"/>
                  </a:lnTo>
                  <a:lnTo>
                    <a:pt x="1196" y="352"/>
                  </a:lnTo>
                  <a:lnTo>
                    <a:pt x="1202" y="357"/>
                  </a:lnTo>
                  <a:lnTo>
                    <a:pt x="1207" y="357"/>
                  </a:lnTo>
                  <a:lnTo>
                    <a:pt x="1213" y="357"/>
                  </a:lnTo>
                  <a:lnTo>
                    <a:pt x="1219" y="357"/>
                  </a:lnTo>
                  <a:lnTo>
                    <a:pt x="1224" y="357"/>
                  </a:lnTo>
                  <a:lnTo>
                    <a:pt x="1230" y="363"/>
                  </a:lnTo>
                  <a:lnTo>
                    <a:pt x="1236" y="369"/>
                  </a:lnTo>
                  <a:lnTo>
                    <a:pt x="1236" y="374"/>
                  </a:lnTo>
                  <a:lnTo>
                    <a:pt x="1241" y="374"/>
                  </a:lnTo>
                  <a:lnTo>
                    <a:pt x="1241" y="380"/>
                  </a:lnTo>
                  <a:lnTo>
                    <a:pt x="1236" y="386"/>
                  </a:lnTo>
                  <a:lnTo>
                    <a:pt x="1236" y="391"/>
                  </a:lnTo>
                  <a:lnTo>
                    <a:pt x="1230" y="391"/>
                  </a:lnTo>
                  <a:lnTo>
                    <a:pt x="1230" y="397"/>
                  </a:lnTo>
                  <a:lnTo>
                    <a:pt x="1224" y="397"/>
                  </a:lnTo>
                  <a:lnTo>
                    <a:pt x="1219" y="403"/>
                  </a:lnTo>
                  <a:lnTo>
                    <a:pt x="1213" y="408"/>
                  </a:lnTo>
                  <a:lnTo>
                    <a:pt x="1213" y="414"/>
                  </a:lnTo>
                  <a:lnTo>
                    <a:pt x="1207" y="414"/>
                  </a:lnTo>
                  <a:lnTo>
                    <a:pt x="1202" y="414"/>
                  </a:lnTo>
                  <a:lnTo>
                    <a:pt x="1202" y="420"/>
                  </a:lnTo>
                  <a:lnTo>
                    <a:pt x="1196" y="420"/>
                  </a:lnTo>
                  <a:lnTo>
                    <a:pt x="1196" y="425"/>
                  </a:lnTo>
                  <a:lnTo>
                    <a:pt x="1190" y="431"/>
                  </a:lnTo>
                  <a:lnTo>
                    <a:pt x="1185" y="431"/>
                  </a:lnTo>
                  <a:lnTo>
                    <a:pt x="1185" y="437"/>
                  </a:lnTo>
                  <a:lnTo>
                    <a:pt x="1185" y="442"/>
                  </a:lnTo>
                  <a:lnTo>
                    <a:pt x="1185" y="448"/>
                  </a:lnTo>
                  <a:lnTo>
                    <a:pt x="1190" y="448"/>
                  </a:lnTo>
                  <a:lnTo>
                    <a:pt x="1190" y="454"/>
                  </a:lnTo>
                  <a:lnTo>
                    <a:pt x="1202" y="459"/>
                  </a:lnTo>
                  <a:lnTo>
                    <a:pt x="1207" y="465"/>
                  </a:lnTo>
                  <a:lnTo>
                    <a:pt x="1213" y="471"/>
                  </a:lnTo>
                  <a:lnTo>
                    <a:pt x="1219" y="471"/>
                  </a:lnTo>
                  <a:lnTo>
                    <a:pt x="1224" y="471"/>
                  </a:lnTo>
                  <a:lnTo>
                    <a:pt x="1230" y="471"/>
                  </a:lnTo>
                  <a:lnTo>
                    <a:pt x="1241" y="471"/>
                  </a:lnTo>
                  <a:lnTo>
                    <a:pt x="1247" y="471"/>
                  </a:lnTo>
                  <a:lnTo>
                    <a:pt x="1258" y="476"/>
                  </a:lnTo>
                  <a:lnTo>
                    <a:pt x="1270" y="476"/>
                  </a:lnTo>
                  <a:lnTo>
                    <a:pt x="1275" y="476"/>
                  </a:lnTo>
                  <a:lnTo>
                    <a:pt x="1281" y="476"/>
                  </a:lnTo>
                  <a:lnTo>
                    <a:pt x="1287" y="476"/>
                  </a:lnTo>
                  <a:lnTo>
                    <a:pt x="1298" y="471"/>
                  </a:lnTo>
                  <a:lnTo>
                    <a:pt x="1304" y="471"/>
                  </a:lnTo>
                  <a:lnTo>
                    <a:pt x="1309" y="471"/>
                  </a:lnTo>
                  <a:lnTo>
                    <a:pt x="1315" y="476"/>
                  </a:lnTo>
                  <a:lnTo>
                    <a:pt x="1321" y="476"/>
                  </a:lnTo>
                  <a:lnTo>
                    <a:pt x="1321" y="482"/>
                  </a:lnTo>
                  <a:lnTo>
                    <a:pt x="1326" y="482"/>
                  </a:lnTo>
                  <a:lnTo>
                    <a:pt x="1326" y="488"/>
                  </a:lnTo>
                  <a:lnTo>
                    <a:pt x="1326" y="493"/>
                  </a:lnTo>
                  <a:lnTo>
                    <a:pt x="1321" y="505"/>
                  </a:lnTo>
                  <a:lnTo>
                    <a:pt x="1321" y="510"/>
                  </a:lnTo>
                  <a:lnTo>
                    <a:pt x="1326" y="516"/>
                  </a:lnTo>
                  <a:lnTo>
                    <a:pt x="1326" y="527"/>
                  </a:lnTo>
                  <a:lnTo>
                    <a:pt x="1326" y="539"/>
                  </a:lnTo>
                  <a:lnTo>
                    <a:pt x="1326" y="544"/>
                  </a:lnTo>
                  <a:lnTo>
                    <a:pt x="1326" y="550"/>
                  </a:lnTo>
                  <a:lnTo>
                    <a:pt x="1326" y="556"/>
                  </a:lnTo>
                  <a:lnTo>
                    <a:pt x="1321" y="556"/>
                  </a:lnTo>
                  <a:lnTo>
                    <a:pt x="1315" y="561"/>
                  </a:lnTo>
                  <a:lnTo>
                    <a:pt x="1309" y="567"/>
                  </a:lnTo>
                  <a:lnTo>
                    <a:pt x="1304" y="567"/>
                  </a:lnTo>
                  <a:lnTo>
                    <a:pt x="1298" y="567"/>
                  </a:lnTo>
                  <a:lnTo>
                    <a:pt x="1298" y="573"/>
                  </a:lnTo>
                  <a:lnTo>
                    <a:pt x="1298" y="578"/>
                  </a:lnTo>
                  <a:lnTo>
                    <a:pt x="1304" y="584"/>
                  </a:lnTo>
                  <a:lnTo>
                    <a:pt x="1309" y="584"/>
                  </a:lnTo>
                  <a:lnTo>
                    <a:pt x="1315" y="584"/>
                  </a:lnTo>
                  <a:lnTo>
                    <a:pt x="1321" y="584"/>
                  </a:lnTo>
                  <a:lnTo>
                    <a:pt x="1326" y="584"/>
                  </a:lnTo>
                  <a:lnTo>
                    <a:pt x="1326" y="590"/>
                  </a:lnTo>
                  <a:lnTo>
                    <a:pt x="1321" y="590"/>
                  </a:lnTo>
                  <a:lnTo>
                    <a:pt x="1321" y="595"/>
                  </a:lnTo>
                  <a:lnTo>
                    <a:pt x="1315" y="595"/>
                  </a:lnTo>
                  <a:lnTo>
                    <a:pt x="1315" y="601"/>
                  </a:lnTo>
                  <a:lnTo>
                    <a:pt x="1321" y="607"/>
                  </a:lnTo>
                  <a:lnTo>
                    <a:pt x="1326" y="607"/>
                  </a:lnTo>
                  <a:lnTo>
                    <a:pt x="1326" y="612"/>
                  </a:lnTo>
                  <a:lnTo>
                    <a:pt x="1332" y="612"/>
                  </a:lnTo>
                  <a:lnTo>
                    <a:pt x="1338" y="612"/>
                  </a:lnTo>
                  <a:lnTo>
                    <a:pt x="1338" y="618"/>
                  </a:lnTo>
                  <a:lnTo>
                    <a:pt x="1343" y="618"/>
                  </a:lnTo>
                  <a:lnTo>
                    <a:pt x="1343" y="624"/>
                  </a:lnTo>
                  <a:lnTo>
                    <a:pt x="1338" y="624"/>
                  </a:lnTo>
                  <a:lnTo>
                    <a:pt x="1332" y="624"/>
                  </a:lnTo>
                  <a:lnTo>
                    <a:pt x="1332" y="629"/>
                  </a:lnTo>
                  <a:lnTo>
                    <a:pt x="1326" y="635"/>
                  </a:lnTo>
                  <a:lnTo>
                    <a:pt x="1326" y="641"/>
                  </a:lnTo>
                  <a:lnTo>
                    <a:pt x="1326" y="646"/>
                  </a:lnTo>
                  <a:lnTo>
                    <a:pt x="1321" y="652"/>
                  </a:lnTo>
                  <a:lnTo>
                    <a:pt x="1315" y="652"/>
                  </a:lnTo>
                  <a:lnTo>
                    <a:pt x="1315" y="658"/>
                  </a:lnTo>
                  <a:lnTo>
                    <a:pt x="1309" y="658"/>
                  </a:lnTo>
                  <a:lnTo>
                    <a:pt x="1304" y="663"/>
                  </a:lnTo>
                  <a:lnTo>
                    <a:pt x="1304" y="669"/>
                  </a:lnTo>
                  <a:lnTo>
                    <a:pt x="1298" y="669"/>
                  </a:lnTo>
                  <a:lnTo>
                    <a:pt x="1298" y="675"/>
                  </a:lnTo>
                  <a:lnTo>
                    <a:pt x="1298" y="680"/>
                  </a:lnTo>
                  <a:lnTo>
                    <a:pt x="1298" y="686"/>
                  </a:lnTo>
                  <a:lnTo>
                    <a:pt x="1298" y="692"/>
                  </a:lnTo>
                  <a:lnTo>
                    <a:pt x="1298" y="697"/>
                  </a:lnTo>
                  <a:lnTo>
                    <a:pt x="1304" y="697"/>
                  </a:lnTo>
                  <a:lnTo>
                    <a:pt x="1315" y="697"/>
                  </a:lnTo>
                  <a:lnTo>
                    <a:pt x="1321" y="697"/>
                  </a:lnTo>
                  <a:lnTo>
                    <a:pt x="1321" y="703"/>
                  </a:lnTo>
                  <a:lnTo>
                    <a:pt x="1321" y="709"/>
                  </a:lnTo>
                  <a:lnTo>
                    <a:pt x="1315" y="714"/>
                  </a:lnTo>
                  <a:lnTo>
                    <a:pt x="1315" y="720"/>
                  </a:lnTo>
                  <a:lnTo>
                    <a:pt x="1309" y="720"/>
                  </a:lnTo>
                  <a:lnTo>
                    <a:pt x="1315" y="726"/>
                  </a:lnTo>
                  <a:lnTo>
                    <a:pt x="1321" y="726"/>
                  </a:lnTo>
                  <a:lnTo>
                    <a:pt x="1326" y="726"/>
                  </a:lnTo>
                  <a:lnTo>
                    <a:pt x="1332" y="726"/>
                  </a:lnTo>
                  <a:lnTo>
                    <a:pt x="1338" y="720"/>
                  </a:lnTo>
                  <a:lnTo>
                    <a:pt x="1343" y="720"/>
                  </a:lnTo>
                  <a:lnTo>
                    <a:pt x="1349" y="720"/>
                  </a:lnTo>
                  <a:lnTo>
                    <a:pt x="1355" y="720"/>
                  </a:lnTo>
                  <a:lnTo>
                    <a:pt x="1366" y="720"/>
                  </a:lnTo>
                  <a:lnTo>
                    <a:pt x="1361" y="726"/>
                  </a:lnTo>
                  <a:lnTo>
                    <a:pt x="1355" y="731"/>
                  </a:lnTo>
                  <a:lnTo>
                    <a:pt x="1292" y="811"/>
                  </a:lnTo>
                  <a:lnTo>
                    <a:pt x="1287" y="805"/>
                  </a:lnTo>
                  <a:lnTo>
                    <a:pt x="1270" y="794"/>
                  </a:lnTo>
                  <a:lnTo>
                    <a:pt x="1230" y="760"/>
                  </a:lnTo>
                  <a:lnTo>
                    <a:pt x="1224" y="760"/>
                  </a:lnTo>
                  <a:lnTo>
                    <a:pt x="1207" y="760"/>
                  </a:lnTo>
                  <a:lnTo>
                    <a:pt x="1173" y="754"/>
                  </a:lnTo>
                  <a:lnTo>
                    <a:pt x="1151" y="760"/>
                  </a:lnTo>
                  <a:lnTo>
                    <a:pt x="1151" y="782"/>
                  </a:lnTo>
                  <a:lnTo>
                    <a:pt x="1145" y="879"/>
                  </a:lnTo>
                  <a:lnTo>
                    <a:pt x="1139" y="1043"/>
                  </a:lnTo>
                  <a:lnTo>
                    <a:pt x="1162" y="1043"/>
                  </a:lnTo>
                  <a:lnTo>
                    <a:pt x="1162" y="1049"/>
                  </a:lnTo>
                  <a:lnTo>
                    <a:pt x="1162" y="1054"/>
                  </a:lnTo>
                  <a:lnTo>
                    <a:pt x="1162" y="1060"/>
                  </a:lnTo>
                  <a:lnTo>
                    <a:pt x="1156" y="1060"/>
                  </a:lnTo>
                  <a:lnTo>
                    <a:pt x="1156" y="1066"/>
                  </a:lnTo>
                  <a:lnTo>
                    <a:pt x="1156" y="1071"/>
                  </a:lnTo>
                  <a:lnTo>
                    <a:pt x="1151" y="1071"/>
                  </a:lnTo>
                  <a:lnTo>
                    <a:pt x="1145" y="1071"/>
                  </a:lnTo>
                  <a:lnTo>
                    <a:pt x="1145" y="1077"/>
                  </a:lnTo>
                  <a:lnTo>
                    <a:pt x="1145" y="1083"/>
                  </a:lnTo>
                  <a:lnTo>
                    <a:pt x="1139" y="1088"/>
                  </a:lnTo>
                  <a:lnTo>
                    <a:pt x="1134" y="1100"/>
                  </a:lnTo>
                  <a:lnTo>
                    <a:pt x="1128" y="1105"/>
                  </a:lnTo>
                  <a:lnTo>
                    <a:pt x="1128" y="1111"/>
                  </a:lnTo>
                  <a:lnTo>
                    <a:pt x="1122" y="1117"/>
                  </a:lnTo>
                  <a:lnTo>
                    <a:pt x="1117" y="1117"/>
                  </a:lnTo>
                  <a:lnTo>
                    <a:pt x="1111" y="1117"/>
                  </a:lnTo>
                  <a:lnTo>
                    <a:pt x="1105" y="1111"/>
                  </a:lnTo>
                  <a:lnTo>
                    <a:pt x="1100" y="1111"/>
                  </a:lnTo>
                  <a:lnTo>
                    <a:pt x="1100" y="1105"/>
                  </a:lnTo>
                  <a:lnTo>
                    <a:pt x="1100" y="1100"/>
                  </a:lnTo>
                  <a:lnTo>
                    <a:pt x="1094" y="1094"/>
                  </a:lnTo>
                  <a:lnTo>
                    <a:pt x="1088" y="1088"/>
                  </a:lnTo>
                  <a:lnTo>
                    <a:pt x="1083" y="1083"/>
                  </a:lnTo>
                  <a:lnTo>
                    <a:pt x="1077" y="1083"/>
                  </a:lnTo>
                  <a:lnTo>
                    <a:pt x="1077" y="1077"/>
                  </a:lnTo>
                  <a:lnTo>
                    <a:pt x="1071" y="1077"/>
                  </a:lnTo>
                  <a:lnTo>
                    <a:pt x="1071" y="1071"/>
                  </a:lnTo>
                  <a:lnTo>
                    <a:pt x="1066" y="1071"/>
                  </a:lnTo>
                  <a:lnTo>
                    <a:pt x="1060" y="1066"/>
                  </a:lnTo>
                  <a:lnTo>
                    <a:pt x="1054" y="1066"/>
                  </a:lnTo>
                  <a:lnTo>
                    <a:pt x="1054" y="1060"/>
                  </a:lnTo>
                  <a:lnTo>
                    <a:pt x="1049" y="1060"/>
                  </a:lnTo>
                  <a:lnTo>
                    <a:pt x="1043" y="1054"/>
                  </a:lnTo>
                  <a:lnTo>
                    <a:pt x="1037" y="1054"/>
                  </a:lnTo>
                  <a:lnTo>
                    <a:pt x="1037" y="1049"/>
                  </a:lnTo>
                  <a:lnTo>
                    <a:pt x="1032" y="1043"/>
                  </a:lnTo>
                  <a:lnTo>
                    <a:pt x="1026" y="1043"/>
                  </a:lnTo>
                  <a:lnTo>
                    <a:pt x="1026" y="1037"/>
                  </a:lnTo>
                  <a:lnTo>
                    <a:pt x="1020" y="1032"/>
                  </a:lnTo>
                  <a:lnTo>
                    <a:pt x="1020" y="1020"/>
                  </a:lnTo>
                  <a:lnTo>
                    <a:pt x="1020" y="1015"/>
                  </a:lnTo>
                  <a:lnTo>
                    <a:pt x="1015" y="1009"/>
                  </a:lnTo>
                  <a:lnTo>
                    <a:pt x="1015" y="1003"/>
                  </a:lnTo>
                  <a:lnTo>
                    <a:pt x="1009" y="1003"/>
                  </a:lnTo>
                  <a:lnTo>
                    <a:pt x="1009" y="998"/>
                  </a:lnTo>
                  <a:lnTo>
                    <a:pt x="1009" y="992"/>
                  </a:lnTo>
                  <a:lnTo>
                    <a:pt x="1009" y="986"/>
                  </a:lnTo>
                  <a:lnTo>
                    <a:pt x="1003" y="981"/>
                  </a:lnTo>
                  <a:lnTo>
                    <a:pt x="1003" y="975"/>
                  </a:lnTo>
                  <a:lnTo>
                    <a:pt x="1003" y="969"/>
                  </a:lnTo>
                  <a:lnTo>
                    <a:pt x="1003" y="964"/>
                  </a:lnTo>
                  <a:lnTo>
                    <a:pt x="998" y="964"/>
                  </a:lnTo>
                  <a:lnTo>
                    <a:pt x="998" y="958"/>
                  </a:lnTo>
                  <a:lnTo>
                    <a:pt x="992" y="958"/>
                  </a:lnTo>
                  <a:lnTo>
                    <a:pt x="992" y="952"/>
                  </a:lnTo>
                  <a:lnTo>
                    <a:pt x="986" y="952"/>
                  </a:lnTo>
                  <a:lnTo>
                    <a:pt x="981" y="947"/>
                  </a:lnTo>
                  <a:lnTo>
                    <a:pt x="975" y="941"/>
                  </a:lnTo>
                  <a:lnTo>
                    <a:pt x="964" y="935"/>
                  </a:lnTo>
                  <a:lnTo>
                    <a:pt x="958" y="935"/>
                  </a:lnTo>
                  <a:lnTo>
                    <a:pt x="952" y="935"/>
                  </a:lnTo>
                  <a:lnTo>
                    <a:pt x="947" y="935"/>
                  </a:lnTo>
                  <a:lnTo>
                    <a:pt x="935" y="941"/>
                  </a:lnTo>
                  <a:lnTo>
                    <a:pt x="935" y="935"/>
                  </a:lnTo>
                  <a:lnTo>
                    <a:pt x="935" y="941"/>
                  </a:lnTo>
                  <a:lnTo>
                    <a:pt x="930" y="941"/>
                  </a:lnTo>
                  <a:lnTo>
                    <a:pt x="924" y="941"/>
                  </a:lnTo>
                  <a:lnTo>
                    <a:pt x="918" y="935"/>
                  </a:lnTo>
                  <a:lnTo>
                    <a:pt x="913" y="935"/>
                  </a:lnTo>
                  <a:lnTo>
                    <a:pt x="907" y="935"/>
                  </a:lnTo>
                  <a:lnTo>
                    <a:pt x="907" y="930"/>
                  </a:lnTo>
                  <a:lnTo>
                    <a:pt x="901" y="930"/>
                  </a:lnTo>
                  <a:lnTo>
                    <a:pt x="896" y="930"/>
                  </a:lnTo>
                  <a:lnTo>
                    <a:pt x="890" y="924"/>
                  </a:lnTo>
                  <a:lnTo>
                    <a:pt x="884" y="924"/>
                  </a:lnTo>
                  <a:lnTo>
                    <a:pt x="879" y="930"/>
                  </a:lnTo>
                  <a:lnTo>
                    <a:pt x="867" y="930"/>
                  </a:lnTo>
                  <a:lnTo>
                    <a:pt x="862" y="930"/>
                  </a:lnTo>
                  <a:lnTo>
                    <a:pt x="850" y="935"/>
                  </a:lnTo>
                  <a:lnTo>
                    <a:pt x="845" y="935"/>
                  </a:lnTo>
                  <a:lnTo>
                    <a:pt x="839" y="930"/>
                  </a:lnTo>
                  <a:lnTo>
                    <a:pt x="822" y="930"/>
                  </a:lnTo>
                  <a:lnTo>
                    <a:pt x="822" y="935"/>
                  </a:lnTo>
                  <a:lnTo>
                    <a:pt x="799" y="935"/>
                  </a:lnTo>
                  <a:lnTo>
                    <a:pt x="794" y="930"/>
                  </a:lnTo>
                  <a:lnTo>
                    <a:pt x="782" y="930"/>
                  </a:lnTo>
                  <a:lnTo>
                    <a:pt x="777" y="930"/>
                  </a:lnTo>
                  <a:lnTo>
                    <a:pt x="777" y="924"/>
                  </a:lnTo>
                  <a:lnTo>
                    <a:pt x="777" y="918"/>
                  </a:lnTo>
                  <a:lnTo>
                    <a:pt x="771" y="918"/>
                  </a:lnTo>
                  <a:lnTo>
                    <a:pt x="771" y="913"/>
                  </a:lnTo>
                  <a:lnTo>
                    <a:pt x="765" y="913"/>
                  </a:lnTo>
                  <a:lnTo>
                    <a:pt x="765" y="907"/>
                  </a:lnTo>
                  <a:lnTo>
                    <a:pt x="754" y="901"/>
                  </a:lnTo>
                  <a:lnTo>
                    <a:pt x="748" y="901"/>
                  </a:lnTo>
                  <a:lnTo>
                    <a:pt x="737" y="901"/>
                  </a:lnTo>
                  <a:lnTo>
                    <a:pt x="731" y="896"/>
                  </a:lnTo>
                  <a:lnTo>
                    <a:pt x="726" y="896"/>
                  </a:lnTo>
                  <a:lnTo>
                    <a:pt x="726" y="890"/>
                  </a:lnTo>
                  <a:lnTo>
                    <a:pt x="720" y="890"/>
                  </a:lnTo>
                  <a:lnTo>
                    <a:pt x="714" y="884"/>
                  </a:lnTo>
                  <a:lnTo>
                    <a:pt x="709" y="879"/>
                  </a:lnTo>
                  <a:lnTo>
                    <a:pt x="692" y="867"/>
                  </a:lnTo>
                  <a:lnTo>
                    <a:pt x="686" y="867"/>
                  </a:lnTo>
                  <a:lnTo>
                    <a:pt x="680" y="862"/>
                  </a:lnTo>
                  <a:lnTo>
                    <a:pt x="675" y="856"/>
                  </a:lnTo>
                  <a:lnTo>
                    <a:pt x="669" y="856"/>
                  </a:lnTo>
                  <a:lnTo>
                    <a:pt x="663" y="850"/>
                  </a:lnTo>
                  <a:lnTo>
                    <a:pt x="658" y="850"/>
                  </a:lnTo>
                  <a:lnTo>
                    <a:pt x="652" y="845"/>
                  </a:lnTo>
                  <a:lnTo>
                    <a:pt x="635" y="845"/>
                  </a:lnTo>
                  <a:lnTo>
                    <a:pt x="624" y="839"/>
                  </a:lnTo>
                  <a:lnTo>
                    <a:pt x="618" y="839"/>
                  </a:lnTo>
                  <a:lnTo>
                    <a:pt x="601" y="833"/>
                  </a:lnTo>
                  <a:lnTo>
                    <a:pt x="595" y="833"/>
                  </a:lnTo>
                  <a:lnTo>
                    <a:pt x="590" y="833"/>
                  </a:lnTo>
                  <a:lnTo>
                    <a:pt x="584" y="833"/>
                  </a:lnTo>
                  <a:lnTo>
                    <a:pt x="578" y="828"/>
                  </a:lnTo>
                  <a:lnTo>
                    <a:pt x="573" y="822"/>
                  </a:lnTo>
                  <a:lnTo>
                    <a:pt x="567" y="816"/>
                  </a:lnTo>
                  <a:lnTo>
                    <a:pt x="567" y="811"/>
                  </a:lnTo>
                  <a:lnTo>
                    <a:pt x="567" y="805"/>
                  </a:lnTo>
                  <a:lnTo>
                    <a:pt x="561" y="805"/>
                  </a:lnTo>
                  <a:lnTo>
                    <a:pt x="556" y="805"/>
                  </a:lnTo>
                  <a:lnTo>
                    <a:pt x="556" y="799"/>
                  </a:lnTo>
                  <a:lnTo>
                    <a:pt x="550" y="794"/>
                  </a:lnTo>
                  <a:lnTo>
                    <a:pt x="544" y="794"/>
                  </a:lnTo>
                  <a:lnTo>
                    <a:pt x="539" y="794"/>
                  </a:lnTo>
                  <a:lnTo>
                    <a:pt x="539" y="788"/>
                  </a:lnTo>
                  <a:lnTo>
                    <a:pt x="539" y="782"/>
                  </a:lnTo>
                  <a:lnTo>
                    <a:pt x="533" y="782"/>
                  </a:lnTo>
                  <a:lnTo>
                    <a:pt x="527" y="777"/>
                  </a:lnTo>
                  <a:lnTo>
                    <a:pt x="522" y="777"/>
                  </a:lnTo>
                  <a:lnTo>
                    <a:pt x="516" y="771"/>
                  </a:lnTo>
                  <a:lnTo>
                    <a:pt x="510" y="765"/>
                  </a:lnTo>
                  <a:lnTo>
                    <a:pt x="499" y="765"/>
                  </a:lnTo>
                  <a:lnTo>
                    <a:pt x="488" y="765"/>
                  </a:lnTo>
                  <a:lnTo>
                    <a:pt x="488" y="771"/>
                  </a:lnTo>
                  <a:lnTo>
                    <a:pt x="482" y="771"/>
                  </a:lnTo>
                  <a:lnTo>
                    <a:pt x="482" y="777"/>
                  </a:lnTo>
                  <a:lnTo>
                    <a:pt x="476" y="777"/>
                  </a:lnTo>
                  <a:lnTo>
                    <a:pt x="471" y="777"/>
                  </a:lnTo>
                  <a:lnTo>
                    <a:pt x="465" y="777"/>
                  </a:lnTo>
                  <a:lnTo>
                    <a:pt x="442" y="788"/>
                  </a:lnTo>
                  <a:lnTo>
                    <a:pt x="436" y="788"/>
                  </a:lnTo>
                  <a:lnTo>
                    <a:pt x="431" y="788"/>
                  </a:lnTo>
                  <a:lnTo>
                    <a:pt x="425" y="782"/>
                  </a:lnTo>
                  <a:lnTo>
                    <a:pt x="425" y="777"/>
                  </a:lnTo>
                  <a:lnTo>
                    <a:pt x="419" y="777"/>
                  </a:lnTo>
                  <a:lnTo>
                    <a:pt x="419" y="771"/>
                  </a:lnTo>
                  <a:lnTo>
                    <a:pt x="419" y="765"/>
                  </a:lnTo>
                  <a:lnTo>
                    <a:pt x="414" y="754"/>
                  </a:lnTo>
                  <a:lnTo>
                    <a:pt x="414" y="748"/>
                  </a:lnTo>
                  <a:lnTo>
                    <a:pt x="414" y="743"/>
                  </a:lnTo>
                  <a:lnTo>
                    <a:pt x="408" y="737"/>
                  </a:lnTo>
                  <a:lnTo>
                    <a:pt x="402" y="737"/>
                  </a:lnTo>
                  <a:lnTo>
                    <a:pt x="397" y="737"/>
                  </a:lnTo>
                  <a:lnTo>
                    <a:pt x="391" y="731"/>
                  </a:lnTo>
                  <a:lnTo>
                    <a:pt x="385" y="731"/>
                  </a:lnTo>
                  <a:lnTo>
                    <a:pt x="385" y="726"/>
                  </a:lnTo>
                  <a:lnTo>
                    <a:pt x="380" y="726"/>
                  </a:lnTo>
                  <a:lnTo>
                    <a:pt x="374" y="726"/>
                  </a:lnTo>
                  <a:lnTo>
                    <a:pt x="368" y="726"/>
                  </a:lnTo>
                  <a:lnTo>
                    <a:pt x="368" y="720"/>
                  </a:lnTo>
                  <a:lnTo>
                    <a:pt x="357" y="714"/>
                  </a:lnTo>
                  <a:lnTo>
                    <a:pt x="351" y="709"/>
                  </a:lnTo>
                  <a:lnTo>
                    <a:pt x="346" y="709"/>
                  </a:lnTo>
                  <a:lnTo>
                    <a:pt x="340" y="697"/>
                  </a:lnTo>
                  <a:lnTo>
                    <a:pt x="334" y="692"/>
                  </a:lnTo>
                  <a:lnTo>
                    <a:pt x="329" y="686"/>
                  </a:lnTo>
                  <a:lnTo>
                    <a:pt x="329" y="680"/>
                  </a:lnTo>
                  <a:lnTo>
                    <a:pt x="323" y="680"/>
                  </a:lnTo>
                  <a:lnTo>
                    <a:pt x="317" y="680"/>
                  </a:lnTo>
                  <a:lnTo>
                    <a:pt x="317" y="675"/>
                  </a:lnTo>
                  <a:lnTo>
                    <a:pt x="312" y="669"/>
                  </a:lnTo>
                  <a:lnTo>
                    <a:pt x="312" y="663"/>
                  </a:lnTo>
                  <a:lnTo>
                    <a:pt x="306" y="658"/>
                  </a:lnTo>
                  <a:lnTo>
                    <a:pt x="300" y="658"/>
                  </a:lnTo>
                  <a:lnTo>
                    <a:pt x="289" y="641"/>
                  </a:lnTo>
                  <a:lnTo>
                    <a:pt x="283" y="641"/>
                  </a:lnTo>
                  <a:lnTo>
                    <a:pt x="272" y="629"/>
                  </a:lnTo>
                  <a:lnTo>
                    <a:pt x="272" y="624"/>
                  </a:lnTo>
                  <a:lnTo>
                    <a:pt x="266" y="624"/>
                  </a:lnTo>
                  <a:lnTo>
                    <a:pt x="261" y="612"/>
                  </a:lnTo>
                  <a:lnTo>
                    <a:pt x="255" y="612"/>
                  </a:lnTo>
                  <a:lnTo>
                    <a:pt x="255" y="607"/>
                  </a:lnTo>
                  <a:lnTo>
                    <a:pt x="255" y="601"/>
                  </a:lnTo>
                  <a:lnTo>
                    <a:pt x="244" y="595"/>
                  </a:lnTo>
                  <a:lnTo>
                    <a:pt x="232" y="584"/>
                  </a:lnTo>
                  <a:lnTo>
                    <a:pt x="232" y="578"/>
                  </a:lnTo>
                  <a:lnTo>
                    <a:pt x="227" y="573"/>
                  </a:lnTo>
                  <a:lnTo>
                    <a:pt x="221" y="567"/>
                  </a:lnTo>
                  <a:lnTo>
                    <a:pt x="215" y="567"/>
                  </a:lnTo>
                  <a:lnTo>
                    <a:pt x="215" y="561"/>
                  </a:lnTo>
                  <a:lnTo>
                    <a:pt x="215" y="556"/>
                  </a:lnTo>
                  <a:lnTo>
                    <a:pt x="210" y="556"/>
                  </a:lnTo>
                  <a:lnTo>
                    <a:pt x="210" y="550"/>
                  </a:lnTo>
                  <a:lnTo>
                    <a:pt x="204" y="544"/>
                  </a:lnTo>
                  <a:lnTo>
                    <a:pt x="204" y="539"/>
                  </a:lnTo>
                  <a:lnTo>
                    <a:pt x="198" y="539"/>
                  </a:lnTo>
                  <a:lnTo>
                    <a:pt x="193" y="539"/>
                  </a:lnTo>
                  <a:lnTo>
                    <a:pt x="193" y="533"/>
                  </a:lnTo>
                  <a:lnTo>
                    <a:pt x="193" y="527"/>
                  </a:lnTo>
                  <a:lnTo>
                    <a:pt x="187" y="527"/>
                  </a:lnTo>
                  <a:lnTo>
                    <a:pt x="187" y="533"/>
                  </a:lnTo>
                  <a:lnTo>
                    <a:pt x="181" y="539"/>
                  </a:lnTo>
                  <a:lnTo>
                    <a:pt x="181" y="544"/>
                  </a:lnTo>
                  <a:lnTo>
                    <a:pt x="176" y="544"/>
                  </a:lnTo>
                  <a:lnTo>
                    <a:pt x="170" y="539"/>
                  </a:lnTo>
                  <a:lnTo>
                    <a:pt x="164" y="539"/>
                  </a:lnTo>
                  <a:lnTo>
                    <a:pt x="159" y="539"/>
                  </a:lnTo>
                  <a:lnTo>
                    <a:pt x="159" y="527"/>
                  </a:lnTo>
                  <a:lnTo>
                    <a:pt x="153" y="527"/>
                  </a:lnTo>
                  <a:lnTo>
                    <a:pt x="147" y="527"/>
                  </a:lnTo>
                  <a:lnTo>
                    <a:pt x="142" y="527"/>
                  </a:lnTo>
                  <a:lnTo>
                    <a:pt x="136" y="527"/>
                  </a:lnTo>
                  <a:lnTo>
                    <a:pt x="130" y="522"/>
                  </a:lnTo>
                  <a:lnTo>
                    <a:pt x="130" y="516"/>
                  </a:lnTo>
                  <a:lnTo>
                    <a:pt x="125" y="516"/>
                  </a:lnTo>
                  <a:lnTo>
                    <a:pt x="130" y="516"/>
                  </a:lnTo>
                  <a:lnTo>
                    <a:pt x="130" y="510"/>
                  </a:lnTo>
                  <a:lnTo>
                    <a:pt x="136" y="516"/>
                  </a:lnTo>
                  <a:lnTo>
                    <a:pt x="142" y="516"/>
                  </a:lnTo>
                  <a:lnTo>
                    <a:pt x="142" y="510"/>
                  </a:lnTo>
                  <a:lnTo>
                    <a:pt x="142" y="505"/>
                  </a:lnTo>
                  <a:lnTo>
                    <a:pt x="136" y="505"/>
                  </a:lnTo>
                  <a:lnTo>
                    <a:pt x="130" y="505"/>
                  </a:lnTo>
                  <a:lnTo>
                    <a:pt x="130" y="499"/>
                  </a:lnTo>
                  <a:lnTo>
                    <a:pt x="130" y="493"/>
                  </a:lnTo>
                  <a:lnTo>
                    <a:pt x="125" y="488"/>
                  </a:lnTo>
                  <a:lnTo>
                    <a:pt x="119" y="493"/>
                  </a:lnTo>
                  <a:lnTo>
                    <a:pt x="113" y="493"/>
                  </a:lnTo>
                  <a:lnTo>
                    <a:pt x="108" y="488"/>
                  </a:lnTo>
                  <a:lnTo>
                    <a:pt x="113" y="482"/>
                  </a:lnTo>
                  <a:lnTo>
                    <a:pt x="113" y="476"/>
                  </a:lnTo>
                  <a:lnTo>
                    <a:pt x="119" y="476"/>
                  </a:lnTo>
                  <a:lnTo>
                    <a:pt x="113" y="471"/>
                  </a:lnTo>
                  <a:lnTo>
                    <a:pt x="108" y="471"/>
                  </a:lnTo>
                  <a:lnTo>
                    <a:pt x="102" y="459"/>
                  </a:lnTo>
                  <a:lnTo>
                    <a:pt x="96" y="454"/>
                  </a:lnTo>
                  <a:lnTo>
                    <a:pt x="96" y="459"/>
                  </a:lnTo>
                  <a:lnTo>
                    <a:pt x="91" y="459"/>
                  </a:lnTo>
                  <a:lnTo>
                    <a:pt x="91" y="465"/>
                  </a:lnTo>
                  <a:lnTo>
                    <a:pt x="91" y="471"/>
                  </a:lnTo>
                  <a:lnTo>
                    <a:pt x="85" y="471"/>
                  </a:lnTo>
                  <a:lnTo>
                    <a:pt x="85" y="476"/>
                  </a:lnTo>
                  <a:lnTo>
                    <a:pt x="79" y="476"/>
                  </a:lnTo>
                  <a:lnTo>
                    <a:pt x="74" y="476"/>
                  </a:lnTo>
                  <a:lnTo>
                    <a:pt x="74" y="471"/>
                  </a:lnTo>
                  <a:lnTo>
                    <a:pt x="68" y="471"/>
                  </a:lnTo>
                  <a:lnTo>
                    <a:pt x="68" y="465"/>
                  </a:lnTo>
                  <a:lnTo>
                    <a:pt x="62" y="459"/>
                  </a:lnTo>
                  <a:lnTo>
                    <a:pt x="57" y="459"/>
                  </a:lnTo>
                  <a:lnTo>
                    <a:pt x="34" y="459"/>
                  </a:lnTo>
                  <a:lnTo>
                    <a:pt x="28" y="459"/>
                  </a:lnTo>
                  <a:lnTo>
                    <a:pt x="23" y="454"/>
                  </a:lnTo>
                  <a:lnTo>
                    <a:pt x="17" y="448"/>
                  </a:lnTo>
                  <a:close/>
                </a:path>
              </a:pathLst>
            </a:custGeom>
            <a:solidFill>
              <a:srgbClr val="006600"/>
            </a:solidFill>
            <a:ln w="25400">
              <a:solidFill>
                <a:schemeClr val="bg1">
                  <a:lumMod val="65000"/>
                </a:schemeClr>
              </a:solidFill>
              <a:round/>
              <a:headEnd/>
              <a:tailEnd/>
            </a:ln>
          </p:spPr>
          <p:txBody>
            <a:bodyPr lIns="93296" tIns="46648" rIns="93296" bIns="46648"/>
            <a:lstStyle/>
            <a:p>
              <a:pPr>
                <a:defRPr/>
              </a:pPr>
              <a:endParaRPr lang="en-US" sz="1000" kern="0">
                <a:solidFill>
                  <a:prstClr val="black">
                    <a:lumMod val="65000"/>
                    <a:lumOff val="35000"/>
                  </a:prstClr>
                </a:solidFill>
              </a:endParaRPr>
            </a:p>
          </p:txBody>
        </p:sp>
        <p:sp>
          <p:nvSpPr>
            <p:cNvPr id="14" name="Freeform 13"/>
            <p:cNvSpPr>
              <a:spLocks/>
            </p:cNvSpPr>
            <p:nvPr/>
          </p:nvSpPr>
          <p:spPr bwMode="gray">
            <a:xfrm>
              <a:off x="181974" y="3457410"/>
              <a:ext cx="946274" cy="801646"/>
            </a:xfrm>
            <a:custGeom>
              <a:avLst/>
              <a:gdLst>
                <a:gd name="T0" fmla="*/ 2147483647 w 674"/>
                <a:gd name="T1" fmla="*/ 2147483647 h 601"/>
                <a:gd name="T2" fmla="*/ 2147483647 w 674"/>
                <a:gd name="T3" fmla="*/ 2147483647 h 601"/>
                <a:gd name="T4" fmla="*/ 2147483647 w 674"/>
                <a:gd name="T5" fmla="*/ 2147483647 h 601"/>
                <a:gd name="T6" fmla="*/ 2147483647 w 674"/>
                <a:gd name="T7" fmla="*/ 2147483647 h 601"/>
                <a:gd name="T8" fmla="*/ 2147483647 w 674"/>
                <a:gd name="T9" fmla="*/ 2147483647 h 601"/>
                <a:gd name="T10" fmla="*/ 2147483647 w 674"/>
                <a:gd name="T11" fmla="*/ 2147483647 h 601"/>
                <a:gd name="T12" fmla="*/ 2147483647 w 674"/>
                <a:gd name="T13" fmla="*/ 2147483647 h 601"/>
                <a:gd name="T14" fmla="*/ 2147483647 w 674"/>
                <a:gd name="T15" fmla="*/ 2147483647 h 601"/>
                <a:gd name="T16" fmla="*/ 2147483647 w 674"/>
                <a:gd name="T17" fmla="*/ 2147483647 h 601"/>
                <a:gd name="T18" fmla="*/ 2147483647 w 674"/>
                <a:gd name="T19" fmla="*/ 2147483647 h 601"/>
                <a:gd name="T20" fmla="*/ 2147483647 w 674"/>
                <a:gd name="T21" fmla="*/ 2147483647 h 601"/>
                <a:gd name="T22" fmla="*/ 2147483647 w 674"/>
                <a:gd name="T23" fmla="*/ 2147483647 h 601"/>
                <a:gd name="T24" fmla="*/ 2147483647 w 674"/>
                <a:gd name="T25" fmla="*/ 0 h 601"/>
                <a:gd name="T26" fmla="*/ 2147483647 w 674"/>
                <a:gd name="T27" fmla="*/ 2147483647 h 601"/>
                <a:gd name="T28" fmla="*/ 2147483647 w 674"/>
                <a:gd name="T29" fmla="*/ 2147483647 h 601"/>
                <a:gd name="T30" fmla="*/ 2147483647 w 674"/>
                <a:gd name="T31" fmla="*/ 2147483647 h 601"/>
                <a:gd name="T32" fmla="*/ 2147483647 w 674"/>
                <a:gd name="T33" fmla="*/ 2147483647 h 601"/>
                <a:gd name="T34" fmla="*/ 2147483647 w 674"/>
                <a:gd name="T35" fmla="*/ 2147483647 h 601"/>
                <a:gd name="T36" fmla="*/ 2147483647 w 674"/>
                <a:gd name="T37" fmla="*/ 2147483647 h 601"/>
                <a:gd name="T38" fmla="*/ 2147483647 w 674"/>
                <a:gd name="T39" fmla="*/ 2147483647 h 601"/>
                <a:gd name="T40" fmla="*/ 2147483647 w 674"/>
                <a:gd name="T41" fmla="*/ 2147483647 h 601"/>
                <a:gd name="T42" fmla="*/ 2147483647 w 674"/>
                <a:gd name="T43" fmla="*/ 2147483647 h 601"/>
                <a:gd name="T44" fmla="*/ 2147483647 w 674"/>
                <a:gd name="T45" fmla="*/ 2147483647 h 601"/>
                <a:gd name="T46" fmla="*/ 2147483647 w 674"/>
                <a:gd name="T47" fmla="*/ 2147483647 h 601"/>
                <a:gd name="T48" fmla="*/ 2147483647 w 674"/>
                <a:gd name="T49" fmla="*/ 2147483647 h 601"/>
                <a:gd name="T50" fmla="*/ 2147483647 w 674"/>
                <a:gd name="T51" fmla="*/ 2147483647 h 601"/>
                <a:gd name="T52" fmla="*/ 2147483647 w 674"/>
                <a:gd name="T53" fmla="*/ 2147483647 h 601"/>
                <a:gd name="T54" fmla="*/ 2147483647 w 674"/>
                <a:gd name="T55" fmla="*/ 2147483647 h 601"/>
                <a:gd name="T56" fmla="*/ 2147483647 w 674"/>
                <a:gd name="T57" fmla="*/ 2147483647 h 601"/>
                <a:gd name="T58" fmla="*/ 2147483647 w 674"/>
                <a:gd name="T59" fmla="*/ 2147483647 h 601"/>
                <a:gd name="T60" fmla="*/ 2147483647 w 674"/>
                <a:gd name="T61" fmla="*/ 2147483647 h 601"/>
                <a:gd name="T62" fmla="*/ 2147483647 w 674"/>
                <a:gd name="T63" fmla="*/ 2147483647 h 601"/>
                <a:gd name="T64" fmla="*/ 2147483647 w 674"/>
                <a:gd name="T65" fmla="*/ 2147483647 h 601"/>
                <a:gd name="T66" fmla="*/ 2147483647 w 674"/>
                <a:gd name="T67" fmla="*/ 2147483647 h 601"/>
                <a:gd name="T68" fmla="*/ 2147483647 w 674"/>
                <a:gd name="T69" fmla="*/ 2147483647 h 601"/>
                <a:gd name="T70" fmla="*/ 2147483647 w 674"/>
                <a:gd name="T71" fmla="*/ 2147483647 h 601"/>
                <a:gd name="T72" fmla="*/ 2147483647 w 674"/>
                <a:gd name="T73" fmla="*/ 2147483647 h 601"/>
                <a:gd name="T74" fmla="*/ 2147483647 w 674"/>
                <a:gd name="T75" fmla="*/ 2147483647 h 601"/>
                <a:gd name="T76" fmla="*/ 2147483647 w 674"/>
                <a:gd name="T77" fmla="*/ 2147483647 h 601"/>
                <a:gd name="T78" fmla="*/ 2147483647 w 674"/>
                <a:gd name="T79" fmla="*/ 2147483647 h 601"/>
                <a:gd name="T80" fmla="*/ 2147483647 w 674"/>
                <a:gd name="T81" fmla="*/ 2147483647 h 601"/>
                <a:gd name="T82" fmla="*/ 2147483647 w 674"/>
                <a:gd name="T83" fmla="*/ 2147483647 h 601"/>
                <a:gd name="T84" fmla="*/ 2147483647 w 674"/>
                <a:gd name="T85" fmla="*/ 2147483647 h 601"/>
                <a:gd name="T86" fmla="*/ 2147483647 w 674"/>
                <a:gd name="T87" fmla="*/ 2147483647 h 601"/>
                <a:gd name="T88" fmla="*/ 2147483647 w 674"/>
                <a:gd name="T89" fmla="*/ 2147483647 h 601"/>
                <a:gd name="T90" fmla="*/ 2147483647 w 674"/>
                <a:gd name="T91" fmla="*/ 2147483647 h 601"/>
                <a:gd name="T92" fmla="*/ 2147483647 w 674"/>
                <a:gd name="T93" fmla="*/ 2147483647 h 601"/>
                <a:gd name="T94" fmla="*/ 2147483647 w 674"/>
                <a:gd name="T95" fmla="*/ 2147483647 h 601"/>
                <a:gd name="T96" fmla="*/ 2147483647 w 674"/>
                <a:gd name="T97" fmla="*/ 2147483647 h 601"/>
                <a:gd name="T98" fmla="*/ 2147483647 w 674"/>
                <a:gd name="T99" fmla="*/ 2147483647 h 601"/>
                <a:gd name="T100" fmla="*/ 2147483647 w 674"/>
                <a:gd name="T101" fmla="*/ 2147483647 h 601"/>
                <a:gd name="T102" fmla="*/ 2147483647 w 674"/>
                <a:gd name="T103" fmla="*/ 2147483647 h 601"/>
                <a:gd name="T104" fmla="*/ 2147483647 w 674"/>
                <a:gd name="T105" fmla="*/ 2147483647 h 601"/>
                <a:gd name="T106" fmla="*/ 2147483647 w 674"/>
                <a:gd name="T107" fmla="*/ 2147483647 h 601"/>
                <a:gd name="T108" fmla="*/ 2147483647 w 674"/>
                <a:gd name="T109" fmla="*/ 2147483647 h 601"/>
                <a:gd name="T110" fmla="*/ 2147483647 w 674"/>
                <a:gd name="T111" fmla="*/ 2147483647 h 601"/>
                <a:gd name="T112" fmla="*/ 2147483647 w 674"/>
                <a:gd name="T113" fmla="*/ 2147483647 h 601"/>
                <a:gd name="T114" fmla="*/ 2147483647 w 674"/>
                <a:gd name="T115" fmla="*/ 2147483647 h 601"/>
                <a:gd name="T116" fmla="*/ 2147483647 w 674"/>
                <a:gd name="T117" fmla="*/ 2147483647 h 601"/>
                <a:gd name="T118" fmla="*/ 2147483647 w 674"/>
                <a:gd name="T119" fmla="*/ 2147483647 h 601"/>
                <a:gd name="T120" fmla="*/ 2147483647 w 674"/>
                <a:gd name="T121" fmla="*/ 2147483647 h 601"/>
                <a:gd name="T122" fmla="*/ 2147483647 w 674"/>
                <a:gd name="T123" fmla="*/ 2147483647 h 601"/>
                <a:gd name="T124" fmla="*/ 2147483647 w 674"/>
                <a:gd name="T125" fmla="*/ 2147483647 h 60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674"/>
                <a:gd name="T190" fmla="*/ 0 h 601"/>
                <a:gd name="T191" fmla="*/ 674 w 674"/>
                <a:gd name="T192" fmla="*/ 601 h 601"/>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674" h="601">
                  <a:moveTo>
                    <a:pt x="17" y="533"/>
                  </a:moveTo>
                  <a:lnTo>
                    <a:pt x="17" y="527"/>
                  </a:lnTo>
                  <a:lnTo>
                    <a:pt x="17" y="522"/>
                  </a:lnTo>
                  <a:lnTo>
                    <a:pt x="17" y="516"/>
                  </a:lnTo>
                  <a:lnTo>
                    <a:pt x="23" y="510"/>
                  </a:lnTo>
                  <a:lnTo>
                    <a:pt x="28" y="510"/>
                  </a:lnTo>
                  <a:lnTo>
                    <a:pt x="28" y="505"/>
                  </a:lnTo>
                  <a:lnTo>
                    <a:pt x="23" y="499"/>
                  </a:lnTo>
                  <a:lnTo>
                    <a:pt x="23" y="488"/>
                  </a:lnTo>
                  <a:lnTo>
                    <a:pt x="23" y="482"/>
                  </a:lnTo>
                  <a:lnTo>
                    <a:pt x="28" y="471"/>
                  </a:lnTo>
                  <a:lnTo>
                    <a:pt x="28" y="465"/>
                  </a:lnTo>
                  <a:lnTo>
                    <a:pt x="34" y="465"/>
                  </a:lnTo>
                  <a:lnTo>
                    <a:pt x="40" y="459"/>
                  </a:lnTo>
                  <a:lnTo>
                    <a:pt x="40" y="448"/>
                  </a:lnTo>
                  <a:lnTo>
                    <a:pt x="40" y="442"/>
                  </a:lnTo>
                  <a:lnTo>
                    <a:pt x="40" y="437"/>
                  </a:lnTo>
                  <a:lnTo>
                    <a:pt x="34" y="437"/>
                  </a:lnTo>
                  <a:lnTo>
                    <a:pt x="28" y="437"/>
                  </a:lnTo>
                  <a:lnTo>
                    <a:pt x="23" y="437"/>
                  </a:lnTo>
                  <a:lnTo>
                    <a:pt x="23" y="431"/>
                  </a:lnTo>
                  <a:lnTo>
                    <a:pt x="17" y="425"/>
                  </a:lnTo>
                  <a:lnTo>
                    <a:pt x="17" y="420"/>
                  </a:lnTo>
                  <a:lnTo>
                    <a:pt x="28" y="408"/>
                  </a:lnTo>
                  <a:lnTo>
                    <a:pt x="23" y="403"/>
                  </a:lnTo>
                  <a:lnTo>
                    <a:pt x="28" y="391"/>
                  </a:lnTo>
                  <a:lnTo>
                    <a:pt x="28" y="386"/>
                  </a:lnTo>
                  <a:lnTo>
                    <a:pt x="28" y="380"/>
                  </a:lnTo>
                  <a:lnTo>
                    <a:pt x="28" y="374"/>
                  </a:lnTo>
                  <a:lnTo>
                    <a:pt x="17" y="374"/>
                  </a:lnTo>
                  <a:lnTo>
                    <a:pt x="17" y="357"/>
                  </a:lnTo>
                  <a:lnTo>
                    <a:pt x="17" y="352"/>
                  </a:lnTo>
                  <a:lnTo>
                    <a:pt x="23" y="346"/>
                  </a:lnTo>
                  <a:lnTo>
                    <a:pt x="28" y="346"/>
                  </a:lnTo>
                  <a:lnTo>
                    <a:pt x="34" y="340"/>
                  </a:lnTo>
                  <a:lnTo>
                    <a:pt x="40" y="340"/>
                  </a:lnTo>
                  <a:lnTo>
                    <a:pt x="40" y="335"/>
                  </a:lnTo>
                  <a:lnTo>
                    <a:pt x="40" y="329"/>
                  </a:lnTo>
                  <a:lnTo>
                    <a:pt x="34" y="329"/>
                  </a:lnTo>
                  <a:lnTo>
                    <a:pt x="28" y="323"/>
                  </a:lnTo>
                  <a:lnTo>
                    <a:pt x="23" y="318"/>
                  </a:lnTo>
                  <a:lnTo>
                    <a:pt x="28" y="312"/>
                  </a:lnTo>
                  <a:lnTo>
                    <a:pt x="34" y="306"/>
                  </a:lnTo>
                  <a:lnTo>
                    <a:pt x="40" y="295"/>
                  </a:lnTo>
                  <a:lnTo>
                    <a:pt x="40" y="289"/>
                  </a:lnTo>
                  <a:lnTo>
                    <a:pt x="40" y="284"/>
                  </a:lnTo>
                  <a:lnTo>
                    <a:pt x="40" y="278"/>
                  </a:lnTo>
                  <a:lnTo>
                    <a:pt x="34" y="267"/>
                  </a:lnTo>
                  <a:lnTo>
                    <a:pt x="34" y="261"/>
                  </a:lnTo>
                  <a:lnTo>
                    <a:pt x="28" y="261"/>
                  </a:lnTo>
                  <a:lnTo>
                    <a:pt x="28" y="255"/>
                  </a:lnTo>
                  <a:lnTo>
                    <a:pt x="28" y="244"/>
                  </a:lnTo>
                  <a:lnTo>
                    <a:pt x="28" y="238"/>
                  </a:lnTo>
                  <a:lnTo>
                    <a:pt x="28" y="221"/>
                  </a:lnTo>
                  <a:lnTo>
                    <a:pt x="28" y="204"/>
                  </a:lnTo>
                  <a:lnTo>
                    <a:pt x="34" y="204"/>
                  </a:lnTo>
                  <a:lnTo>
                    <a:pt x="40" y="204"/>
                  </a:lnTo>
                  <a:lnTo>
                    <a:pt x="45" y="199"/>
                  </a:lnTo>
                  <a:lnTo>
                    <a:pt x="45" y="193"/>
                  </a:lnTo>
                  <a:lnTo>
                    <a:pt x="45" y="182"/>
                  </a:lnTo>
                  <a:lnTo>
                    <a:pt x="40" y="176"/>
                  </a:lnTo>
                  <a:lnTo>
                    <a:pt x="34" y="170"/>
                  </a:lnTo>
                  <a:lnTo>
                    <a:pt x="34" y="165"/>
                  </a:lnTo>
                  <a:lnTo>
                    <a:pt x="28" y="165"/>
                  </a:lnTo>
                  <a:lnTo>
                    <a:pt x="28" y="159"/>
                  </a:lnTo>
                  <a:lnTo>
                    <a:pt x="28" y="153"/>
                  </a:lnTo>
                  <a:lnTo>
                    <a:pt x="23" y="148"/>
                  </a:lnTo>
                  <a:lnTo>
                    <a:pt x="23" y="142"/>
                  </a:lnTo>
                  <a:lnTo>
                    <a:pt x="17" y="136"/>
                  </a:lnTo>
                  <a:lnTo>
                    <a:pt x="17" y="131"/>
                  </a:lnTo>
                  <a:lnTo>
                    <a:pt x="17" y="119"/>
                  </a:lnTo>
                  <a:lnTo>
                    <a:pt x="23" y="102"/>
                  </a:lnTo>
                  <a:lnTo>
                    <a:pt x="23" y="91"/>
                  </a:lnTo>
                  <a:lnTo>
                    <a:pt x="17" y="85"/>
                  </a:lnTo>
                  <a:lnTo>
                    <a:pt x="23" y="74"/>
                  </a:lnTo>
                  <a:lnTo>
                    <a:pt x="23" y="68"/>
                  </a:lnTo>
                  <a:lnTo>
                    <a:pt x="17" y="62"/>
                  </a:lnTo>
                  <a:lnTo>
                    <a:pt x="11" y="62"/>
                  </a:lnTo>
                  <a:lnTo>
                    <a:pt x="11" y="57"/>
                  </a:lnTo>
                  <a:lnTo>
                    <a:pt x="11" y="51"/>
                  </a:lnTo>
                  <a:lnTo>
                    <a:pt x="6" y="45"/>
                  </a:lnTo>
                  <a:lnTo>
                    <a:pt x="0" y="34"/>
                  </a:lnTo>
                  <a:lnTo>
                    <a:pt x="6" y="23"/>
                  </a:lnTo>
                  <a:lnTo>
                    <a:pt x="6" y="17"/>
                  </a:lnTo>
                  <a:lnTo>
                    <a:pt x="11" y="17"/>
                  </a:lnTo>
                  <a:lnTo>
                    <a:pt x="11" y="11"/>
                  </a:lnTo>
                  <a:lnTo>
                    <a:pt x="11" y="6"/>
                  </a:lnTo>
                  <a:lnTo>
                    <a:pt x="11" y="0"/>
                  </a:lnTo>
                  <a:lnTo>
                    <a:pt x="17" y="0"/>
                  </a:lnTo>
                  <a:lnTo>
                    <a:pt x="23" y="0"/>
                  </a:lnTo>
                  <a:lnTo>
                    <a:pt x="28" y="0"/>
                  </a:lnTo>
                  <a:lnTo>
                    <a:pt x="34" y="0"/>
                  </a:lnTo>
                  <a:lnTo>
                    <a:pt x="40" y="0"/>
                  </a:lnTo>
                  <a:lnTo>
                    <a:pt x="45" y="0"/>
                  </a:lnTo>
                  <a:lnTo>
                    <a:pt x="51" y="0"/>
                  </a:lnTo>
                  <a:lnTo>
                    <a:pt x="62" y="6"/>
                  </a:lnTo>
                  <a:lnTo>
                    <a:pt x="57" y="11"/>
                  </a:lnTo>
                  <a:lnTo>
                    <a:pt x="62" y="11"/>
                  </a:lnTo>
                  <a:lnTo>
                    <a:pt x="62" y="17"/>
                  </a:lnTo>
                  <a:lnTo>
                    <a:pt x="68" y="23"/>
                  </a:lnTo>
                  <a:lnTo>
                    <a:pt x="68" y="28"/>
                  </a:lnTo>
                  <a:lnTo>
                    <a:pt x="68" y="34"/>
                  </a:lnTo>
                  <a:lnTo>
                    <a:pt x="68" y="45"/>
                  </a:lnTo>
                  <a:lnTo>
                    <a:pt x="68" y="51"/>
                  </a:lnTo>
                  <a:lnTo>
                    <a:pt x="68" y="57"/>
                  </a:lnTo>
                  <a:lnTo>
                    <a:pt x="68" y="62"/>
                  </a:lnTo>
                  <a:lnTo>
                    <a:pt x="68" y="68"/>
                  </a:lnTo>
                  <a:lnTo>
                    <a:pt x="68" y="74"/>
                  </a:lnTo>
                  <a:lnTo>
                    <a:pt x="74" y="74"/>
                  </a:lnTo>
                  <a:lnTo>
                    <a:pt x="79" y="74"/>
                  </a:lnTo>
                  <a:lnTo>
                    <a:pt x="79" y="68"/>
                  </a:lnTo>
                  <a:lnTo>
                    <a:pt x="79" y="62"/>
                  </a:lnTo>
                  <a:lnTo>
                    <a:pt x="85" y="57"/>
                  </a:lnTo>
                  <a:lnTo>
                    <a:pt x="85" y="45"/>
                  </a:lnTo>
                  <a:lnTo>
                    <a:pt x="91" y="40"/>
                  </a:lnTo>
                  <a:lnTo>
                    <a:pt x="96" y="40"/>
                  </a:lnTo>
                  <a:lnTo>
                    <a:pt x="102" y="45"/>
                  </a:lnTo>
                  <a:lnTo>
                    <a:pt x="108" y="51"/>
                  </a:lnTo>
                  <a:lnTo>
                    <a:pt x="108" y="57"/>
                  </a:lnTo>
                  <a:lnTo>
                    <a:pt x="108" y="62"/>
                  </a:lnTo>
                  <a:lnTo>
                    <a:pt x="108" y="68"/>
                  </a:lnTo>
                  <a:lnTo>
                    <a:pt x="108" y="74"/>
                  </a:lnTo>
                  <a:lnTo>
                    <a:pt x="102" y="74"/>
                  </a:lnTo>
                  <a:lnTo>
                    <a:pt x="102" y="80"/>
                  </a:lnTo>
                  <a:lnTo>
                    <a:pt x="102" y="85"/>
                  </a:lnTo>
                  <a:lnTo>
                    <a:pt x="102" y="91"/>
                  </a:lnTo>
                  <a:lnTo>
                    <a:pt x="96" y="97"/>
                  </a:lnTo>
                  <a:lnTo>
                    <a:pt x="96" y="108"/>
                  </a:lnTo>
                  <a:lnTo>
                    <a:pt x="96" y="114"/>
                  </a:lnTo>
                  <a:lnTo>
                    <a:pt x="102" y="119"/>
                  </a:lnTo>
                  <a:lnTo>
                    <a:pt x="102" y="125"/>
                  </a:lnTo>
                  <a:lnTo>
                    <a:pt x="102" y="131"/>
                  </a:lnTo>
                  <a:lnTo>
                    <a:pt x="108" y="131"/>
                  </a:lnTo>
                  <a:lnTo>
                    <a:pt x="108" y="136"/>
                  </a:lnTo>
                  <a:lnTo>
                    <a:pt x="108" y="142"/>
                  </a:lnTo>
                  <a:lnTo>
                    <a:pt x="113" y="142"/>
                  </a:lnTo>
                  <a:lnTo>
                    <a:pt x="113" y="148"/>
                  </a:lnTo>
                  <a:lnTo>
                    <a:pt x="113" y="153"/>
                  </a:lnTo>
                  <a:lnTo>
                    <a:pt x="119" y="153"/>
                  </a:lnTo>
                  <a:lnTo>
                    <a:pt x="125" y="153"/>
                  </a:lnTo>
                  <a:lnTo>
                    <a:pt x="125" y="159"/>
                  </a:lnTo>
                  <a:lnTo>
                    <a:pt x="125" y="165"/>
                  </a:lnTo>
                  <a:lnTo>
                    <a:pt x="130" y="165"/>
                  </a:lnTo>
                  <a:lnTo>
                    <a:pt x="130" y="170"/>
                  </a:lnTo>
                  <a:lnTo>
                    <a:pt x="136" y="170"/>
                  </a:lnTo>
                  <a:lnTo>
                    <a:pt x="136" y="182"/>
                  </a:lnTo>
                  <a:lnTo>
                    <a:pt x="142" y="182"/>
                  </a:lnTo>
                  <a:lnTo>
                    <a:pt x="142" y="187"/>
                  </a:lnTo>
                  <a:lnTo>
                    <a:pt x="142" y="193"/>
                  </a:lnTo>
                  <a:lnTo>
                    <a:pt x="147" y="193"/>
                  </a:lnTo>
                  <a:lnTo>
                    <a:pt x="153" y="199"/>
                  </a:lnTo>
                  <a:lnTo>
                    <a:pt x="159" y="210"/>
                  </a:lnTo>
                  <a:lnTo>
                    <a:pt x="164" y="210"/>
                  </a:lnTo>
                  <a:lnTo>
                    <a:pt x="164" y="216"/>
                  </a:lnTo>
                  <a:lnTo>
                    <a:pt x="170" y="216"/>
                  </a:lnTo>
                  <a:lnTo>
                    <a:pt x="170" y="221"/>
                  </a:lnTo>
                  <a:lnTo>
                    <a:pt x="181" y="227"/>
                  </a:lnTo>
                  <a:lnTo>
                    <a:pt x="187" y="227"/>
                  </a:lnTo>
                  <a:lnTo>
                    <a:pt x="193" y="227"/>
                  </a:lnTo>
                  <a:lnTo>
                    <a:pt x="198" y="227"/>
                  </a:lnTo>
                  <a:lnTo>
                    <a:pt x="204" y="227"/>
                  </a:lnTo>
                  <a:lnTo>
                    <a:pt x="210" y="227"/>
                  </a:lnTo>
                  <a:lnTo>
                    <a:pt x="215" y="227"/>
                  </a:lnTo>
                  <a:lnTo>
                    <a:pt x="221" y="221"/>
                  </a:lnTo>
                  <a:lnTo>
                    <a:pt x="227" y="216"/>
                  </a:lnTo>
                  <a:lnTo>
                    <a:pt x="232" y="210"/>
                  </a:lnTo>
                  <a:lnTo>
                    <a:pt x="232" y="204"/>
                  </a:lnTo>
                  <a:lnTo>
                    <a:pt x="238" y="199"/>
                  </a:lnTo>
                  <a:lnTo>
                    <a:pt x="238" y="193"/>
                  </a:lnTo>
                  <a:lnTo>
                    <a:pt x="238" y="182"/>
                  </a:lnTo>
                  <a:lnTo>
                    <a:pt x="244" y="182"/>
                  </a:lnTo>
                  <a:lnTo>
                    <a:pt x="244" y="176"/>
                  </a:lnTo>
                  <a:lnTo>
                    <a:pt x="249" y="176"/>
                  </a:lnTo>
                  <a:lnTo>
                    <a:pt x="255" y="176"/>
                  </a:lnTo>
                  <a:lnTo>
                    <a:pt x="255" y="182"/>
                  </a:lnTo>
                  <a:lnTo>
                    <a:pt x="261" y="182"/>
                  </a:lnTo>
                  <a:lnTo>
                    <a:pt x="261" y="187"/>
                  </a:lnTo>
                  <a:lnTo>
                    <a:pt x="261" y="193"/>
                  </a:lnTo>
                  <a:lnTo>
                    <a:pt x="266" y="193"/>
                  </a:lnTo>
                  <a:lnTo>
                    <a:pt x="266" y="199"/>
                  </a:lnTo>
                  <a:lnTo>
                    <a:pt x="272" y="199"/>
                  </a:lnTo>
                  <a:lnTo>
                    <a:pt x="278" y="199"/>
                  </a:lnTo>
                  <a:lnTo>
                    <a:pt x="283" y="199"/>
                  </a:lnTo>
                  <a:lnTo>
                    <a:pt x="295" y="193"/>
                  </a:lnTo>
                  <a:lnTo>
                    <a:pt x="306" y="193"/>
                  </a:lnTo>
                  <a:lnTo>
                    <a:pt x="312" y="193"/>
                  </a:lnTo>
                  <a:lnTo>
                    <a:pt x="317" y="193"/>
                  </a:lnTo>
                  <a:lnTo>
                    <a:pt x="323" y="199"/>
                  </a:lnTo>
                  <a:lnTo>
                    <a:pt x="329" y="199"/>
                  </a:lnTo>
                  <a:lnTo>
                    <a:pt x="334" y="199"/>
                  </a:lnTo>
                  <a:lnTo>
                    <a:pt x="340" y="199"/>
                  </a:lnTo>
                  <a:lnTo>
                    <a:pt x="340" y="204"/>
                  </a:lnTo>
                  <a:lnTo>
                    <a:pt x="346" y="204"/>
                  </a:lnTo>
                  <a:lnTo>
                    <a:pt x="346" y="210"/>
                  </a:lnTo>
                  <a:lnTo>
                    <a:pt x="346" y="216"/>
                  </a:lnTo>
                  <a:lnTo>
                    <a:pt x="351" y="216"/>
                  </a:lnTo>
                  <a:lnTo>
                    <a:pt x="351" y="221"/>
                  </a:lnTo>
                  <a:lnTo>
                    <a:pt x="351" y="227"/>
                  </a:lnTo>
                  <a:lnTo>
                    <a:pt x="351" y="233"/>
                  </a:lnTo>
                  <a:lnTo>
                    <a:pt x="357" y="238"/>
                  </a:lnTo>
                  <a:lnTo>
                    <a:pt x="363" y="238"/>
                  </a:lnTo>
                  <a:lnTo>
                    <a:pt x="363" y="244"/>
                  </a:lnTo>
                  <a:lnTo>
                    <a:pt x="363" y="250"/>
                  </a:lnTo>
                  <a:lnTo>
                    <a:pt x="368" y="250"/>
                  </a:lnTo>
                  <a:lnTo>
                    <a:pt x="374" y="250"/>
                  </a:lnTo>
                  <a:lnTo>
                    <a:pt x="374" y="261"/>
                  </a:lnTo>
                  <a:lnTo>
                    <a:pt x="374" y="267"/>
                  </a:lnTo>
                  <a:lnTo>
                    <a:pt x="374" y="272"/>
                  </a:lnTo>
                  <a:lnTo>
                    <a:pt x="374" y="278"/>
                  </a:lnTo>
                  <a:lnTo>
                    <a:pt x="374" y="284"/>
                  </a:lnTo>
                  <a:lnTo>
                    <a:pt x="374" y="289"/>
                  </a:lnTo>
                  <a:lnTo>
                    <a:pt x="374" y="295"/>
                  </a:lnTo>
                  <a:lnTo>
                    <a:pt x="374" y="301"/>
                  </a:lnTo>
                  <a:lnTo>
                    <a:pt x="374" y="306"/>
                  </a:lnTo>
                  <a:lnTo>
                    <a:pt x="368" y="312"/>
                  </a:lnTo>
                  <a:lnTo>
                    <a:pt x="363" y="312"/>
                  </a:lnTo>
                  <a:lnTo>
                    <a:pt x="363" y="318"/>
                  </a:lnTo>
                  <a:lnTo>
                    <a:pt x="363" y="323"/>
                  </a:lnTo>
                  <a:lnTo>
                    <a:pt x="368" y="323"/>
                  </a:lnTo>
                  <a:lnTo>
                    <a:pt x="374" y="323"/>
                  </a:lnTo>
                  <a:lnTo>
                    <a:pt x="385" y="329"/>
                  </a:lnTo>
                  <a:lnTo>
                    <a:pt x="391" y="329"/>
                  </a:lnTo>
                  <a:lnTo>
                    <a:pt x="397" y="329"/>
                  </a:lnTo>
                  <a:lnTo>
                    <a:pt x="402" y="329"/>
                  </a:lnTo>
                  <a:lnTo>
                    <a:pt x="408" y="329"/>
                  </a:lnTo>
                  <a:lnTo>
                    <a:pt x="419" y="329"/>
                  </a:lnTo>
                  <a:lnTo>
                    <a:pt x="431" y="323"/>
                  </a:lnTo>
                  <a:lnTo>
                    <a:pt x="436" y="323"/>
                  </a:lnTo>
                  <a:lnTo>
                    <a:pt x="442" y="318"/>
                  </a:lnTo>
                  <a:lnTo>
                    <a:pt x="448" y="318"/>
                  </a:lnTo>
                  <a:lnTo>
                    <a:pt x="448" y="323"/>
                  </a:lnTo>
                  <a:lnTo>
                    <a:pt x="453" y="323"/>
                  </a:lnTo>
                  <a:lnTo>
                    <a:pt x="459" y="318"/>
                  </a:lnTo>
                  <a:lnTo>
                    <a:pt x="465" y="318"/>
                  </a:lnTo>
                  <a:lnTo>
                    <a:pt x="465" y="312"/>
                  </a:lnTo>
                  <a:lnTo>
                    <a:pt x="470" y="306"/>
                  </a:lnTo>
                  <a:lnTo>
                    <a:pt x="476" y="306"/>
                  </a:lnTo>
                  <a:lnTo>
                    <a:pt x="482" y="301"/>
                  </a:lnTo>
                  <a:lnTo>
                    <a:pt x="487" y="301"/>
                  </a:lnTo>
                  <a:lnTo>
                    <a:pt x="487" y="295"/>
                  </a:lnTo>
                  <a:lnTo>
                    <a:pt x="493" y="295"/>
                  </a:lnTo>
                  <a:lnTo>
                    <a:pt x="499" y="289"/>
                  </a:lnTo>
                  <a:lnTo>
                    <a:pt x="504" y="289"/>
                  </a:lnTo>
                  <a:lnTo>
                    <a:pt x="510" y="295"/>
                  </a:lnTo>
                  <a:lnTo>
                    <a:pt x="516" y="295"/>
                  </a:lnTo>
                  <a:lnTo>
                    <a:pt x="516" y="306"/>
                  </a:lnTo>
                  <a:lnTo>
                    <a:pt x="521" y="312"/>
                  </a:lnTo>
                  <a:lnTo>
                    <a:pt x="527" y="318"/>
                  </a:lnTo>
                  <a:lnTo>
                    <a:pt x="527" y="323"/>
                  </a:lnTo>
                  <a:lnTo>
                    <a:pt x="527" y="329"/>
                  </a:lnTo>
                  <a:lnTo>
                    <a:pt x="533" y="335"/>
                  </a:lnTo>
                  <a:lnTo>
                    <a:pt x="538" y="340"/>
                  </a:lnTo>
                  <a:lnTo>
                    <a:pt x="544" y="340"/>
                  </a:lnTo>
                  <a:lnTo>
                    <a:pt x="550" y="335"/>
                  </a:lnTo>
                  <a:lnTo>
                    <a:pt x="555" y="335"/>
                  </a:lnTo>
                  <a:lnTo>
                    <a:pt x="561" y="335"/>
                  </a:lnTo>
                  <a:lnTo>
                    <a:pt x="561" y="329"/>
                  </a:lnTo>
                  <a:lnTo>
                    <a:pt x="567" y="323"/>
                  </a:lnTo>
                  <a:lnTo>
                    <a:pt x="572" y="323"/>
                  </a:lnTo>
                  <a:lnTo>
                    <a:pt x="578" y="329"/>
                  </a:lnTo>
                  <a:lnTo>
                    <a:pt x="584" y="329"/>
                  </a:lnTo>
                  <a:lnTo>
                    <a:pt x="584" y="335"/>
                  </a:lnTo>
                  <a:lnTo>
                    <a:pt x="584" y="340"/>
                  </a:lnTo>
                  <a:lnTo>
                    <a:pt x="589" y="346"/>
                  </a:lnTo>
                  <a:lnTo>
                    <a:pt x="589" y="352"/>
                  </a:lnTo>
                  <a:lnTo>
                    <a:pt x="601" y="357"/>
                  </a:lnTo>
                  <a:lnTo>
                    <a:pt x="601" y="363"/>
                  </a:lnTo>
                  <a:lnTo>
                    <a:pt x="606" y="363"/>
                  </a:lnTo>
                  <a:lnTo>
                    <a:pt x="612" y="363"/>
                  </a:lnTo>
                  <a:lnTo>
                    <a:pt x="629" y="357"/>
                  </a:lnTo>
                  <a:lnTo>
                    <a:pt x="629" y="352"/>
                  </a:lnTo>
                  <a:lnTo>
                    <a:pt x="635" y="352"/>
                  </a:lnTo>
                  <a:lnTo>
                    <a:pt x="640" y="352"/>
                  </a:lnTo>
                  <a:lnTo>
                    <a:pt x="652" y="352"/>
                  </a:lnTo>
                  <a:lnTo>
                    <a:pt x="657" y="352"/>
                  </a:lnTo>
                  <a:lnTo>
                    <a:pt x="663" y="352"/>
                  </a:lnTo>
                  <a:lnTo>
                    <a:pt x="669" y="352"/>
                  </a:lnTo>
                  <a:lnTo>
                    <a:pt x="663" y="363"/>
                  </a:lnTo>
                  <a:lnTo>
                    <a:pt x="663" y="374"/>
                  </a:lnTo>
                  <a:lnTo>
                    <a:pt x="657" y="380"/>
                  </a:lnTo>
                  <a:lnTo>
                    <a:pt x="657" y="391"/>
                  </a:lnTo>
                  <a:lnTo>
                    <a:pt x="657" y="403"/>
                  </a:lnTo>
                  <a:lnTo>
                    <a:pt x="657" y="408"/>
                  </a:lnTo>
                  <a:lnTo>
                    <a:pt x="657" y="414"/>
                  </a:lnTo>
                  <a:lnTo>
                    <a:pt x="646" y="420"/>
                  </a:lnTo>
                  <a:lnTo>
                    <a:pt x="640" y="420"/>
                  </a:lnTo>
                  <a:lnTo>
                    <a:pt x="635" y="425"/>
                  </a:lnTo>
                  <a:lnTo>
                    <a:pt x="629" y="431"/>
                  </a:lnTo>
                  <a:lnTo>
                    <a:pt x="623" y="431"/>
                  </a:lnTo>
                  <a:lnTo>
                    <a:pt x="618" y="437"/>
                  </a:lnTo>
                  <a:lnTo>
                    <a:pt x="606" y="442"/>
                  </a:lnTo>
                  <a:lnTo>
                    <a:pt x="601" y="448"/>
                  </a:lnTo>
                  <a:lnTo>
                    <a:pt x="601" y="454"/>
                  </a:lnTo>
                  <a:lnTo>
                    <a:pt x="601" y="471"/>
                  </a:lnTo>
                  <a:lnTo>
                    <a:pt x="595" y="471"/>
                  </a:lnTo>
                  <a:lnTo>
                    <a:pt x="595" y="476"/>
                  </a:lnTo>
                  <a:lnTo>
                    <a:pt x="601" y="482"/>
                  </a:lnTo>
                  <a:lnTo>
                    <a:pt x="601" y="488"/>
                  </a:lnTo>
                  <a:lnTo>
                    <a:pt x="606" y="493"/>
                  </a:lnTo>
                  <a:lnTo>
                    <a:pt x="612" y="499"/>
                  </a:lnTo>
                  <a:lnTo>
                    <a:pt x="618" y="499"/>
                  </a:lnTo>
                  <a:lnTo>
                    <a:pt x="629" y="499"/>
                  </a:lnTo>
                  <a:lnTo>
                    <a:pt x="635" y="499"/>
                  </a:lnTo>
                  <a:lnTo>
                    <a:pt x="640" y="499"/>
                  </a:lnTo>
                  <a:lnTo>
                    <a:pt x="646" y="499"/>
                  </a:lnTo>
                  <a:lnTo>
                    <a:pt x="652" y="493"/>
                  </a:lnTo>
                  <a:lnTo>
                    <a:pt x="657" y="488"/>
                  </a:lnTo>
                  <a:lnTo>
                    <a:pt x="669" y="482"/>
                  </a:lnTo>
                  <a:lnTo>
                    <a:pt x="669" y="476"/>
                  </a:lnTo>
                  <a:lnTo>
                    <a:pt x="674" y="476"/>
                  </a:lnTo>
                  <a:lnTo>
                    <a:pt x="674" y="482"/>
                  </a:lnTo>
                  <a:lnTo>
                    <a:pt x="674" y="488"/>
                  </a:lnTo>
                  <a:lnTo>
                    <a:pt x="674" y="493"/>
                  </a:lnTo>
                  <a:lnTo>
                    <a:pt x="674" y="499"/>
                  </a:lnTo>
                  <a:lnTo>
                    <a:pt x="674" y="505"/>
                  </a:lnTo>
                  <a:lnTo>
                    <a:pt x="674" y="516"/>
                  </a:lnTo>
                  <a:lnTo>
                    <a:pt x="674" y="522"/>
                  </a:lnTo>
                  <a:lnTo>
                    <a:pt x="674" y="527"/>
                  </a:lnTo>
                  <a:lnTo>
                    <a:pt x="674" y="533"/>
                  </a:lnTo>
                  <a:lnTo>
                    <a:pt x="669" y="533"/>
                  </a:lnTo>
                  <a:lnTo>
                    <a:pt x="663" y="539"/>
                  </a:lnTo>
                  <a:lnTo>
                    <a:pt x="657" y="544"/>
                  </a:lnTo>
                  <a:lnTo>
                    <a:pt x="657" y="550"/>
                  </a:lnTo>
                  <a:lnTo>
                    <a:pt x="657" y="556"/>
                  </a:lnTo>
                  <a:lnTo>
                    <a:pt x="646" y="556"/>
                  </a:lnTo>
                  <a:lnTo>
                    <a:pt x="640" y="556"/>
                  </a:lnTo>
                  <a:lnTo>
                    <a:pt x="635" y="556"/>
                  </a:lnTo>
                  <a:lnTo>
                    <a:pt x="635" y="561"/>
                  </a:lnTo>
                  <a:lnTo>
                    <a:pt x="635" y="567"/>
                  </a:lnTo>
                  <a:lnTo>
                    <a:pt x="640" y="567"/>
                  </a:lnTo>
                  <a:lnTo>
                    <a:pt x="646" y="567"/>
                  </a:lnTo>
                  <a:lnTo>
                    <a:pt x="652" y="567"/>
                  </a:lnTo>
                  <a:lnTo>
                    <a:pt x="657" y="567"/>
                  </a:lnTo>
                  <a:lnTo>
                    <a:pt x="669" y="567"/>
                  </a:lnTo>
                  <a:lnTo>
                    <a:pt x="674" y="573"/>
                  </a:lnTo>
                  <a:lnTo>
                    <a:pt x="674" y="578"/>
                  </a:lnTo>
                  <a:lnTo>
                    <a:pt x="674" y="584"/>
                  </a:lnTo>
                  <a:lnTo>
                    <a:pt x="669" y="595"/>
                  </a:lnTo>
                  <a:lnTo>
                    <a:pt x="663" y="595"/>
                  </a:lnTo>
                  <a:lnTo>
                    <a:pt x="657" y="601"/>
                  </a:lnTo>
                  <a:lnTo>
                    <a:pt x="657" y="595"/>
                  </a:lnTo>
                  <a:lnTo>
                    <a:pt x="652" y="595"/>
                  </a:lnTo>
                  <a:lnTo>
                    <a:pt x="629" y="584"/>
                  </a:lnTo>
                  <a:lnTo>
                    <a:pt x="623" y="584"/>
                  </a:lnTo>
                  <a:lnTo>
                    <a:pt x="618" y="578"/>
                  </a:lnTo>
                  <a:lnTo>
                    <a:pt x="606" y="578"/>
                  </a:lnTo>
                  <a:lnTo>
                    <a:pt x="601" y="573"/>
                  </a:lnTo>
                  <a:lnTo>
                    <a:pt x="589" y="573"/>
                  </a:lnTo>
                  <a:lnTo>
                    <a:pt x="578" y="573"/>
                  </a:lnTo>
                  <a:lnTo>
                    <a:pt x="578" y="556"/>
                  </a:lnTo>
                  <a:lnTo>
                    <a:pt x="578" y="544"/>
                  </a:lnTo>
                  <a:lnTo>
                    <a:pt x="572" y="544"/>
                  </a:lnTo>
                  <a:lnTo>
                    <a:pt x="561" y="544"/>
                  </a:lnTo>
                  <a:lnTo>
                    <a:pt x="550" y="544"/>
                  </a:lnTo>
                  <a:lnTo>
                    <a:pt x="544" y="544"/>
                  </a:lnTo>
                  <a:lnTo>
                    <a:pt x="538" y="539"/>
                  </a:lnTo>
                  <a:lnTo>
                    <a:pt x="533" y="533"/>
                  </a:lnTo>
                  <a:lnTo>
                    <a:pt x="521" y="533"/>
                  </a:lnTo>
                  <a:lnTo>
                    <a:pt x="516" y="527"/>
                  </a:lnTo>
                  <a:lnTo>
                    <a:pt x="516" y="522"/>
                  </a:lnTo>
                  <a:lnTo>
                    <a:pt x="521" y="516"/>
                  </a:lnTo>
                  <a:lnTo>
                    <a:pt x="527" y="516"/>
                  </a:lnTo>
                  <a:lnTo>
                    <a:pt x="533" y="516"/>
                  </a:lnTo>
                  <a:lnTo>
                    <a:pt x="538" y="516"/>
                  </a:lnTo>
                  <a:lnTo>
                    <a:pt x="538" y="510"/>
                  </a:lnTo>
                  <a:lnTo>
                    <a:pt x="544" y="505"/>
                  </a:lnTo>
                  <a:lnTo>
                    <a:pt x="544" y="499"/>
                  </a:lnTo>
                  <a:lnTo>
                    <a:pt x="538" y="499"/>
                  </a:lnTo>
                  <a:lnTo>
                    <a:pt x="538" y="493"/>
                  </a:lnTo>
                  <a:lnTo>
                    <a:pt x="533" y="493"/>
                  </a:lnTo>
                  <a:lnTo>
                    <a:pt x="527" y="499"/>
                  </a:lnTo>
                  <a:lnTo>
                    <a:pt x="521" y="499"/>
                  </a:lnTo>
                  <a:lnTo>
                    <a:pt x="516" y="499"/>
                  </a:lnTo>
                  <a:lnTo>
                    <a:pt x="510" y="499"/>
                  </a:lnTo>
                  <a:lnTo>
                    <a:pt x="504" y="505"/>
                  </a:lnTo>
                  <a:lnTo>
                    <a:pt x="499" y="505"/>
                  </a:lnTo>
                  <a:lnTo>
                    <a:pt x="493" y="505"/>
                  </a:lnTo>
                  <a:lnTo>
                    <a:pt x="493" y="499"/>
                  </a:lnTo>
                  <a:lnTo>
                    <a:pt x="487" y="488"/>
                  </a:lnTo>
                  <a:lnTo>
                    <a:pt x="487" y="482"/>
                  </a:lnTo>
                  <a:lnTo>
                    <a:pt x="493" y="482"/>
                  </a:lnTo>
                  <a:lnTo>
                    <a:pt x="493" y="476"/>
                  </a:lnTo>
                  <a:lnTo>
                    <a:pt x="504" y="471"/>
                  </a:lnTo>
                  <a:lnTo>
                    <a:pt x="510" y="471"/>
                  </a:lnTo>
                  <a:lnTo>
                    <a:pt x="510" y="465"/>
                  </a:lnTo>
                  <a:lnTo>
                    <a:pt x="516" y="465"/>
                  </a:lnTo>
                  <a:lnTo>
                    <a:pt x="516" y="459"/>
                  </a:lnTo>
                  <a:lnTo>
                    <a:pt x="510" y="459"/>
                  </a:lnTo>
                  <a:lnTo>
                    <a:pt x="487" y="459"/>
                  </a:lnTo>
                  <a:lnTo>
                    <a:pt x="448" y="459"/>
                  </a:lnTo>
                  <a:lnTo>
                    <a:pt x="380" y="459"/>
                  </a:lnTo>
                  <a:lnTo>
                    <a:pt x="368" y="459"/>
                  </a:lnTo>
                  <a:lnTo>
                    <a:pt x="363" y="459"/>
                  </a:lnTo>
                  <a:lnTo>
                    <a:pt x="266" y="459"/>
                  </a:lnTo>
                  <a:lnTo>
                    <a:pt x="261" y="459"/>
                  </a:lnTo>
                  <a:lnTo>
                    <a:pt x="261" y="465"/>
                  </a:lnTo>
                  <a:lnTo>
                    <a:pt x="261" y="471"/>
                  </a:lnTo>
                  <a:lnTo>
                    <a:pt x="255" y="471"/>
                  </a:lnTo>
                  <a:lnTo>
                    <a:pt x="249" y="471"/>
                  </a:lnTo>
                  <a:lnTo>
                    <a:pt x="244" y="471"/>
                  </a:lnTo>
                  <a:lnTo>
                    <a:pt x="238" y="471"/>
                  </a:lnTo>
                  <a:lnTo>
                    <a:pt x="232" y="465"/>
                  </a:lnTo>
                  <a:lnTo>
                    <a:pt x="227" y="459"/>
                  </a:lnTo>
                  <a:lnTo>
                    <a:pt x="227" y="454"/>
                  </a:lnTo>
                  <a:lnTo>
                    <a:pt x="221" y="454"/>
                  </a:lnTo>
                  <a:lnTo>
                    <a:pt x="210" y="454"/>
                  </a:lnTo>
                  <a:lnTo>
                    <a:pt x="198" y="454"/>
                  </a:lnTo>
                  <a:lnTo>
                    <a:pt x="198" y="459"/>
                  </a:lnTo>
                  <a:lnTo>
                    <a:pt x="193" y="459"/>
                  </a:lnTo>
                  <a:lnTo>
                    <a:pt x="193" y="465"/>
                  </a:lnTo>
                  <a:lnTo>
                    <a:pt x="193" y="471"/>
                  </a:lnTo>
                  <a:lnTo>
                    <a:pt x="187" y="476"/>
                  </a:lnTo>
                  <a:lnTo>
                    <a:pt x="187" y="482"/>
                  </a:lnTo>
                  <a:lnTo>
                    <a:pt x="181" y="482"/>
                  </a:lnTo>
                  <a:lnTo>
                    <a:pt x="181" y="488"/>
                  </a:lnTo>
                  <a:lnTo>
                    <a:pt x="181" y="493"/>
                  </a:lnTo>
                  <a:lnTo>
                    <a:pt x="176" y="505"/>
                  </a:lnTo>
                  <a:lnTo>
                    <a:pt x="170" y="505"/>
                  </a:lnTo>
                  <a:lnTo>
                    <a:pt x="164" y="510"/>
                  </a:lnTo>
                  <a:lnTo>
                    <a:pt x="164" y="516"/>
                  </a:lnTo>
                  <a:lnTo>
                    <a:pt x="159" y="516"/>
                  </a:lnTo>
                  <a:lnTo>
                    <a:pt x="153" y="516"/>
                  </a:lnTo>
                  <a:lnTo>
                    <a:pt x="147" y="516"/>
                  </a:lnTo>
                  <a:lnTo>
                    <a:pt x="142" y="516"/>
                  </a:lnTo>
                  <a:lnTo>
                    <a:pt x="136" y="516"/>
                  </a:lnTo>
                  <a:lnTo>
                    <a:pt x="130" y="516"/>
                  </a:lnTo>
                  <a:lnTo>
                    <a:pt x="125" y="516"/>
                  </a:lnTo>
                  <a:lnTo>
                    <a:pt x="119" y="516"/>
                  </a:lnTo>
                  <a:lnTo>
                    <a:pt x="113" y="516"/>
                  </a:lnTo>
                  <a:lnTo>
                    <a:pt x="108" y="516"/>
                  </a:lnTo>
                  <a:lnTo>
                    <a:pt x="102" y="516"/>
                  </a:lnTo>
                  <a:lnTo>
                    <a:pt x="96" y="516"/>
                  </a:lnTo>
                  <a:lnTo>
                    <a:pt x="91" y="516"/>
                  </a:lnTo>
                  <a:lnTo>
                    <a:pt x="85" y="516"/>
                  </a:lnTo>
                  <a:lnTo>
                    <a:pt x="79" y="510"/>
                  </a:lnTo>
                  <a:lnTo>
                    <a:pt x="74" y="510"/>
                  </a:lnTo>
                  <a:lnTo>
                    <a:pt x="68" y="510"/>
                  </a:lnTo>
                  <a:lnTo>
                    <a:pt x="62" y="516"/>
                  </a:lnTo>
                  <a:lnTo>
                    <a:pt x="57" y="522"/>
                  </a:lnTo>
                  <a:lnTo>
                    <a:pt x="57" y="527"/>
                  </a:lnTo>
                  <a:lnTo>
                    <a:pt x="51" y="527"/>
                  </a:lnTo>
                  <a:lnTo>
                    <a:pt x="45" y="527"/>
                  </a:lnTo>
                  <a:lnTo>
                    <a:pt x="40" y="533"/>
                  </a:lnTo>
                  <a:lnTo>
                    <a:pt x="34" y="527"/>
                  </a:lnTo>
                  <a:lnTo>
                    <a:pt x="28" y="527"/>
                  </a:lnTo>
                  <a:lnTo>
                    <a:pt x="17" y="527"/>
                  </a:lnTo>
                  <a:lnTo>
                    <a:pt x="17" y="533"/>
                  </a:lnTo>
                  <a:close/>
                </a:path>
              </a:pathLst>
            </a:custGeom>
            <a:solidFill>
              <a:schemeClr val="bg1">
                <a:lumMod val="95000"/>
              </a:schemeClr>
            </a:solidFill>
            <a:ln w="25400">
              <a:solidFill>
                <a:srgbClr val="B4B4B4"/>
              </a:solidFill>
              <a:round/>
              <a:headEnd/>
              <a:tailEnd/>
            </a:ln>
          </p:spPr>
          <p:txBody>
            <a:bodyPr lIns="93296" tIns="46648" rIns="93296" bIns="46648"/>
            <a:lstStyle/>
            <a:p>
              <a:pPr>
                <a:defRPr/>
              </a:pPr>
              <a:endParaRPr lang="en-US" sz="1000" kern="0">
                <a:solidFill>
                  <a:prstClr val="black">
                    <a:lumMod val="65000"/>
                    <a:lumOff val="35000"/>
                  </a:prstClr>
                </a:solidFill>
              </a:endParaRPr>
            </a:p>
          </p:txBody>
        </p:sp>
        <p:sp>
          <p:nvSpPr>
            <p:cNvPr id="15" name="Freeform 14"/>
            <p:cNvSpPr>
              <a:spLocks/>
            </p:cNvSpPr>
            <p:nvPr/>
          </p:nvSpPr>
          <p:spPr bwMode="gray">
            <a:xfrm>
              <a:off x="1016842" y="3403796"/>
              <a:ext cx="859029" cy="1051841"/>
            </a:xfrm>
            <a:custGeom>
              <a:avLst/>
              <a:gdLst>
                <a:gd name="T0" fmla="*/ 2147483647 w 612"/>
                <a:gd name="T1" fmla="*/ 2147483647 h 788"/>
                <a:gd name="T2" fmla="*/ 2147483647 w 612"/>
                <a:gd name="T3" fmla="*/ 2147483647 h 788"/>
                <a:gd name="T4" fmla="*/ 2147483647 w 612"/>
                <a:gd name="T5" fmla="*/ 2147483647 h 788"/>
                <a:gd name="T6" fmla="*/ 2147483647 w 612"/>
                <a:gd name="T7" fmla="*/ 2147483647 h 788"/>
                <a:gd name="T8" fmla="*/ 2147483647 w 612"/>
                <a:gd name="T9" fmla="*/ 2147483647 h 788"/>
                <a:gd name="T10" fmla="*/ 2147483647 w 612"/>
                <a:gd name="T11" fmla="*/ 2147483647 h 788"/>
                <a:gd name="T12" fmla="*/ 2147483647 w 612"/>
                <a:gd name="T13" fmla="*/ 2147483647 h 788"/>
                <a:gd name="T14" fmla="*/ 2147483647 w 612"/>
                <a:gd name="T15" fmla="*/ 2147483647 h 788"/>
                <a:gd name="T16" fmla="*/ 2147483647 w 612"/>
                <a:gd name="T17" fmla="*/ 2147483647 h 788"/>
                <a:gd name="T18" fmla="*/ 2147483647 w 612"/>
                <a:gd name="T19" fmla="*/ 2147483647 h 788"/>
                <a:gd name="T20" fmla="*/ 2147483647 w 612"/>
                <a:gd name="T21" fmla="*/ 2147483647 h 788"/>
                <a:gd name="T22" fmla="*/ 2147483647 w 612"/>
                <a:gd name="T23" fmla="*/ 2147483647 h 788"/>
                <a:gd name="T24" fmla="*/ 2147483647 w 612"/>
                <a:gd name="T25" fmla="*/ 2147483647 h 788"/>
                <a:gd name="T26" fmla="*/ 2147483647 w 612"/>
                <a:gd name="T27" fmla="*/ 2147483647 h 788"/>
                <a:gd name="T28" fmla="*/ 2147483647 w 612"/>
                <a:gd name="T29" fmla="*/ 2147483647 h 788"/>
                <a:gd name="T30" fmla="*/ 2147483647 w 612"/>
                <a:gd name="T31" fmla="*/ 2147483647 h 788"/>
                <a:gd name="T32" fmla="*/ 2147483647 w 612"/>
                <a:gd name="T33" fmla="*/ 2147483647 h 788"/>
                <a:gd name="T34" fmla="*/ 2147483647 w 612"/>
                <a:gd name="T35" fmla="*/ 2147483647 h 788"/>
                <a:gd name="T36" fmla="*/ 2147483647 w 612"/>
                <a:gd name="T37" fmla="*/ 2147483647 h 788"/>
                <a:gd name="T38" fmla="*/ 2147483647 w 612"/>
                <a:gd name="T39" fmla="*/ 2147483647 h 788"/>
                <a:gd name="T40" fmla="*/ 2147483647 w 612"/>
                <a:gd name="T41" fmla="*/ 2147483647 h 788"/>
                <a:gd name="T42" fmla="*/ 2147483647 w 612"/>
                <a:gd name="T43" fmla="*/ 2147483647 h 788"/>
                <a:gd name="T44" fmla="*/ 2147483647 w 612"/>
                <a:gd name="T45" fmla="*/ 2147483647 h 788"/>
                <a:gd name="T46" fmla="*/ 2147483647 w 612"/>
                <a:gd name="T47" fmla="*/ 2147483647 h 788"/>
                <a:gd name="T48" fmla="*/ 2147483647 w 612"/>
                <a:gd name="T49" fmla="*/ 0 h 788"/>
                <a:gd name="T50" fmla="*/ 2147483647 w 612"/>
                <a:gd name="T51" fmla="*/ 2147483647 h 788"/>
                <a:gd name="T52" fmla="*/ 2147483647 w 612"/>
                <a:gd name="T53" fmla="*/ 2147483647 h 788"/>
                <a:gd name="T54" fmla="*/ 2147483647 w 612"/>
                <a:gd name="T55" fmla="*/ 2147483647 h 788"/>
                <a:gd name="T56" fmla="*/ 2147483647 w 612"/>
                <a:gd name="T57" fmla="*/ 2147483647 h 788"/>
                <a:gd name="T58" fmla="*/ 2147483647 w 612"/>
                <a:gd name="T59" fmla="*/ 2147483647 h 788"/>
                <a:gd name="T60" fmla="*/ 2147483647 w 612"/>
                <a:gd name="T61" fmla="*/ 2147483647 h 788"/>
                <a:gd name="T62" fmla="*/ 2147483647 w 612"/>
                <a:gd name="T63" fmla="*/ 2147483647 h 788"/>
                <a:gd name="T64" fmla="*/ 2147483647 w 612"/>
                <a:gd name="T65" fmla="*/ 2147483647 h 788"/>
                <a:gd name="T66" fmla="*/ 2147483647 w 612"/>
                <a:gd name="T67" fmla="*/ 2147483647 h 788"/>
                <a:gd name="T68" fmla="*/ 2147483647 w 612"/>
                <a:gd name="T69" fmla="*/ 2147483647 h 788"/>
                <a:gd name="T70" fmla="*/ 2147483647 w 612"/>
                <a:gd name="T71" fmla="*/ 2147483647 h 788"/>
                <a:gd name="T72" fmla="*/ 2147483647 w 612"/>
                <a:gd name="T73" fmla="*/ 2147483647 h 788"/>
                <a:gd name="T74" fmla="*/ 2147483647 w 612"/>
                <a:gd name="T75" fmla="*/ 2147483647 h 788"/>
                <a:gd name="T76" fmla="*/ 2147483647 w 612"/>
                <a:gd name="T77" fmla="*/ 2147483647 h 788"/>
                <a:gd name="T78" fmla="*/ 2147483647 w 612"/>
                <a:gd name="T79" fmla="*/ 2147483647 h 788"/>
                <a:gd name="T80" fmla="*/ 2147483647 w 612"/>
                <a:gd name="T81" fmla="*/ 2147483647 h 788"/>
                <a:gd name="T82" fmla="*/ 2147483647 w 612"/>
                <a:gd name="T83" fmla="*/ 2147483647 h 788"/>
                <a:gd name="T84" fmla="*/ 2147483647 w 612"/>
                <a:gd name="T85" fmla="*/ 2147483647 h 788"/>
                <a:gd name="T86" fmla="*/ 2147483647 w 612"/>
                <a:gd name="T87" fmla="*/ 2147483647 h 788"/>
                <a:gd name="T88" fmla="*/ 2147483647 w 612"/>
                <a:gd name="T89" fmla="*/ 2147483647 h 788"/>
                <a:gd name="T90" fmla="*/ 2147483647 w 612"/>
                <a:gd name="T91" fmla="*/ 2147483647 h 788"/>
                <a:gd name="T92" fmla="*/ 2147483647 w 612"/>
                <a:gd name="T93" fmla="*/ 2147483647 h 788"/>
                <a:gd name="T94" fmla="*/ 2147483647 w 612"/>
                <a:gd name="T95" fmla="*/ 2147483647 h 788"/>
                <a:gd name="T96" fmla="*/ 2147483647 w 612"/>
                <a:gd name="T97" fmla="*/ 2147483647 h 788"/>
                <a:gd name="T98" fmla="*/ 2147483647 w 612"/>
                <a:gd name="T99" fmla="*/ 2147483647 h 788"/>
                <a:gd name="T100" fmla="*/ 2147483647 w 612"/>
                <a:gd name="T101" fmla="*/ 2147483647 h 788"/>
                <a:gd name="T102" fmla="*/ 2147483647 w 612"/>
                <a:gd name="T103" fmla="*/ 2147483647 h 788"/>
                <a:gd name="T104" fmla="*/ 2147483647 w 612"/>
                <a:gd name="T105" fmla="*/ 2147483647 h 788"/>
                <a:gd name="T106" fmla="*/ 2147483647 w 612"/>
                <a:gd name="T107" fmla="*/ 2147483647 h 788"/>
                <a:gd name="T108" fmla="*/ 2147483647 w 612"/>
                <a:gd name="T109" fmla="*/ 2147483647 h 788"/>
                <a:gd name="T110" fmla="*/ 2147483647 w 612"/>
                <a:gd name="T111" fmla="*/ 2147483647 h 788"/>
                <a:gd name="T112" fmla="*/ 2147483647 w 612"/>
                <a:gd name="T113" fmla="*/ 2147483647 h 788"/>
                <a:gd name="T114" fmla="*/ 2147483647 w 612"/>
                <a:gd name="T115" fmla="*/ 2147483647 h 788"/>
                <a:gd name="T116" fmla="*/ 2147483647 w 612"/>
                <a:gd name="T117" fmla="*/ 2147483647 h 788"/>
                <a:gd name="T118" fmla="*/ 2147483647 w 612"/>
                <a:gd name="T119" fmla="*/ 2147483647 h 788"/>
                <a:gd name="T120" fmla="*/ 2147483647 w 612"/>
                <a:gd name="T121" fmla="*/ 2147483647 h 788"/>
                <a:gd name="T122" fmla="*/ 2147483647 w 612"/>
                <a:gd name="T123" fmla="*/ 2147483647 h 78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12"/>
                <a:gd name="T187" fmla="*/ 0 h 788"/>
                <a:gd name="T188" fmla="*/ 612 w 612"/>
                <a:gd name="T189" fmla="*/ 788 h 78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12" h="788">
                  <a:moveTo>
                    <a:pt x="62" y="641"/>
                  </a:moveTo>
                  <a:lnTo>
                    <a:pt x="68" y="635"/>
                  </a:lnTo>
                  <a:lnTo>
                    <a:pt x="74" y="635"/>
                  </a:lnTo>
                  <a:lnTo>
                    <a:pt x="79" y="624"/>
                  </a:lnTo>
                  <a:lnTo>
                    <a:pt x="79" y="618"/>
                  </a:lnTo>
                  <a:lnTo>
                    <a:pt x="79" y="613"/>
                  </a:lnTo>
                  <a:lnTo>
                    <a:pt x="74" y="607"/>
                  </a:lnTo>
                  <a:lnTo>
                    <a:pt x="62" y="607"/>
                  </a:lnTo>
                  <a:lnTo>
                    <a:pt x="57" y="607"/>
                  </a:lnTo>
                  <a:lnTo>
                    <a:pt x="51" y="607"/>
                  </a:lnTo>
                  <a:lnTo>
                    <a:pt x="45" y="607"/>
                  </a:lnTo>
                  <a:lnTo>
                    <a:pt x="40" y="607"/>
                  </a:lnTo>
                  <a:lnTo>
                    <a:pt x="40" y="601"/>
                  </a:lnTo>
                  <a:lnTo>
                    <a:pt x="40" y="596"/>
                  </a:lnTo>
                  <a:lnTo>
                    <a:pt x="45" y="596"/>
                  </a:lnTo>
                  <a:lnTo>
                    <a:pt x="51" y="596"/>
                  </a:lnTo>
                  <a:lnTo>
                    <a:pt x="62" y="596"/>
                  </a:lnTo>
                  <a:lnTo>
                    <a:pt x="62" y="590"/>
                  </a:lnTo>
                  <a:lnTo>
                    <a:pt x="62" y="584"/>
                  </a:lnTo>
                  <a:lnTo>
                    <a:pt x="68" y="579"/>
                  </a:lnTo>
                  <a:lnTo>
                    <a:pt x="74" y="573"/>
                  </a:lnTo>
                  <a:lnTo>
                    <a:pt x="79" y="573"/>
                  </a:lnTo>
                  <a:lnTo>
                    <a:pt x="79" y="567"/>
                  </a:lnTo>
                  <a:lnTo>
                    <a:pt x="79" y="562"/>
                  </a:lnTo>
                  <a:lnTo>
                    <a:pt x="79" y="556"/>
                  </a:lnTo>
                  <a:lnTo>
                    <a:pt x="79" y="545"/>
                  </a:lnTo>
                  <a:lnTo>
                    <a:pt x="79" y="539"/>
                  </a:lnTo>
                  <a:lnTo>
                    <a:pt x="79" y="533"/>
                  </a:lnTo>
                  <a:lnTo>
                    <a:pt x="79" y="528"/>
                  </a:lnTo>
                  <a:lnTo>
                    <a:pt x="79" y="522"/>
                  </a:lnTo>
                  <a:lnTo>
                    <a:pt x="79" y="516"/>
                  </a:lnTo>
                  <a:lnTo>
                    <a:pt x="74" y="516"/>
                  </a:lnTo>
                  <a:lnTo>
                    <a:pt x="74" y="522"/>
                  </a:lnTo>
                  <a:lnTo>
                    <a:pt x="62" y="528"/>
                  </a:lnTo>
                  <a:lnTo>
                    <a:pt x="57" y="533"/>
                  </a:lnTo>
                  <a:lnTo>
                    <a:pt x="51" y="539"/>
                  </a:lnTo>
                  <a:lnTo>
                    <a:pt x="45" y="539"/>
                  </a:lnTo>
                  <a:lnTo>
                    <a:pt x="40" y="539"/>
                  </a:lnTo>
                  <a:lnTo>
                    <a:pt x="34" y="539"/>
                  </a:lnTo>
                  <a:lnTo>
                    <a:pt x="23" y="539"/>
                  </a:lnTo>
                  <a:lnTo>
                    <a:pt x="17" y="539"/>
                  </a:lnTo>
                  <a:lnTo>
                    <a:pt x="11" y="533"/>
                  </a:lnTo>
                  <a:lnTo>
                    <a:pt x="6" y="528"/>
                  </a:lnTo>
                  <a:lnTo>
                    <a:pt x="6" y="522"/>
                  </a:lnTo>
                  <a:lnTo>
                    <a:pt x="0" y="516"/>
                  </a:lnTo>
                  <a:lnTo>
                    <a:pt x="0" y="511"/>
                  </a:lnTo>
                  <a:lnTo>
                    <a:pt x="6" y="511"/>
                  </a:lnTo>
                  <a:lnTo>
                    <a:pt x="6" y="494"/>
                  </a:lnTo>
                  <a:lnTo>
                    <a:pt x="6" y="488"/>
                  </a:lnTo>
                  <a:lnTo>
                    <a:pt x="11" y="482"/>
                  </a:lnTo>
                  <a:lnTo>
                    <a:pt x="23" y="477"/>
                  </a:lnTo>
                  <a:lnTo>
                    <a:pt x="28" y="471"/>
                  </a:lnTo>
                  <a:lnTo>
                    <a:pt x="34" y="471"/>
                  </a:lnTo>
                  <a:lnTo>
                    <a:pt x="40" y="465"/>
                  </a:lnTo>
                  <a:lnTo>
                    <a:pt x="45" y="460"/>
                  </a:lnTo>
                  <a:lnTo>
                    <a:pt x="51" y="460"/>
                  </a:lnTo>
                  <a:lnTo>
                    <a:pt x="62" y="454"/>
                  </a:lnTo>
                  <a:lnTo>
                    <a:pt x="62" y="448"/>
                  </a:lnTo>
                  <a:lnTo>
                    <a:pt x="62" y="443"/>
                  </a:lnTo>
                  <a:lnTo>
                    <a:pt x="62" y="431"/>
                  </a:lnTo>
                  <a:lnTo>
                    <a:pt x="62" y="420"/>
                  </a:lnTo>
                  <a:lnTo>
                    <a:pt x="68" y="414"/>
                  </a:lnTo>
                  <a:lnTo>
                    <a:pt x="68" y="403"/>
                  </a:lnTo>
                  <a:lnTo>
                    <a:pt x="74" y="392"/>
                  </a:lnTo>
                  <a:lnTo>
                    <a:pt x="74" y="386"/>
                  </a:lnTo>
                  <a:lnTo>
                    <a:pt x="79" y="375"/>
                  </a:lnTo>
                  <a:lnTo>
                    <a:pt x="79" y="369"/>
                  </a:lnTo>
                  <a:lnTo>
                    <a:pt x="85" y="363"/>
                  </a:lnTo>
                  <a:lnTo>
                    <a:pt x="91" y="358"/>
                  </a:lnTo>
                  <a:lnTo>
                    <a:pt x="91" y="352"/>
                  </a:lnTo>
                  <a:lnTo>
                    <a:pt x="102" y="346"/>
                  </a:lnTo>
                  <a:lnTo>
                    <a:pt x="108" y="341"/>
                  </a:lnTo>
                  <a:lnTo>
                    <a:pt x="108" y="335"/>
                  </a:lnTo>
                  <a:lnTo>
                    <a:pt x="113" y="335"/>
                  </a:lnTo>
                  <a:lnTo>
                    <a:pt x="119" y="329"/>
                  </a:lnTo>
                  <a:lnTo>
                    <a:pt x="125" y="329"/>
                  </a:lnTo>
                  <a:lnTo>
                    <a:pt x="125" y="324"/>
                  </a:lnTo>
                  <a:lnTo>
                    <a:pt x="130" y="318"/>
                  </a:lnTo>
                  <a:lnTo>
                    <a:pt x="136" y="318"/>
                  </a:lnTo>
                  <a:lnTo>
                    <a:pt x="136" y="312"/>
                  </a:lnTo>
                  <a:lnTo>
                    <a:pt x="142" y="312"/>
                  </a:lnTo>
                  <a:lnTo>
                    <a:pt x="153" y="312"/>
                  </a:lnTo>
                  <a:lnTo>
                    <a:pt x="159" y="307"/>
                  </a:lnTo>
                  <a:lnTo>
                    <a:pt x="164" y="307"/>
                  </a:lnTo>
                  <a:lnTo>
                    <a:pt x="170" y="307"/>
                  </a:lnTo>
                  <a:lnTo>
                    <a:pt x="170" y="301"/>
                  </a:lnTo>
                  <a:lnTo>
                    <a:pt x="170" y="295"/>
                  </a:lnTo>
                  <a:lnTo>
                    <a:pt x="170" y="290"/>
                  </a:lnTo>
                  <a:lnTo>
                    <a:pt x="170" y="284"/>
                  </a:lnTo>
                  <a:lnTo>
                    <a:pt x="170" y="278"/>
                  </a:lnTo>
                  <a:lnTo>
                    <a:pt x="170" y="267"/>
                  </a:lnTo>
                  <a:lnTo>
                    <a:pt x="170" y="261"/>
                  </a:lnTo>
                  <a:lnTo>
                    <a:pt x="176" y="261"/>
                  </a:lnTo>
                  <a:lnTo>
                    <a:pt x="181" y="261"/>
                  </a:lnTo>
                  <a:lnTo>
                    <a:pt x="187" y="261"/>
                  </a:lnTo>
                  <a:lnTo>
                    <a:pt x="193" y="261"/>
                  </a:lnTo>
                  <a:lnTo>
                    <a:pt x="199" y="261"/>
                  </a:lnTo>
                  <a:lnTo>
                    <a:pt x="204" y="261"/>
                  </a:lnTo>
                  <a:lnTo>
                    <a:pt x="210" y="256"/>
                  </a:lnTo>
                  <a:lnTo>
                    <a:pt x="216" y="256"/>
                  </a:lnTo>
                  <a:lnTo>
                    <a:pt x="216" y="250"/>
                  </a:lnTo>
                  <a:lnTo>
                    <a:pt x="216" y="244"/>
                  </a:lnTo>
                  <a:lnTo>
                    <a:pt x="216" y="239"/>
                  </a:lnTo>
                  <a:lnTo>
                    <a:pt x="210" y="239"/>
                  </a:lnTo>
                  <a:lnTo>
                    <a:pt x="204" y="233"/>
                  </a:lnTo>
                  <a:lnTo>
                    <a:pt x="204" y="227"/>
                  </a:lnTo>
                  <a:lnTo>
                    <a:pt x="204" y="222"/>
                  </a:lnTo>
                  <a:lnTo>
                    <a:pt x="204" y="210"/>
                  </a:lnTo>
                  <a:lnTo>
                    <a:pt x="204" y="205"/>
                  </a:lnTo>
                  <a:lnTo>
                    <a:pt x="204" y="199"/>
                  </a:lnTo>
                  <a:lnTo>
                    <a:pt x="204" y="193"/>
                  </a:lnTo>
                  <a:lnTo>
                    <a:pt x="199" y="188"/>
                  </a:lnTo>
                  <a:lnTo>
                    <a:pt x="199" y="176"/>
                  </a:lnTo>
                  <a:lnTo>
                    <a:pt x="199" y="165"/>
                  </a:lnTo>
                  <a:lnTo>
                    <a:pt x="199" y="159"/>
                  </a:lnTo>
                  <a:lnTo>
                    <a:pt x="199" y="148"/>
                  </a:lnTo>
                  <a:lnTo>
                    <a:pt x="199" y="142"/>
                  </a:lnTo>
                  <a:lnTo>
                    <a:pt x="204" y="142"/>
                  </a:lnTo>
                  <a:lnTo>
                    <a:pt x="204" y="137"/>
                  </a:lnTo>
                  <a:lnTo>
                    <a:pt x="204" y="125"/>
                  </a:lnTo>
                  <a:lnTo>
                    <a:pt x="204" y="120"/>
                  </a:lnTo>
                  <a:lnTo>
                    <a:pt x="204" y="114"/>
                  </a:lnTo>
                  <a:lnTo>
                    <a:pt x="199" y="108"/>
                  </a:lnTo>
                  <a:lnTo>
                    <a:pt x="199" y="97"/>
                  </a:lnTo>
                  <a:lnTo>
                    <a:pt x="199" y="91"/>
                  </a:lnTo>
                  <a:lnTo>
                    <a:pt x="204" y="85"/>
                  </a:lnTo>
                  <a:lnTo>
                    <a:pt x="204" y="80"/>
                  </a:lnTo>
                  <a:lnTo>
                    <a:pt x="204" y="74"/>
                  </a:lnTo>
                  <a:lnTo>
                    <a:pt x="210" y="74"/>
                  </a:lnTo>
                  <a:lnTo>
                    <a:pt x="210" y="68"/>
                  </a:lnTo>
                  <a:lnTo>
                    <a:pt x="216" y="68"/>
                  </a:lnTo>
                  <a:lnTo>
                    <a:pt x="216" y="63"/>
                  </a:lnTo>
                  <a:lnTo>
                    <a:pt x="221" y="63"/>
                  </a:lnTo>
                  <a:lnTo>
                    <a:pt x="221" y="57"/>
                  </a:lnTo>
                  <a:lnTo>
                    <a:pt x="227" y="57"/>
                  </a:lnTo>
                  <a:lnTo>
                    <a:pt x="233" y="57"/>
                  </a:lnTo>
                  <a:lnTo>
                    <a:pt x="233" y="51"/>
                  </a:lnTo>
                  <a:lnTo>
                    <a:pt x="238" y="51"/>
                  </a:lnTo>
                  <a:lnTo>
                    <a:pt x="244" y="51"/>
                  </a:lnTo>
                  <a:lnTo>
                    <a:pt x="244" y="46"/>
                  </a:lnTo>
                  <a:lnTo>
                    <a:pt x="250" y="40"/>
                  </a:lnTo>
                  <a:lnTo>
                    <a:pt x="250" y="34"/>
                  </a:lnTo>
                  <a:lnTo>
                    <a:pt x="250" y="29"/>
                  </a:lnTo>
                  <a:lnTo>
                    <a:pt x="255" y="29"/>
                  </a:lnTo>
                  <a:lnTo>
                    <a:pt x="255" y="23"/>
                  </a:lnTo>
                  <a:lnTo>
                    <a:pt x="261" y="23"/>
                  </a:lnTo>
                  <a:lnTo>
                    <a:pt x="267" y="29"/>
                  </a:lnTo>
                  <a:lnTo>
                    <a:pt x="272" y="29"/>
                  </a:lnTo>
                  <a:lnTo>
                    <a:pt x="278" y="29"/>
                  </a:lnTo>
                  <a:lnTo>
                    <a:pt x="278" y="23"/>
                  </a:lnTo>
                  <a:lnTo>
                    <a:pt x="284" y="23"/>
                  </a:lnTo>
                  <a:lnTo>
                    <a:pt x="289" y="17"/>
                  </a:lnTo>
                  <a:lnTo>
                    <a:pt x="295" y="17"/>
                  </a:lnTo>
                  <a:lnTo>
                    <a:pt x="301" y="17"/>
                  </a:lnTo>
                  <a:lnTo>
                    <a:pt x="301" y="23"/>
                  </a:lnTo>
                  <a:lnTo>
                    <a:pt x="306" y="29"/>
                  </a:lnTo>
                  <a:lnTo>
                    <a:pt x="312" y="29"/>
                  </a:lnTo>
                  <a:lnTo>
                    <a:pt x="312" y="34"/>
                  </a:lnTo>
                  <a:lnTo>
                    <a:pt x="318" y="40"/>
                  </a:lnTo>
                  <a:lnTo>
                    <a:pt x="323" y="40"/>
                  </a:lnTo>
                  <a:lnTo>
                    <a:pt x="329" y="40"/>
                  </a:lnTo>
                  <a:lnTo>
                    <a:pt x="335" y="46"/>
                  </a:lnTo>
                  <a:lnTo>
                    <a:pt x="340" y="46"/>
                  </a:lnTo>
                  <a:lnTo>
                    <a:pt x="352" y="46"/>
                  </a:lnTo>
                  <a:lnTo>
                    <a:pt x="357" y="40"/>
                  </a:lnTo>
                  <a:lnTo>
                    <a:pt x="363" y="40"/>
                  </a:lnTo>
                  <a:lnTo>
                    <a:pt x="369" y="34"/>
                  </a:lnTo>
                  <a:lnTo>
                    <a:pt x="369" y="29"/>
                  </a:lnTo>
                  <a:lnTo>
                    <a:pt x="369" y="23"/>
                  </a:lnTo>
                  <a:lnTo>
                    <a:pt x="369" y="12"/>
                  </a:lnTo>
                  <a:lnTo>
                    <a:pt x="374" y="12"/>
                  </a:lnTo>
                  <a:lnTo>
                    <a:pt x="374" y="6"/>
                  </a:lnTo>
                  <a:lnTo>
                    <a:pt x="380" y="6"/>
                  </a:lnTo>
                  <a:lnTo>
                    <a:pt x="386" y="0"/>
                  </a:lnTo>
                  <a:lnTo>
                    <a:pt x="391" y="0"/>
                  </a:lnTo>
                  <a:lnTo>
                    <a:pt x="397" y="0"/>
                  </a:lnTo>
                  <a:lnTo>
                    <a:pt x="403" y="0"/>
                  </a:lnTo>
                  <a:lnTo>
                    <a:pt x="408" y="0"/>
                  </a:lnTo>
                  <a:lnTo>
                    <a:pt x="408" y="6"/>
                  </a:lnTo>
                  <a:lnTo>
                    <a:pt x="414" y="6"/>
                  </a:lnTo>
                  <a:lnTo>
                    <a:pt x="420" y="12"/>
                  </a:lnTo>
                  <a:lnTo>
                    <a:pt x="425" y="17"/>
                  </a:lnTo>
                  <a:lnTo>
                    <a:pt x="425" y="23"/>
                  </a:lnTo>
                  <a:lnTo>
                    <a:pt x="420" y="29"/>
                  </a:lnTo>
                  <a:lnTo>
                    <a:pt x="420" y="40"/>
                  </a:lnTo>
                  <a:lnTo>
                    <a:pt x="425" y="40"/>
                  </a:lnTo>
                  <a:lnTo>
                    <a:pt x="425" y="34"/>
                  </a:lnTo>
                  <a:lnTo>
                    <a:pt x="431" y="34"/>
                  </a:lnTo>
                  <a:lnTo>
                    <a:pt x="437" y="34"/>
                  </a:lnTo>
                  <a:lnTo>
                    <a:pt x="437" y="29"/>
                  </a:lnTo>
                  <a:lnTo>
                    <a:pt x="442" y="29"/>
                  </a:lnTo>
                  <a:lnTo>
                    <a:pt x="448" y="29"/>
                  </a:lnTo>
                  <a:lnTo>
                    <a:pt x="454" y="29"/>
                  </a:lnTo>
                  <a:lnTo>
                    <a:pt x="454" y="23"/>
                  </a:lnTo>
                  <a:lnTo>
                    <a:pt x="459" y="23"/>
                  </a:lnTo>
                  <a:lnTo>
                    <a:pt x="465" y="23"/>
                  </a:lnTo>
                  <a:lnTo>
                    <a:pt x="465" y="29"/>
                  </a:lnTo>
                  <a:lnTo>
                    <a:pt x="471" y="29"/>
                  </a:lnTo>
                  <a:lnTo>
                    <a:pt x="471" y="40"/>
                  </a:lnTo>
                  <a:lnTo>
                    <a:pt x="465" y="46"/>
                  </a:lnTo>
                  <a:lnTo>
                    <a:pt x="459" y="46"/>
                  </a:lnTo>
                  <a:lnTo>
                    <a:pt x="459" y="51"/>
                  </a:lnTo>
                  <a:lnTo>
                    <a:pt x="454" y="51"/>
                  </a:lnTo>
                  <a:lnTo>
                    <a:pt x="454" y="57"/>
                  </a:lnTo>
                  <a:lnTo>
                    <a:pt x="448" y="57"/>
                  </a:lnTo>
                  <a:lnTo>
                    <a:pt x="448" y="63"/>
                  </a:lnTo>
                  <a:lnTo>
                    <a:pt x="448" y="68"/>
                  </a:lnTo>
                  <a:lnTo>
                    <a:pt x="448" y="74"/>
                  </a:lnTo>
                  <a:lnTo>
                    <a:pt x="448" y="80"/>
                  </a:lnTo>
                  <a:lnTo>
                    <a:pt x="454" y="85"/>
                  </a:lnTo>
                  <a:lnTo>
                    <a:pt x="454" y="91"/>
                  </a:lnTo>
                  <a:lnTo>
                    <a:pt x="459" y="91"/>
                  </a:lnTo>
                  <a:lnTo>
                    <a:pt x="465" y="97"/>
                  </a:lnTo>
                  <a:lnTo>
                    <a:pt x="471" y="97"/>
                  </a:lnTo>
                  <a:lnTo>
                    <a:pt x="476" y="97"/>
                  </a:lnTo>
                  <a:lnTo>
                    <a:pt x="476" y="102"/>
                  </a:lnTo>
                  <a:lnTo>
                    <a:pt x="482" y="102"/>
                  </a:lnTo>
                  <a:lnTo>
                    <a:pt x="482" y="108"/>
                  </a:lnTo>
                  <a:lnTo>
                    <a:pt x="488" y="108"/>
                  </a:lnTo>
                  <a:lnTo>
                    <a:pt x="493" y="108"/>
                  </a:lnTo>
                  <a:lnTo>
                    <a:pt x="499" y="108"/>
                  </a:lnTo>
                  <a:lnTo>
                    <a:pt x="505" y="108"/>
                  </a:lnTo>
                  <a:lnTo>
                    <a:pt x="505" y="114"/>
                  </a:lnTo>
                  <a:lnTo>
                    <a:pt x="510" y="114"/>
                  </a:lnTo>
                  <a:lnTo>
                    <a:pt x="522" y="114"/>
                  </a:lnTo>
                  <a:lnTo>
                    <a:pt x="522" y="120"/>
                  </a:lnTo>
                  <a:lnTo>
                    <a:pt x="527" y="120"/>
                  </a:lnTo>
                  <a:lnTo>
                    <a:pt x="539" y="114"/>
                  </a:lnTo>
                  <a:lnTo>
                    <a:pt x="556" y="114"/>
                  </a:lnTo>
                  <a:lnTo>
                    <a:pt x="561" y="114"/>
                  </a:lnTo>
                  <a:lnTo>
                    <a:pt x="567" y="114"/>
                  </a:lnTo>
                  <a:lnTo>
                    <a:pt x="567" y="120"/>
                  </a:lnTo>
                  <a:lnTo>
                    <a:pt x="567" y="125"/>
                  </a:lnTo>
                  <a:lnTo>
                    <a:pt x="561" y="137"/>
                  </a:lnTo>
                  <a:lnTo>
                    <a:pt x="561" y="142"/>
                  </a:lnTo>
                  <a:lnTo>
                    <a:pt x="567" y="148"/>
                  </a:lnTo>
                  <a:lnTo>
                    <a:pt x="567" y="154"/>
                  </a:lnTo>
                  <a:lnTo>
                    <a:pt x="573" y="154"/>
                  </a:lnTo>
                  <a:lnTo>
                    <a:pt x="578" y="159"/>
                  </a:lnTo>
                  <a:lnTo>
                    <a:pt x="578" y="165"/>
                  </a:lnTo>
                  <a:lnTo>
                    <a:pt x="584" y="165"/>
                  </a:lnTo>
                  <a:lnTo>
                    <a:pt x="584" y="171"/>
                  </a:lnTo>
                  <a:lnTo>
                    <a:pt x="590" y="176"/>
                  </a:lnTo>
                  <a:lnTo>
                    <a:pt x="595" y="176"/>
                  </a:lnTo>
                  <a:lnTo>
                    <a:pt x="595" y="182"/>
                  </a:lnTo>
                  <a:lnTo>
                    <a:pt x="601" y="182"/>
                  </a:lnTo>
                  <a:lnTo>
                    <a:pt x="612" y="188"/>
                  </a:lnTo>
                  <a:lnTo>
                    <a:pt x="607" y="188"/>
                  </a:lnTo>
                  <a:lnTo>
                    <a:pt x="607" y="193"/>
                  </a:lnTo>
                  <a:lnTo>
                    <a:pt x="601" y="193"/>
                  </a:lnTo>
                  <a:lnTo>
                    <a:pt x="601" y="199"/>
                  </a:lnTo>
                  <a:lnTo>
                    <a:pt x="595" y="205"/>
                  </a:lnTo>
                  <a:lnTo>
                    <a:pt x="590" y="205"/>
                  </a:lnTo>
                  <a:lnTo>
                    <a:pt x="584" y="205"/>
                  </a:lnTo>
                  <a:lnTo>
                    <a:pt x="584" y="210"/>
                  </a:lnTo>
                  <a:lnTo>
                    <a:pt x="578" y="210"/>
                  </a:lnTo>
                  <a:lnTo>
                    <a:pt x="578" y="216"/>
                  </a:lnTo>
                  <a:lnTo>
                    <a:pt x="578" y="222"/>
                  </a:lnTo>
                  <a:lnTo>
                    <a:pt x="578" y="227"/>
                  </a:lnTo>
                  <a:lnTo>
                    <a:pt x="584" y="227"/>
                  </a:lnTo>
                  <a:lnTo>
                    <a:pt x="584" y="233"/>
                  </a:lnTo>
                  <a:lnTo>
                    <a:pt x="590" y="233"/>
                  </a:lnTo>
                  <a:lnTo>
                    <a:pt x="590" y="239"/>
                  </a:lnTo>
                  <a:lnTo>
                    <a:pt x="584" y="239"/>
                  </a:lnTo>
                  <a:lnTo>
                    <a:pt x="584" y="244"/>
                  </a:lnTo>
                  <a:lnTo>
                    <a:pt x="584" y="250"/>
                  </a:lnTo>
                  <a:lnTo>
                    <a:pt x="584" y="256"/>
                  </a:lnTo>
                  <a:lnTo>
                    <a:pt x="584" y="261"/>
                  </a:lnTo>
                  <a:lnTo>
                    <a:pt x="584" y="267"/>
                  </a:lnTo>
                  <a:lnTo>
                    <a:pt x="584" y="273"/>
                  </a:lnTo>
                  <a:lnTo>
                    <a:pt x="578" y="273"/>
                  </a:lnTo>
                  <a:lnTo>
                    <a:pt x="573" y="278"/>
                  </a:lnTo>
                  <a:lnTo>
                    <a:pt x="567" y="278"/>
                  </a:lnTo>
                  <a:lnTo>
                    <a:pt x="567" y="284"/>
                  </a:lnTo>
                  <a:lnTo>
                    <a:pt x="567" y="290"/>
                  </a:lnTo>
                  <a:lnTo>
                    <a:pt x="561" y="301"/>
                  </a:lnTo>
                  <a:lnTo>
                    <a:pt x="556" y="301"/>
                  </a:lnTo>
                  <a:lnTo>
                    <a:pt x="556" y="307"/>
                  </a:lnTo>
                  <a:lnTo>
                    <a:pt x="556" y="312"/>
                  </a:lnTo>
                  <a:lnTo>
                    <a:pt x="556" y="318"/>
                  </a:lnTo>
                  <a:lnTo>
                    <a:pt x="556" y="324"/>
                  </a:lnTo>
                  <a:lnTo>
                    <a:pt x="550" y="329"/>
                  </a:lnTo>
                  <a:lnTo>
                    <a:pt x="550" y="335"/>
                  </a:lnTo>
                  <a:lnTo>
                    <a:pt x="550" y="341"/>
                  </a:lnTo>
                  <a:lnTo>
                    <a:pt x="544" y="352"/>
                  </a:lnTo>
                  <a:lnTo>
                    <a:pt x="544" y="358"/>
                  </a:lnTo>
                  <a:lnTo>
                    <a:pt x="539" y="358"/>
                  </a:lnTo>
                  <a:lnTo>
                    <a:pt x="539" y="363"/>
                  </a:lnTo>
                  <a:lnTo>
                    <a:pt x="533" y="369"/>
                  </a:lnTo>
                  <a:lnTo>
                    <a:pt x="533" y="375"/>
                  </a:lnTo>
                  <a:lnTo>
                    <a:pt x="527" y="375"/>
                  </a:lnTo>
                  <a:lnTo>
                    <a:pt x="527" y="380"/>
                  </a:lnTo>
                  <a:lnTo>
                    <a:pt x="522" y="386"/>
                  </a:lnTo>
                  <a:lnTo>
                    <a:pt x="522" y="392"/>
                  </a:lnTo>
                  <a:lnTo>
                    <a:pt x="522" y="397"/>
                  </a:lnTo>
                  <a:lnTo>
                    <a:pt x="522" y="403"/>
                  </a:lnTo>
                  <a:lnTo>
                    <a:pt x="522" y="409"/>
                  </a:lnTo>
                  <a:lnTo>
                    <a:pt x="522" y="414"/>
                  </a:lnTo>
                  <a:lnTo>
                    <a:pt x="522" y="420"/>
                  </a:lnTo>
                  <a:lnTo>
                    <a:pt x="516" y="426"/>
                  </a:lnTo>
                  <a:lnTo>
                    <a:pt x="510" y="431"/>
                  </a:lnTo>
                  <a:lnTo>
                    <a:pt x="510" y="437"/>
                  </a:lnTo>
                  <a:lnTo>
                    <a:pt x="510" y="443"/>
                  </a:lnTo>
                  <a:lnTo>
                    <a:pt x="505" y="443"/>
                  </a:lnTo>
                  <a:lnTo>
                    <a:pt x="499" y="443"/>
                  </a:lnTo>
                  <a:lnTo>
                    <a:pt x="499" y="448"/>
                  </a:lnTo>
                  <a:lnTo>
                    <a:pt x="499" y="454"/>
                  </a:lnTo>
                  <a:lnTo>
                    <a:pt x="499" y="460"/>
                  </a:lnTo>
                  <a:lnTo>
                    <a:pt x="499" y="465"/>
                  </a:lnTo>
                  <a:lnTo>
                    <a:pt x="499" y="471"/>
                  </a:lnTo>
                  <a:lnTo>
                    <a:pt x="493" y="471"/>
                  </a:lnTo>
                  <a:lnTo>
                    <a:pt x="493" y="477"/>
                  </a:lnTo>
                  <a:lnTo>
                    <a:pt x="488" y="482"/>
                  </a:lnTo>
                  <a:lnTo>
                    <a:pt x="482" y="488"/>
                  </a:lnTo>
                  <a:lnTo>
                    <a:pt x="476" y="488"/>
                  </a:lnTo>
                  <a:lnTo>
                    <a:pt x="471" y="482"/>
                  </a:lnTo>
                  <a:lnTo>
                    <a:pt x="465" y="477"/>
                  </a:lnTo>
                  <a:lnTo>
                    <a:pt x="459" y="482"/>
                  </a:lnTo>
                  <a:lnTo>
                    <a:pt x="454" y="482"/>
                  </a:lnTo>
                  <a:lnTo>
                    <a:pt x="448" y="482"/>
                  </a:lnTo>
                  <a:lnTo>
                    <a:pt x="448" y="488"/>
                  </a:lnTo>
                  <a:lnTo>
                    <a:pt x="442" y="488"/>
                  </a:lnTo>
                  <a:lnTo>
                    <a:pt x="442" y="494"/>
                  </a:lnTo>
                  <a:lnTo>
                    <a:pt x="437" y="494"/>
                  </a:lnTo>
                  <a:lnTo>
                    <a:pt x="437" y="488"/>
                  </a:lnTo>
                  <a:lnTo>
                    <a:pt x="431" y="482"/>
                  </a:lnTo>
                  <a:lnTo>
                    <a:pt x="431" y="477"/>
                  </a:lnTo>
                  <a:lnTo>
                    <a:pt x="425" y="471"/>
                  </a:lnTo>
                  <a:lnTo>
                    <a:pt x="425" y="465"/>
                  </a:lnTo>
                  <a:lnTo>
                    <a:pt x="420" y="460"/>
                  </a:lnTo>
                  <a:lnTo>
                    <a:pt x="420" y="454"/>
                  </a:lnTo>
                  <a:lnTo>
                    <a:pt x="425" y="454"/>
                  </a:lnTo>
                  <a:lnTo>
                    <a:pt x="437" y="454"/>
                  </a:lnTo>
                  <a:lnTo>
                    <a:pt x="437" y="448"/>
                  </a:lnTo>
                  <a:lnTo>
                    <a:pt x="437" y="443"/>
                  </a:lnTo>
                  <a:lnTo>
                    <a:pt x="431" y="443"/>
                  </a:lnTo>
                  <a:lnTo>
                    <a:pt x="425" y="443"/>
                  </a:lnTo>
                  <a:lnTo>
                    <a:pt x="425" y="437"/>
                  </a:lnTo>
                  <a:lnTo>
                    <a:pt x="414" y="437"/>
                  </a:lnTo>
                  <a:lnTo>
                    <a:pt x="403" y="437"/>
                  </a:lnTo>
                  <a:lnTo>
                    <a:pt x="397" y="437"/>
                  </a:lnTo>
                  <a:lnTo>
                    <a:pt x="386" y="437"/>
                  </a:lnTo>
                  <a:lnTo>
                    <a:pt x="374" y="437"/>
                  </a:lnTo>
                  <a:lnTo>
                    <a:pt x="346" y="431"/>
                  </a:lnTo>
                  <a:lnTo>
                    <a:pt x="335" y="431"/>
                  </a:lnTo>
                  <a:lnTo>
                    <a:pt x="329" y="431"/>
                  </a:lnTo>
                  <a:lnTo>
                    <a:pt x="323" y="431"/>
                  </a:lnTo>
                  <a:lnTo>
                    <a:pt x="318" y="443"/>
                  </a:lnTo>
                  <a:lnTo>
                    <a:pt x="312" y="448"/>
                  </a:lnTo>
                  <a:lnTo>
                    <a:pt x="312" y="454"/>
                  </a:lnTo>
                  <a:lnTo>
                    <a:pt x="306" y="460"/>
                  </a:lnTo>
                  <a:lnTo>
                    <a:pt x="301" y="460"/>
                  </a:lnTo>
                  <a:lnTo>
                    <a:pt x="301" y="471"/>
                  </a:lnTo>
                  <a:lnTo>
                    <a:pt x="301" y="477"/>
                  </a:lnTo>
                  <a:lnTo>
                    <a:pt x="295" y="477"/>
                  </a:lnTo>
                  <a:lnTo>
                    <a:pt x="295" y="482"/>
                  </a:lnTo>
                  <a:lnTo>
                    <a:pt x="289" y="482"/>
                  </a:lnTo>
                  <a:lnTo>
                    <a:pt x="284" y="482"/>
                  </a:lnTo>
                  <a:lnTo>
                    <a:pt x="284" y="488"/>
                  </a:lnTo>
                  <a:lnTo>
                    <a:pt x="284" y="499"/>
                  </a:lnTo>
                  <a:lnTo>
                    <a:pt x="278" y="499"/>
                  </a:lnTo>
                  <a:lnTo>
                    <a:pt x="278" y="511"/>
                  </a:lnTo>
                  <a:lnTo>
                    <a:pt x="272" y="516"/>
                  </a:lnTo>
                  <a:lnTo>
                    <a:pt x="272" y="528"/>
                  </a:lnTo>
                  <a:lnTo>
                    <a:pt x="272" y="533"/>
                  </a:lnTo>
                  <a:lnTo>
                    <a:pt x="278" y="539"/>
                  </a:lnTo>
                  <a:lnTo>
                    <a:pt x="284" y="539"/>
                  </a:lnTo>
                  <a:lnTo>
                    <a:pt x="284" y="545"/>
                  </a:lnTo>
                  <a:lnTo>
                    <a:pt x="289" y="545"/>
                  </a:lnTo>
                  <a:lnTo>
                    <a:pt x="289" y="550"/>
                  </a:lnTo>
                  <a:lnTo>
                    <a:pt x="289" y="556"/>
                  </a:lnTo>
                  <a:lnTo>
                    <a:pt x="289" y="562"/>
                  </a:lnTo>
                  <a:lnTo>
                    <a:pt x="284" y="567"/>
                  </a:lnTo>
                  <a:lnTo>
                    <a:pt x="284" y="573"/>
                  </a:lnTo>
                  <a:lnTo>
                    <a:pt x="278" y="579"/>
                  </a:lnTo>
                  <a:lnTo>
                    <a:pt x="272" y="584"/>
                  </a:lnTo>
                  <a:lnTo>
                    <a:pt x="272" y="590"/>
                  </a:lnTo>
                  <a:lnTo>
                    <a:pt x="267" y="596"/>
                  </a:lnTo>
                  <a:lnTo>
                    <a:pt x="267" y="601"/>
                  </a:lnTo>
                  <a:lnTo>
                    <a:pt x="267" y="607"/>
                  </a:lnTo>
                  <a:lnTo>
                    <a:pt x="261" y="613"/>
                  </a:lnTo>
                  <a:lnTo>
                    <a:pt x="261" y="618"/>
                  </a:lnTo>
                  <a:lnTo>
                    <a:pt x="255" y="618"/>
                  </a:lnTo>
                  <a:lnTo>
                    <a:pt x="244" y="618"/>
                  </a:lnTo>
                  <a:lnTo>
                    <a:pt x="244" y="624"/>
                  </a:lnTo>
                  <a:lnTo>
                    <a:pt x="244" y="630"/>
                  </a:lnTo>
                  <a:lnTo>
                    <a:pt x="244" y="635"/>
                  </a:lnTo>
                  <a:lnTo>
                    <a:pt x="238" y="635"/>
                  </a:lnTo>
                  <a:lnTo>
                    <a:pt x="238" y="641"/>
                  </a:lnTo>
                  <a:lnTo>
                    <a:pt x="238" y="647"/>
                  </a:lnTo>
                  <a:lnTo>
                    <a:pt x="238" y="652"/>
                  </a:lnTo>
                  <a:lnTo>
                    <a:pt x="244" y="658"/>
                  </a:lnTo>
                  <a:lnTo>
                    <a:pt x="244" y="664"/>
                  </a:lnTo>
                  <a:lnTo>
                    <a:pt x="250" y="664"/>
                  </a:lnTo>
                  <a:lnTo>
                    <a:pt x="250" y="669"/>
                  </a:lnTo>
                  <a:lnTo>
                    <a:pt x="255" y="669"/>
                  </a:lnTo>
                  <a:lnTo>
                    <a:pt x="261" y="669"/>
                  </a:lnTo>
                  <a:lnTo>
                    <a:pt x="267" y="675"/>
                  </a:lnTo>
                  <a:lnTo>
                    <a:pt x="272" y="681"/>
                  </a:lnTo>
                  <a:lnTo>
                    <a:pt x="278" y="686"/>
                  </a:lnTo>
                  <a:lnTo>
                    <a:pt x="278" y="692"/>
                  </a:lnTo>
                  <a:lnTo>
                    <a:pt x="272" y="692"/>
                  </a:lnTo>
                  <a:lnTo>
                    <a:pt x="272" y="698"/>
                  </a:lnTo>
                  <a:lnTo>
                    <a:pt x="267" y="698"/>
                  </a:lnTo>
                  <a:lnTo>
                    <a:pt x="267" y="703"/>
                  </a:lnTo>
                  <a:lnTo>
                    <a:pt x="261" y="703"/>
                  </a:lnTo>
                  <a:lnTo>
                    <a:pt x="261" y="709"/>
                  </a:lnTo>
                  <a:lnTo>
                    <a:pt x="261" y="720"/>
                  </a:lnTo>
                  <a:lnTo>
                    <a:pt x="255" y="720"/>
                  </a:lnTo>
                  <a:lnTo>
                    <a:pt x="255" y="726"/>
                  </a:lnTo>
                  <a:lnTo>
                    <a:pt x="250" y="732"/>
                  </a:lnTo>
                  <a:lnTo>
                    <a:pt x="250" y="737"/>
                  </a:lnTo>
                  <a:lnTo>
                    <a:pt x="250" y="743"/>
                  </a:lnTo>
                  <a:lnTo>
                    <a:pt x="244" y="749"/>
                  </a:lnTo>
                  <a:lnTo>
                    <a:pt x="238" y="754"/>
                  </a:lnTo>
                  <a:lnTo>
                    <a:pt x="238" y="760"/>
                  </a:lnTo>
                  <a:lnTo>
                    <a:pt x="238" y="766"/>
                  </a:lnTo>
                  <a:lnTo>
                    <a:pt x="233" y="771"/>
                  </a:lnTo>
                  <a:lnTo>
                    <a:pt x="221" y="783"/>
                  </a:lnTo>
                  <a:lnTo>
                    <a:pt x="221" y="788"/>
                  </a:lnTo>
                  <a:lnTo>
                    <a:pt x="216" y="777"/>
                  </a:lnTo>
                  <a:lnTo>
                    <a:pt x="204" y="766"/>
                  </a:lnTo>
                  <a:lnTo>
                    <a:pt x="204" y="760"/>
                  </a:lnTo>
                  <a:lnTo>
                    <a:pt x="199" y="754"/>
                  </a:lnTo>
                  <a:lnTo>
                    <a:pt x="187" y="743"/>
                  </a:lnTo>
                  <a:lnTo>
                    <a:pt x="176" y="732"/>
                  </a:lnTo>
                  <a:lnTo>
                    <a:pt x="170" y="726"/>
                  </a:lnTo>
                  <a:lnTo>
                    <a:pt x="159" y="715"/>
                  </a:lnTo>
                  <a:lnTo>
                    <a:pt x="153" y="715"/>
                  </a:lnTo>
                  <a:lnTo>
                    <a:pt x="147" y="703"/>
                  </a:lnTo>
                  <a:lnTo>
                    <a:pt x="142" y="703"/>
                  </a:lnTo>
                  <a:lnTo>
                    <a:pt x="142" y="698"/>
                  </a:lnTo>
                  <a:lnTo>
                    <a:pt x="119" y="681"/>
                  </a:lnTo>
                  <a:lnTo>
                    <a:pt x="108" y="669"/>
                  </a:lnTo>
                  <a:lnTo>
                    <a:pt x="102" y="664"/>
                  </a:lnTo>
                  <a:lnTo>
                    <a:pt x="91" y="664"/>
                  </a:lnTo>
                  <a:lnTo>
                    <a:pt x="85" y="658"/>
                  </a:lnTo>
                  <a:lnTo>
                    <a:pt x="79" y="652"/>
                  </a:lnTo>
                  <a:lnTo>
                    <a:pt x="74" y="647"/>
                  </a:lnTo>
                  <a:lnTo>
                    <a:pt x="62" y="641"/>
                  </a:lnTo>
                  <a:close/>
                </a:path>
              </a:pathLst>
            </a:custGeom>
            <a:solidFill>
              <a:srgbClr val="FFC000"/>
            </a:solidFill>
            <a:ln w="25400">
              <a:solidFill>
                <a:srgbClr val="B4B4B4"/>
              </a:solidFill>
              <a:round/>
              <a:headEnd/>
              <a:tailEnd/>
            </a:ln>
          </p:spPr>
          <p:txBody>
            <a:bodyPr lIns="93296" tIns="46648" rIns="93296" bIns="46648"/>
            <a:lstStyle/>
            <a:p>
              <a:pPr>
                <a:defRPr/>
              </a:pPr>
              <a:endParaRPr lang="en-US" sz="1000" kern="0">
                <a:solidFill>
                  <a:prstClr val="black">
                    <a:lumMod val="65000"/>
                    <a:lumOff val="35000"/>
                  </a:prstClr>
                </a:solidFill>
              </a:endParaRPr>
            </a:p>
          </p:txBody>
        </p:sp>
        <p:sp>
          <p:nvSpPr>
            <p:cNvPr id="16" name="Freeform 15"/>
            <p:cNvSpPr>
              <a:spLocks/>
            </p:cNvSpPr>
            <p:nvPr/>
          </p:nvSpPr>
          <p:spPr bwMode="gray">
            <a:xfrm>
              <a:off x="842352" y="3403797"/>
              <a:ext cx="532866" cy="538685"/>
            </a:xfrm>
            <a:custGeom>
              <a:avLst/>
              <a:gdLst>
                <a:gd name="T0" fmla="*/ 2147483647 w 380"/>
                <a:gd name="T1" fmla="*/ 2147483647 h 403"/>
                <a:gd name="T2" fmla="*/ 2147483647 w 380"/>
                <a:gd name="T3" fmla="*/ 2147483647 h 403"/>
                <a:gd name="T4" fmla="*/ 2147483647 w 380"/>
                <a:gd name="T5" fmla="*/ 2147483647 h 403"/>
                <a:gd name="T6" fmla="*/ 2147483647 w 380"/>
                <a:gd name="T7" fmla="*/ 2147483647 h 403"/>
                <a:gd name="T8" fmla="*/ 2147483647 w 380"/>
                <a:gd name="T9" fmla="*/ 2147483647 h 403"/>
                <a:gd name="T10" fmla="*/ 2147483647 w 380"/>
                <a:gd name="T11" fmla="*/ 2147483647 h 403"/>
                <a:gd name="T12" fmla="*/ 0 w 380"/>
                <a:gd name="T13" fmla="*/ 2147483647 h 403"/>
                <a:gd name="T14" fmla="*/ 2147483647 w 380"/>
                <a:gd name="T15" fmla="*/ 2147483647 h 403"/>
                <a:gd name="T16" fmla="*/ 2147483647 w 380"/>
                <a:gd name="T17" fmla="*/ 2147483647 h 403"/>
                <a:gd name="T18" fmla="*/ 2147483647 w 380"/>
                <a:gd name="T19" fmla="*/ 2147483647 h 403"/>
                <a:gd name="T20" fmla="*/ 2147483647 w 380"/>
                <a:gd name="T21" fmla="*/ 2147483647 h 403"/>
                <a:gd name="T22" fmla="*/ 2147483647 w 380"/>
                <a:gd name="T23" fmla="*/ 2147483647 h 403"/>
                <a:gd name="T24" fmla="*/ 2147483647 w 380"/>
                <a:gd name="T25" fmla="*/ 2147483647 h 403"/>
                <a:gd name="T26" fmla="*/ 2147483647 w 380"/>
                <a:gd name="T27" fmla="*/ 2147483647 h 403"/>
                <a:gd name="T28" fmla="*/ 2147483647 w 380"/>
                <a:gd name="T29" fmla="*/ 2147483647 h 403"/>
                <a:gd name="T30" fmla="*/ 2147483647 w 380"/>
                <a:gd name="T31" fmla="*/ 2147483647 h 403"/>
                <a:gd name="T32" fmla="*/ 2147483647 w 380"/>
                <a:gd name="T33" fmla="*/ 2147483647 h 403"/>
                <a:gd name="T34" fmla="*/ 2147483647 w 380"/>
                <a:gd name="T35" fmla="*/ 2147483647 h 403"/>
                <a:gd name="T36" fmla="*/ 2147483647 w 380"/>
                <a:gd name="T37" fmla="*/ 2147483647 h 403"/>
                <a:gd name="T38" fmla="*/ 2147483647 w 380"/>
                <a:gd name="T39" fmla="*/ 2147483647 h 403"/>
                <a:gd name="T40" fmla="*/ 2147483647 w 380"/>
                <a:gd name="T41" fmla="*/ 2147483647 h 403"/>
                <a:gd name="T42" fmla="*/ 2147483647 w 380"/>
                <a:gd name="T43" fmla="*/ 2147483647 h 403"/>
                <a:gd name="T44" fmla="*/ 2147483647 w 380"/>
                <a:gd name="T45" fmla="*/ 2147483647 h 403"/>
                <a:gd name="T46" fmla="*/ 2147483647 w 380"/>
                <a:gd name="T47" fmla="*/ 2147483647 h 403"/>
                <a:gd name="T48" fmla="*/ 2147483647 w 380"/>
                <a:gd name="T49" fmla="*/ 2147483647 h 403"/>
                <a:gd name="T50" fmla="*/ 2147483647 w 380"/>
                <a:gd name="T51" fmla="*/ 2147483647 h 403"/>
                <a:gd name="T52" fmla="*/ 2147483647 w 380"/>
                <a:gd name="T53" fmla="*/ 0 h 403"/>
                <a:gd name="T54" fmla="*/ 2147483647 w 380"/>
                <a:gd name="T55" fmla="*/ 2147483647 h 403"/>
                <a:gd name="T56" fmla="*/ 2147483647 w 380"/>
                <a:gd name="T57" fmla="*/ 2147483647 h 403"/>
                <a:gd name="T58" fmla="*/ 2147483647 w 380"/>
                <a:gd name="T59" fmla="*/ 2147483647 h 403"/>
                <a:gd name="T60" fmla="*/ 2147483647 w 380"/>
                <a:gd name="T61" fmla="*/ 2147483647 h 403"/>
                <a:gd name="T62" fmla="*/ 2147483647 w 380"/>
                <a:gd name="T63" fmla="*/ 2147483647 h 403"/>
                <a:gd name="T64" fmla="*/ 2147483647 w 380"/>
                <a:gd name="T65" fmla="*/ 2147483647 h 403"/>
                <a:gd name="T66" fmla="*/ 2147483647 w 380"/>
                <a:gd name="T67" fmla="*/ 2147483647 h 403"/>
                <a:gd name="T68" fmla="*/ 2147483647 w 380"/>
                <a:gd name="T69" fmla="*/ 2147483647 h 403"/>
                <a:gd name="T70" fmla="*/ 2147483647 w 380"/>
                <a:gd name="T71" fmla="*/ 2147483647 h 403"/>
                <a:gd name="T72" fmla="*/ 2147483647 w 380"/>
                <a:gd name="T73" fmla="*/ 2147483647 h 403"/>
                <a:gd name="T74" fmla="*/ 2147483647 w 380"/>
                <a:gd name="T75" fmla="*/ 2147483647 h 403"/>
                <a:gd name="T76" fmla="*/ 2147483647 w 380"/>
                <a:gd name="T77" fmla="*/ 2147483647 h 403"/>
                <a:gd name="T78" fmla="*/ 2147483647 w 380"/>
                <a:gd name="T79" fmla="*/ 2147483647 h 403"/>
                <a:gd name="T80" fmla="*/ 2147483647 w 380"/>
                <a:gd name="T81" fmla="*/ 2147483647 h 403"/>
                <a:gd name="T82" fmla="*/ 2147483647 w 380"/>
                <a:gd name="T83" fmla="*/ 2147483647 h 403"/>
                <a:gd name="T84" fmla="*/ 2147483647 w 380"/>
                <a:gd name="T85" fmla="*/ 2147483647 h 403"/>
                <a:gd name="T86" fmla="*/ 2147483647 w 380"/>
                <a:gd name="T87" fmla="*/ 2147483647 h 403"/>
                <a:gd name="T88" fmla="*/ 2147483647 w 380"/>
                <a:gd name="T89" fmla="*/ 2147483647 h 403"/>
                <a:gd name="T90" fmla="*/ 2147483647 w 380"/>
                <a:gd name="T91" fmla="*/ 2147483647 h 403"/>
                <a:gd name="T92" fmla="*/ 2147483647 w 380"/>
                <a:gd name="T93" fmla="*/ 2147483647 h 403"/>
                <a:gd name="T94" fmla="*/ 2147483647 w 380"/>
                <a:gd name="T95" fmla="*/ 2147483647 h 403"/>
                <a:gd name="T96" fmla="*/ 2147483647 w 380"/>
                <a:gd name="T97" fmla="*/ 2147483647 h 403"/>
                <a:gd name="T98" fmla="*/ 2147483647 w 380"/>
                <a:gd name="T99" fmla="*/ 2147483647 h 403"/>
                <a:gd name="T100" fmla="*/ 2147483647 w 380"/>
                <a:gd name="T101" fmla="*/ 2147483647 h 40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80"/>
                <a:gd name="T154" fmla="*/ 0 h 403"/>
                <a:gd name="T155" fmla="*/ 380 w 380"/>
                <a:gd name="T156" fmla="*/ 403 h 40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80" h="403">
                  <a:moveTo>
                    <a:pt x="46" y="346"/>
                  </a:moveTo>
                  <a:lnTo>
                    <a:pt x="51" y="341"/>
                  </a:lnTo>
                  <a:lnTo>
                    <a:pt x="51" y="335"/>
                  </a:lnTo>
                  <a:lnTo>
                    <a:pt x="57" y="335"/>
                  </a:lnTo>
                  <a:lnTo>
                    <a:pt x="57" y="329"/>
                  </a:lnTo>
                  <a:lnTo>
                    <a:pt x="51" y="318"/>
                  </a:lnTo>
                  <a:lnTo>
                    <a:pt x="46" y="307"/>
                  </a:lnTo>
                  <a:lnTo>
                    <a:pt x="40" y="301"/>
                  </a:lnTo>
                  <a:lnTo>
                    <a:pt x="34" y="290"/>
                  </a:lnTo>
                  <a:lnTo>
                    <a:pt x="34" y="284"/>
                  </a:lnTo>
                  <a:lnTo>
                    <a:pt x="34" y="278"/>
                  </a:lnTo>
                  <a:lnTo>
                    <a:pt x="34" y="273"/>
                  </a:lnTo>
                  <a:lnTo>
                    <a:pt x="40" y="267"/>
                  </a:lnTo>
                  <a:lnTo>
                    <a:pt x="34" y="267"/>
                  </a:lnTo>
                  <a:lnTo>
                    <a:pt x="34" y="256"/>
                  </a:lnTo>
                  <a:lnTo>
                    <a:pt x="34" y="250"/>
                  </a:lnTo>
                  <a:lnTo>
                    <a:pt x="34" y="244"/>
                  </a:lnTo>
                  <a:lnTo>
                    <a:pt x="34" y="239"/>
                  </a:lnTo>
                  <a:lnTo>
                    <a:pt x="40" y="239"/>
                  </a:lnTo>
                  <a:lnTo>
                    <a:pt x="40" y="233"/>
                  </a:lnTo>
                  <a:lnTo>
                    <a:pt x="40" y="222"/>
                  </a:lnTo>
                  <a:lnTo>
                    <a:pt x="46" y="216"/>
                  </a:lnTo>
                  <a:lnTo>
                    <a:pt x="46" y="210"/>
                  </a:lnTo>
                  <a:lnTo>
                    <a:pt x="40" y="205"/>
                  </a:lnTo>
                  <a:lnTo>
                    <a:pt x="34" y="205"/>
                  </a:lnTo>
                  <a:lnTo>
                    <a:pt x="34" y="199"/>
                  </a:lnTo>
                  <a:lnTo>
                    <a:pt x="34" y="193"/>
                  </a:lnTo>
                  <a:lnTo>
                    <a:pt x="29" y="188"/>
                  </a:lnTo>
                  <a:lnTo>
                    <a:pt x="29" y="182"/>
                  </a:lnTo>
                  <a:lnTo>
                    <a:pt x="23" y="182"/>
                  </a:lnTo>
                  <a:lnTo>
                    <a:pt x="23" y="176"/>
                  </a:lnTo>
                  <a:lnTo>
                    <a:pt x="17" y="176"/>
                  </a:lnTo>
                  <a:lnTo>
                    <a:pt x="12" y="165"/>
                  </a:lnTo>
                  <a:lnTo>
                    <a:pt x="6" y="165"/>
                  </a:lnTo>
                  <a:lnTo>
                    <a:pt x="0" y="159"/>
                  </a:lnTo>
                  <a:lnTo>
                    <a:pt x="0" y="154"/>
                  </a:lnTo>
                  <a:lnTo>
                    <a:pt x="0" y="148"/>
                  </a:lnTo>
                  <a:lnTo>
                    <a:pt x="6" y="148"/>
                  </a:lnTo>
                  <a:lnTo>
                    <a:pt x="6" y="142"/>
                  </a:lnTo>
                  <a:lnTo>
                    <a:pt x="6" y="137"/>
                  </a:lnTo>
                  <a:lnTo>
                    <a:pt x="12" y="137"/>
                  </a:lnTo>
                  <a:lnTo>
                    <a:pt x="12" y="131"/>
                  </a:lnTo>
                  <a:lnTo>
                    <a:pt x="12" y="125"/>
                  </a:lnTo>
                  <a:lnTo>
                    <a:pt x="12" y="120"/>
                  </a:lnTo>
                  <a:lnTo>
                    <a:pt x="12" y="114"/>
                  </a:lnTo>
                  <a:lnTo>
                    <a:pt x="12" y="108"/>
                  </a:lnTo>
                  <a:lnTo>
                    <a:pt x="17" y="97"/>
                  </a:lnTo>
                  <a:lnTo>
                    <a:pt x="17" y="91"/>
                  </a:lnTo>
                  <a:lnTo>
                    <a:pt x="17" y="85"/>
                  </a:lnTo>
                  <a:lnTo>
                    <a:pt x="23" y="85"/>
                  </a:lnTo>
                  <a:lnTo>
                    <a:pt x="29" y="85"/>
                  </a:lnTo>
                  <a:lnTo>
                    <a:pt x="29" y="91"/>
                  </a:lnTo>
                  <a:lnTo>
                    <a:pt x="34" y="97"/>
                  </a:lnTo>
                  <a:lnTo>
                    <a:pt x="40" y="97"/>
                  </a:lnTo>
                  <a:lnTo>
                    <a:pt x="46" y="97"/>
                  </a:lnTo>
                  <a:lnTo>
                    <a:pt x="51" y="91"/>
                  </a:lnTo>
                  <a:lnTo>
                    <a:pt x="57" y="91"/>
                  </a:lnTo>
                  <a:lnTo>
                    <a:pt x="63" y="85"/>
                  </a:lnTo>
                  <a:lnTo>
                    <a:pt x="63" y="80"/>
                  </a:lnTo>
                  <a:lnTo>
                    <a:pt x="63" y="74"/>
                  </a:lnTo>
                  <a:lnTo>
                    <a:pt x="63" y="68"/>
                  </a:lnTo>
                  <a:lnTo>
                    <a:pt x="68" y="68"/>
                  </a:lnTo>
                  <a:lnTo>
                    <a:pt x="74" y="68"/>
                  </a:lnTo>
                  <a:lnTo>
                    <a:pt x="74" y="63"/>
                  </a:lnTo>
                  <a:lnTo>
                    <a:pt x="74" y="57"/>
                  </a:lnTo>
                  <a:lnTo>
                    <a:pt x="80" y="57"/>
                  </a:lnTo>
                  <a:lnTo>
                    <a:pt x="85" y="57"/>
                  </a:lnTo>
                  <a:lnTo>
                    <a:pt x="85" y="51"/>
                  </a:lnTo>
                  <a:lnTo>
                    <a:pt x="91" y="51"/>
                  </a:lnTo>
                  <a:lnTo>
                    <a:pt x="97" y="57"/>
                  </a:lnTo>
                  <a:lnTo>
                    <a:pt x="102" y="57"/>
                  </a:lnTo>
                  <a:lnTo>
                    <a:pt x="108" y="57"/>
                  </a:lnTo>
                  <a:lnTo>
                    <a:pt x="108" y="63"/>
                  </a:lnTo>
                  <a:lnTo>
                    <a:pt x="114" y="57"/>
                  </a:lnTo>
                  <a:lnTo>
                    <a:pt x="114" y="63"/>
                  </a:lnTo>
                  <a:lnTo>
                    <a:pt x="114" y="68"/>
                  </a:lnTo>
                  <a:lnTo>
                    <a:pt x="119" y="68"/>
                  </a:lnTo>
                  <a:lnTo>
                    <a:pt x="119" y="74"/>
                  </a:lnTo>
                  <a:lnTo>
                    <a:pt x="119" y="80"/>
                  </a:lnTo>
                  <a:lnTo>
                    <a:pt x="119" y="85"/>
                  </a:lnTo>
                  <a:lnTo>
                    <a:pt x="119" y="91"/>
                  </a:lnTo>
                  <a:lnTo>
                    <a:pt x="125" y="91"/>
                  </a:lnTo>
                  <a:lnTo>
                    <a:pt x="125" y="85"/>
                  </a:lnTo>
                  <a:lnTo>
                    <a:pt x="131" y="85"/>
                  </a:lnTo>
                  <a:lnTo>
                    <a:pt x="131" y="80"/>
                  </a:lnTo>
                  <a:lnTo>
                    <a:pt x="136" y="80"/>
                  </a:lnTo>
                  <a:lnTo>
                    <a:pt x="142" y="80"/>
                  </a:lnTo>
                  <a:lnTo>
                    <a:pt x="142" y="85"/>
                  </a:lnTo>
                  <a:lnTo>
                    <a:pt x="148" y="91"/>
                  </a:lnTo>
                  <a:lnTo>
                    <a:pt x="148" y="97"/>
                  </a:lnTo>
                  <a:lnTo>
                    <a:pt x="148" y="102"/>
                  </a:lnTo>
                  <a:lnTo>
                    <a:pt x="159" y="108"/>
                  </a:lnTo>
                  <a:lnTo>
                    <a:pt x="159" y="114"/>
                  </a:lnTo>
                  <a:lnTo>
                    <a:pt x="165" y="108"/>
                  </a:lnTo>
                  <a:lnTo>
                    <a:pt x="170" y="108"/>
                  </a:lnTo>
                  <a:lnTo>
                    <a:pt x="170" y="102"/>
                  </a:lnTo>
                  <a:lnTo>
                    <a:pt x="182" y="97"/>
                  </a:lnTo>
                  <a:lnTo>
                    <a:pt x="187" y="91"/>
                  </a:lnTo>
                  <a:lnTo>
                    <a:pt x="187" y="85"/>
                  </a:lnTo>
                  <a:lnTo>
                    <a:pt x="187" y="74"/>
                  </a:lnTo>
                  <a:lnTo>
                    <a:pt x="187" y="63"/>
                  </a:lnTo>
                  <a:lnTo>
                    <a:pt x="182" y="57"/>
                  </a:lnTo>
                  <a:lnTo>
                    <a:pt x="182" y="51"/>
                  </a:lnTo>
                  <a:lnTo>
                    <a:pt x="187" y="51"/>
                  </a:lnTo>
                  <a:lnTo>
                    <a:pt x="187" y="40"/>
                  </a:lnTo>
                  <a:lnTo>
                    <a:pt x="187" y="29"/>
                  </a:lnTo>
                  <a:lnTo>
                    <a:pt x="193" y="29"/>
                  </a:lnTo>
                  <a:lnTo>
                    <a:pt x="193" y="23"/>
                  </a:lnTo>
                  <a:lnTo>
                    <a:pt x="199" y="23"/>
                  </a:lnTo>
                  <a:lnTo>
                    <a:pt x="199" y="17"/>
                  </a:lnTo>
                  <a:lnTo>
                    <a:pt x="204" y="17"/>
                  </a:lnTo>
                  <a:lnTo>
                    <a:pt x="210" y="17"/>
                  </a:lnTo>
                  <a:lnTo>
                    <a:pt x="216" y="17"/>
                  </a:lnTo>
                  <a:lnTo>
                    <a:pt x="227" y="17"/>
                  </a:lnTo>
                  <a:lnTo>
                    <a:pt x="233" y="17"/>
                  </a:lnTo>
                  <a:lnTo>
                    <a:pt x="238" y="12"/>
                  </a:lnTo>
                  <a:lnTo>
                    <a:pt x="238" y="17"/>
                  </a:lnTo>
                  <a:lnTo>
                    <a:pt x="244" y="17"/>
                  </a:lnTo>
                  <a:lnTo>
                    <a:pt x="250" y="17"/>
                  </a:lnTo>
                  <a:lnTo>
                    <a:pt x="255" y="17"/>
                  </a:lnTo>
                  <a:lnTo>
                    <a:pt x="255" y="23"/>
                  </a:lnTo>
                  <a:lnTo>
                    <a:pt x="267" y="17"/>
                  </a:lnTo>
                  <a:lnTo>
                    <a:pt x="272" y="17"/>
                  </a:lnTo>
                  <a:lnTo>
                    <a:pt x="272" y="12"/>
                  </a:lnTo>
                  <a:lnTo>
                    <a:pt x="278" y="12"/>
                  </a:lnTo>
                  <a:lnTo>
                    <a:pt x="284" y="12"/>
                  </a:lnTo>
                  <a:lnTo>
                    <a:pt x="289" y="12"/>
                  </a:lnTo>
                  <a:lnTo>
                    <a:pt x="295" y="12"/>
                  </a:lnTo>
                  <a:lnTo>
                    <a:pt x="301" y="12"/>
                  </a:lnTo>
                  <a:lnTo>
                    <a:pt x="306" y="12"/>
                  </a:lnTo>
                  <a:lnTo>
                    <a:pt x="312" y="12"/>
                  </a:lnTo>
                  <a:lnTo>
                    <a:pt x="312" y="6"/>
                  </a:lnTo>
                  <a:lnTo>
                    <a:pt x="318" y="0"/>
                  </a:lnTo>
                  <a:lnTo>
                    <a:pt x="324" y="0"/>
                  </a:lnTo>
                  <a:lnTo>
                    <a:pt x="329" y="0"/>
                  </a:lnTo>
                  <a:lnTo>
                    <a:pt x="335" y="6"/>
                  </a:lnTo>
                  <a:lnTo>
                    <a:pt x="341" y="6"/>
                  </a:lnTo>
                  <a:lnTo>
                    <a:pt x="346" y="12"/>
                  </a:lnTo>
                  <a:lnTo>
                    <a:pt x="352" y="17"/>
                  </a:lnTo>
                  <a:lnTo>
                    <a:pt x="352" y="23"/>
                  </a:lnTo>
                  <a:lnTo>
                    <a:pt x="358" y="23"/>
                  </a:lnTo>
                  <a:lnTo>
                    <a:pt x="369" y="23"/>
                  </a:lnTo>
                  <a:lnTo>
                    <a:pt x="375" y="23"/>
                  </a:lnTo>
                  <a:lnTo>
                    <a:pt x="380" y="23"/>
                  </a:lnTo>
                  <a:lnTo>
                    <a:pt x="380" y="29"/>
                  </a:lnTo>
                  <a:lnTo>
                    <a:pt x="375" y="29"/>
                  </a:lnTo>
                  <a:lnTo>
                    <a:pt x="375" y="34"/>
                  </a:lnTo>
                  <a:lnTo>
                    <a:pt x="375" y="40"/>
                  </a:lnTo>
                  <a:lnTo>
                    <a:pt x="369" y="46"/>
                  </a:lnTo>
                  <a:lnTo>
                    <a:pt x="369" y="51"/>
                  </a:lnTo>
                  <a:lnTo>
                    <a:pt x="363" y="51"/>
                  </a:lnTo>
                  <a:lnTo>
                    <a:pt x="358" y="51"/>
                  </a:lnTo>
                  <a:lnTo>
                    <a:pt x="358" y="57"/>
                  </a:lnTo>
                  <a:lnTo>
                    <a:pt x="352" y="57"/>
                  </a:lnTo>
                  <a:lnTo>
                    <a:pt x="346" y="57"/>
                  </a:lnTo>
                  <a:lnTo>
                    <a:pt x="346" y="63"/>
                  </a:lnTo>
                  <a:lnTo>
                    <a:pt x="341" y="63"/>
                  </a:lnTo>
                  <a:lnTo>
                    <a:pt x="341" y="68"/>
                  </a:lnTo>
                  <a:lnTo>
                    <a:pt x="335" y="68"/>
                  </a:lnTo>
                  <a:lnTo>
                    <a:pt x="335" y="74"/>
                  </a:lnTo>
                  <a:lnTo>
                    <a:pt x="329" y="74"/>
                  </a:lnTo>
                  <a:lnTo>
                    <a:pt x="329" y="80"/>
                  </a:lnTo>
                  <a:lnTo>
                    <a:pt x="329" y="85"/>
                  </a:lnTo>
                  <a:lnTo>
                    <a:pt x="324" y="91"/>
                  </a:lnTo>
                  <a:lnTo>
                    <a:pt x="324" y="97"/>
                  </a:lnTo>
                  <a:lnTo>
                    <a:pt x="324" y="108"/>
                  </a:lnTo>
                  <a:lnTo>
                    <a:pt x="329" y="114"/>
                  </a:lnTo>
                  <a:lnTo>
                    <a:pt x="329" y="120"/>
                  </a:lnTo>
                  <a:lnTo>
                    <a:pt x="329" y="125"/>
                  </a:lnTo>
                  <a:lnTo>
                    <a:pt x="329" y="137"/>
                  </a:lnTo>
                  <a:lnTo>
                    <a:pt x="329" y="142"/>
                  </a:lnTo>
                  <a:lnTo>
                    <a:pt x="324" y="142"/>
                  </a:lnTo>
                  <a:lnTo>
                    <a:pt x="324" y="148"/>
                  </a:lnTo>
                  <a:lnTo>
                    <a:pt x="324" y="159"/>
                  </a:lnTo>
                  <a:lnTo>
                    <a:pt x="324" y="165"/>
                  </a:lnTo>
                  <a:lnTo>
                    <a:pt x="324" y="176"/>
                  </a:lnTo>
                  <a:lnTo>
                    <a:pt x="324" y="188"/>
                  </a:lnTo>
                  <a:lnTo>
                    <a:pt x="329" y="193"/>
                  </a:lnTo>
                  <a:lnTo>
                    <a:pt x="329" y="199"/>
                  </a:lnTo>
                  <a:lnTo>
                    <a:pt x="329" y="205"/>
                  </a:lnTo>
                  <a:lnTo>
                    <a:pt x="329" y="210"/>
                  </a:lnTo>
                  <a:lnTo>
                    <a:pt x="329" y="222"/>
                  </a:lnTo>
                  <a:lnTo>
                    <a:pt x="329" y="227"/>
                  </a:lnTo>
                  <a:lnTo>
                    <a:pt x="329" y="233"/>
                  </a:lnTo>
                  <a:lnTo>
                    <a:pt x="335" y="239"/>
                  </a:lnTo>
                  <a:lnTo>
                    <a:pt x="341" y="239"/>
                  </a:lnTo>
                  <a:lnTo>
                    <a:pt x="341" y="244"/>
                  </a:lnTo>
                  <a:lnTo>
                    <a:pt x="341" y="250"/>
                  </a:lnTo>
                  <a:lnTo>
                    <a:pt x="341" y="256"/>
                  </a:lnTo>
                  <a:lnTo>
                    <a:pt x="335" y="256"/>
                  </a:lnTo>
                  <a:lnTo>
                    <a:pt x="329" y="261"/>
                  </a:lnTo>
                  <a:lnTo>
                    <a:pt x="324" y="261"/>
                  </a:lnTo>
                  <a:lnTo>
                    <a:pt x="318" y="261"/>
                  </a:lnTo>
                  <a:lnTo>
                    <a:pt x="312" y="261"/>
                  </a:lnTo>
                  <a:lnTo>
                    <a:pt x="306" y="261"/>
                  </a:lnTo>
                  <a:lnTo>
                    <a:pt x="301" y="261"/>
                  </a:lnTo>
                  <a:lnTo>
                    <a:pt x="295" y="261"/>
                  </a:lnTo>
                  <a:lnTo>
                    <a:pt x="295" y="267"/>
                  </a:lnTo>
                  <a:lnTo>
                    <a:pt x="295" y="278"/>
                  </a:lnTo>
                  <a:lnTo>
                    <a:pt x="295" y="284"/>
                  </a:lnTo>
                  <a:lnTo>
                    <a:pt x="295" y="290"/>
                  </a:lnTo>
                  <a:lnTo>
                    <a:pt x="295" y="295"/>
                  </a:lnTo>
                  <a:lnTo>
                    <a:pt x="295" y="301"/>
                  </a:lnTo>
                  <a:lnTo>
                    <a:pt x="295" y="307"/>
                  </a:lnTo>
                  <a:lnTo>
                    <a:pt x="289" y="307"/>
                  </a:lnTo>
                  <a:lnTo>
                    <a:pt x="284" y="307"/>
                  </a:lnTo>
                  <a:lnTo>
                    <a:pt x="278" y="312"/>
                  </a:lnTo>
                  <a:lnTo>
                    <a:pt x="267" y="312"/>
                  </a:lnTo>
                  <a:lnTo>
                    <a:pt x="261" y="312"/>
                  </a:lnTo>
                  <a:lnTo>
                    <a:pt x="261" y="318"/>
                  </a:lnTo>
                  <a:lnTo>
                    <a:pt x="255" y="318"/>
                  </a:lnTo>
                  <a:lnTo>
                    <a:pt x="250" y="324"/>
                  </a:lnTo>
                  <a:lnTo>
                    <a:pt x="250" y="329"/>
                  </a:lnTo>
                  <a:lnTo>
                    <a:pt x="244" y="329"/>
                  </a:lnTo>
                  <a:lnTo>
                    <a:pt x="238" y="335"/>
                  </a:lnTo>
                  <a:lnTo>
                    <a:pt x="233" y="335"/>
                  </a:lnTo>
                  <a:lnTo>
                    <a:pt x="233" y="341"/>
                  </a:lnTo>
                  <a:lnTo>
                    <a:pt x="227" y="346"/>
                  </a:lnTo>
                  <a:lnTo>
                    <a:pt x="216" y="352"/>
                  </a:lnTo>
                  <a:lnTo>
                    <a:pt x="216" y="358"/>
                  </a:lnTo>
                  <a:lnTo>
                    <a:pt x="210" y="363"/>
                  </a:lnTo>
                  <a:lnTo>
                    <a:pt x="204" y="369"/>
                  </a:lnTo>
                  <a:lnTo>
                    <a:pt x="204" y="375"/>
                  </a:lnTo>
                  <a:lnTo>
                    <a:pt x="199" y="386"/>
                  </a:lnTo>
                  <a:lnTo>
                    <a:pt x="199" y="392"/>
                  </a:lnTo>
                  <a:lnTo>
                    <a:pt x="193" y="392"/>
                  </a:lnTo>
                  <a:lnTo>
                    <a:pt x="187" y="392"/>
                  </a:lnTo>
                  <a:lnTo>
                    <a:pt x="182" y="392"/>
                  </a:lnTo>
                  <a:lnTo>
                    <a:pt x="170" y="392"/>
                  </a:lnTo>
                  <a:lnTo>
                    <a:pt x="165" y="392"/>
                  </a:lnTo>
                  <a:lnTo>
                    <a:pt x="159" y="392"/>
                  </a:lnTo>
                  <a:lnTo>
                    <a:pt x="159" y="397"/>
                  </a:lnTo>
                  <a:lnTo>
                    <a:pt x="142" y="403"/>
                  </a:lnTo>
                  <a:lnTo>
                    <a:pt x="136" y="403"/>
                  </a:lnTo>
                  <a:lnTo>
                    <a:pt x="131" y="403"/>
                  </a:lnTo>
                  <a:lnTo>
                    <a:pt x="131" y="397"/>
                  </a:lnTo>
                  <a:lnTo>
                    <a:pt x="119" y="392"/>
                  </a:lnTo>
                  <a:lnTo>
                    <a:pt x="119" y="386"/>
                  </a:lnTo>
                  <a:lnTo>
                    <a:pt x="114" y="380"/>
                  </a:lnTo>
                  <a:lnTo>
                    <a:pt x="114" y="375"/>
                  </a:lnTo>
                  <a:lnTo>
                    <a:pt x="114" y="369"/>
                  </a:lnTo>
                  <a:lnTo>
                    <a:pt x="108" y="369"/>
                  </a:lnTo>
                  <a:lnTo>
                    <a:pt x="102" y="363"/>
                  </a:lnTo>
                  <a:lnTo>
                    <a:pt x="97" y="363"/>
                  </a:lnTo>
                  <a:lnTo>
                    <a:pt x="91" y="369"/>
                  </a:lnTo>
                  <a:lnTo>
                    <a:pt x="91" y="375"/>
                  </a:lnTo>
                  <a:lnTo>
                    <a:pt x="85" y="375"/>
                  </a:lnTo>
                  <a:lnTo>
                    <a:pt x="80" y="375"/>
                  </a:lnTo>
                  <a:lnTo>
                    <a:pt x="74" y="380"/>
                  </a:lnTo>
                  <a:lnTo>
                    <a:pt x="68" y="380"/>
                  </a:lnTo>
                  <a:lnTo>
                    <a:pt x="63" y="375"/>
                  </a:lnTo>
                  <a:lnTo>
                    <a:pt x="57" y="369"/>
                  </a:lnTo>
                  <a:lnTo>
                    <a:pt x="57" y="363"/>
                  </a:lnTo>
                  <a:lnTo>
                    <a:pt x="57" y="358"/>
                  </a:lnTo>
                  <a:lnTo>
                    <a:pt x="51" y="352"/>
                  </a:lnTo>
                  <a:lnTo>
                    <a:pt x="46" y="346"/>
                  </a:lnTo>
                  <a:close/>
                </a:path>
              </a:pathLst>
            </a:custGeom>
            <a:solidFill>
              <a:srgbClr val="FFC000"/>
            </a:solidFill>
            <a:ln w="25400">
              <a:solidFill>
                <a:srgbClr val="B4B4B4"/>
              </a:solidFill>
              <a:round/>
              <a:headEnd/>
              <a:tailEnd/>
            </a:ln>
          </p:spPr>
          <p:txBody>
            <a:bodyPr lIns="93296" tIns="46648" rIns="93296" bIns="46648"/>
            <a:lstStyle/>
            <a:p>
              <a:pPr>
                <a:defRPr/>
              </a:pPr>
              <a:endParaRPr lang="en-US" sz="1000" kern="0">
                <a:solidFill>
                  <a:prstClr val="black">
                    <a:lumMod val="65000"/>
                    <a:lumOff val="35000"/>
                  </a:prstClr>
                </a:solidFill>
              </a:endParaRPr>
            </a:p>
          </p:txBody>
        </p:sp>
        <p:sp>
          <p:nvSpPr>
            <p:cNvPr id="17" name="Freeform 16"/>
            <p:cNvSpPr>
              <a:spLocks/>
            </p:cNvSpPr>
            <p:nvPr/>
          </p:nvSpPr>
          <p:spPr bwMode="gray">
            <a:xfrm>
              <a:off x="198081" y="2882982"/>
              <a:ext cx="930167" cy="1013546"/>
            </a:xfrm>
            <a:custGeom>
              <a:avLst/>
              <a:gdLst>
                <a:gd name="T0" fmla="*/ 2147483647 w 663"/>
                <a:gd name="T1" fmla="*/ 2147483647 h 760"/>
                <a:gd name="T2" fmla="*/ 2147483647 w 663"/>
                <a:gd name="T3" fmla="*/ 2147483647 h 760"/>
                <a:gd name="T4" fmla="*/ 2147483647 w 663"/>
                <a:gd name="T5" fmla="*/ 2147483647 h 760"/>
                <a:gd name="T6" fmla="*/ 2147483647 w 663"/>
                <a:gd name="T7" fmla="*/ 2147483647 h 760"/>
                <a:gd name="T8" fmla="*/ 2147483647 w 663"/>
                <a:gd name="T9" fmla="*/ 2147483647 h 760"/>
                <a:gd name="T10" fmla="*/ 2147483647 w 663"/>
                <a:gd name="T11" fmla="*/ 2147483647 h 760"/>
                <a:gd name="T12" fmla="*/ 2147483647 w 663"/>
                <a:gd name="T13" fmla="*/ 2147483647 h 760"/>
                <a:gd name="T14" fmla="*/ 2147483647 w 663"/>
                <a:gd name="T15" fmla="*/ 2147483647 h 760"/>
                <a:gd name="T16" fmla="*/ 2147483647 w 663"/>
                <a:gd name="T17" fmla="*/ 2147483647 h 760"/>
                <a:gd name="T18" fmla="*/ 2147483647 w 663"/>
                <a:gd name="T19" fmla="*/ 2147483647 h 760"/>
                <a:gd name="T20" fmla="*/ 2147483647 w 663"/>
                <a:gd name="T21" fmla="*/ 2147483647 h 760"/>
                <a:gd name="T22" fmla="*/ 2147483647 w 663"/>
                <a:gd name="T23" fmla="*/ 2147483647 h 760"/>
                <a:gd name="T24" fmla="*/ 2147483647 w 663"/>
                <a:gd name="T25" fmla="*/ 2147483647 h 760"/>
                <a:gd name="T26" fmla="*/ 2147483647 w 663"/>
                <a:gd name="T27" fmla="*/ 2147483647 h 760"/>
                <a:gd name="T28" fmla="*/ 2147483647 w 663"/>
                <a:gd name="T29" fmla="*/ 2147483647 h 760"/>
                <a:gd name="T30" fmla="*/ 2147483647 w 663"/>
                <a:gd name="T31" fmla="*/ 2147483647 h 760"/>
                <a:gd name="T32" fmla="*/ 2147483647 w 663"/>
                <a:gd name="T33" fmla="*/ 2147483647 h 760"/>
                <a:gd name="T34" fmla="*/ 2147483647 w 663"/>
                <a:gd name="T35" fmla="*/ 2147483647 h 760"/>
                <a:gd name="T36" fmla="*/ 2147483647 w 663"/>
                <a:gd name="T37" fmla="*/ 2147483647 h 760"/>
                <a:gd name="T38" fmla="*/ 2147483647 w 663"/>
                <a:gd name="T39" fmla="*/ 2147483647 h 760"/>
                <a:gd name="T40" fmla="*/ 2147483647 w 663"/>
                <a:gd name="T41" fmla="*/ 2147483647 h 760"/>
                <a:gd name="T42" fmla="*/ 2147483647 w 663"/>
                <a:gd name="T43" fmla="*/ 2147483647 h 760"/>
                <a:gd name="T44" fmla="*/ 2147483647 w 663"/>
                <a:gd name="T45" fmla="*/ 2147483647 h 760"/>
                <a:gd name="T46" fmla="*/ 2147483647 w 663"/>
                <a:gd name="T47" fmla="*/ 2147483647 h 760"/>
                <a:gd name="T48" fmla="*/ 2147483647 w 663"/>
                <a:gd name="T49" fmla="*/ 2147483647 h 760"/>
                <a:gd name="T50" fmla="*/ 2147483647 w 663"/>
                <a:gd name="T51" fmla="*/ 2147483647 h 760"/>
                <a:gd name="T52" fmla="*/ 2147483647 w 663"/>
                <a:gd name="T53" fmla="*/ 2147483647 h 760"/>
                <a:gd name="T54" fmla="*/ 2147483647 w 663"/>
                <a:gd name="T55" fmla="*/ 2147483647 h 760"/>
                <a:gd name="T56" fmla="*/ 2147483647 w 663"/>
                <a:gd name="T57" fmla="*/ 2147483647 h 760"/>
                <a:gd name="T58" fmla="*/ 2147483647 w 663"/>
                <a:gd name="T59" fmla="*/ 2147483647 h 760"/>
                <a:gd name="T60" fmla="*/ 2147483647 w 663"/>
                <a:gd name="T61" fmla="*/ 2147483647 h 760"/>
                <a:gd name="T62" fmla="*/ 2147483647 w 663"/>
                <a:gd name="T63" fmla="*/ 2147483647 h 760"/>
                <a:gd name="T64" fmla="*/ 2147483647 w 663"/>
                <a:gd name="T65" fmla="*/ 2147483647 h 760"/>
                <a:gd name="T66" fmla="*/ 2147483647 w 663"/>
                <a:gd name="T67" fmla="*/ 2147483647 h 760"/>
                <a:gd name="T68" fmla="*/ 2147483647 w 663"/>
                <a:gd name="T69" fmla="*/ 2147483647 h 760"/>
                <a:gd name="T70" fmla="*/ 2147483647 w 663"/>
                <a:gd name="T71" fmla="*/ 2147483647 h 760"/>
                <a:gd name="T72" fmla="*/ 2147483647 w 663"/>
                <a:gd name="T73" fmla="*/ 2147483647 h 760"/>
                <a:gd name="T74" fmla="*/ 2147483647 w 663"/>
                <a:gd name="T75" fmla="*/ 2147483647 h 760"/>
                <a:gd name="T76" fmla="*/ 2147483647 w 663"/>
                <a:gd name="T77" fmla="*/ 2147483647 h 760"/>
                <a:gd name="T78" fmla="*/ 2147483647 w 663"/>
                <a:gd name="T79" fmla="*/ 2147483647 h 760"/>
                <a:gd name="T80" fmla="*/ 2147483647 w 663"/>
                <a:gd name="T81" fmla="*/ 2147483647 h 760"/>
                <a:gd name="T82" fmla="*/ 2147483647 w 663"/>
                <a:gd name="T83" fmla="*/ 2147483647 h 760"/>
                <a:gd name="T84" fmla="*/ 2147483647 w 663"/>
                <a:gd name="T85" fmla="*/ 2147483647 h 760"/>
                <a:gd name="T86" fmla="*/ 2147483647 w 663"/>
                <a:gd name="T87" fmla="*/ 2147483647 h 760"/>
                <a:gd name="T88" fmla="*/ 2147483647 w 663"/>
                <a:gd name="T89" fmla="*/ 2147483647 h 760"/>
                <a:gd name="T90" fmla="*/ 2147483647 w 663"/>
                <a:gd name="T91" fmla="*/ 2147483647 h 760"/>
                <a:gd name="T92" fmla="*/ 2147483647 w 663"/>
                <a:gd name="T93" fmla="*/ 2147483647 h 760"/>
                <a:gd name="T94" fmla="*/ 2147483647 w 663"/>
                <a:gd name="T95" fmla="*/ 2147483647 h 760"/>
                <a:gd name="T96" fmla="*/ 2147483647 w 663"/>
                <a:gd name="T97" fmla="*/ 2147483647 h 760"/>
                <a:gd name="T98" fmla="*/ 2147483647 w 663"/>
                <a:gd name="T99" fmla="*/ 2147483647 h 760"/>
                <a:gd name="T100" fmla="*/ 2147483647 w 663"/>
                <a:gd name="T101" fmla="*/ 2147483647 h 760"/>
                <a:gd name="T102" fmla="*/ 2147483647 w 663"/>
                <a:gd name="T103" fmla="*/ 2147483647 h 760"/>
                <a:gd name="T104" fmla="*/ 2147483647 w 663"/>
                <a:gd name="T105" fmla="*/ 2147483647 h 760"/>
                <a:gd name="T106" fmla="*/ 2147483647 w 663"/>
                <a:gd name="T107" fmla="*/ 2147483647 h 760"/>
                <a:gd name="T108" fmla="*/ 2147483647 w 663"/>
                <a:gd name="T109" fmla="*/ 2147483647 h 760"/>
                <a:gd name="T110" fmla="*/ 2147483647 w 663"/>
                <a:gd name="T111" fmla="*/ 2147483647 h 760"/>
                <a:gd name="T112" fmla="*/ 2147483647 w 663"/>
                <a:gd name="T113" fmla="*/ 2147483647 h 760"/>
                <a:gd name="T114" fmla="*/ 2147483647 w 663"/>
                <a:gd name="T115" fmla="*/ 2147483647 h 760"/>
                <a:gd name="T116" fmla="*/ 2147483647 w 663"/>
                <a:gd name="T117" fmla="*/ 2147483647 h 760"/>
                <a:gd name="T118" fmla="*/ 2147483647 w 663"/>
                <a:gd name="T119" fmla="*/ 2147483647 h 760"/>
                <a:gd name="T120" fmla="*/ 2147483647 w 663"/>
                <a:gd name="T121" fmla="*/ 2147483647 h 76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63"/>
                <a:gd name="T184" fmla="*/ 0 h 760"/>
                <a:gd name="T185" fmla="*/ 663 w 663"/>
                <a:gd name="T186" fmla="*/ 760 h 76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63" h="760">
                  <a:moveTo>
                    <a:pt x="0" y="431"/>
                  </a:moveTo>
                  <a:lnTo>
                    <a:pt x="0" y="425"/>
                  </a:lnTo>
                  <a:lnTo>
                    <a:pt x="6" y="408"/>
                  </a:lnTo>
                  <a:lnTo>
                    <a:pt x="6" y="403"/>
                  </a:lnTo>
                  <a:lnTo>
                    <a:pt x="12" y="403"/>
                  </a:lnTo>
                  <a:lnTo>
                    <a:pt x="6" y="397"/>
                  </a:lnTo>
                  <a:lnTo>
                    <a:pt x="6" y="391"/>
                  </a:lnTo>
                  <a:lnTo>
                    <a:pt x="12" y="386"/>
                  </a:lnTo>
                  <a:lnTo>
                    <a:pt x="12" y="380"/>
                  </a:lnTo>
                  <a:lnTo>
                    <a:pt x="12" y="374"/>
                  </a:lnTo>
                  <a:lnTo>
                    <a:pt x="17" y="369"/>
                  </a:lnTo>
                  <a:lnTo>
                    <a:pt x="17" y="357"/>
                  </a:lnTo>
                  <a:lnTo>
                    <a:pt x="17" y="352"/>
                  </a:lnTo>
                  <a:lnTo>
                    <a:pt x="12" y="346"/>
                  </a:lnTo>
                  <a:lnTo>
                    <a:pt x="12" y="340"/>
                  </a:lnTo>
                  <a:lnTo>
                    <a:pt x="6" y="340"/>
                  </a:lnTo>
                  <a:lnTo>
                    <a:pt x="6" y="335"/>
                  </a:lnTo>
                  <a:lnTo>
                    <a:pt x="0" y="329"/>
                  </a:lnTo>
                  <a:lnTo>
                    <a:pt x="0" y="318"/>
                  </a:lnTo>
                  <a:lnTo>
                    <a:pt x="0" y="312"/>
                  </a:lnTo>
                  <a:lnTo>
                    <a:pt x="0" y="306"/>
                  </a:lnTo>
                  <a:lnTo>
                    <a:pt x="0" y="301"/>
                  </a:lnTo>
                  <a:lnTo>
                    <a:pt x="0" y="295"/>
                  </a:lnTo>
                  <a:lnTo>
                    <a:pt x="6" y="289"/>
                  </a:lnTo>
                  <a:lnTo>
                    <a:pt x="6" y="284"/>
                  </a:lnTo>
                  <a:lnTo>
                    <a:pt x="0" y="278"/>
                  </a:lnTo>
                  <a:lnTo>
                    <a:pt x="6" y="272"/>
                  </a:lnTo>
                  <a:lnTo>
                    <a:pt x="12" y="272"/>
                  </a:lnTo>
                  <a:lnTo>
                    <a:pt x="12" y="267"/>
                  </a:lnTo>
                  <a:lnTo>
                    <a:pt x="17" y="261"/>
                  </a:lnTo>
                  <a:lnTo>
                    <a:pt x="17" y="255"/>
                  </a:lnTo>
                  <a:lnTo>
                    <a:pt x="17" y="250"/>
                  </a:lnTo>
                  <a:lnTo>
                    <a:pt x="23" y="244"/>
                  </a:lnTo>
                  <a:lnTo>
                    <a:pt x="23" y="238"/>
                  </a:lnTo>
                  <a:lnTo>
                    <a:pt x="17" y="238"/>
                  </a:lnTo>
                  <a:lnTo>
                    <a:pt x="17" y="233"/>
                  </a:lnTo>
                  <a:lnTo>
                    <a:pt x="17" y="227"/>
                  </a:lnTo>
                  <a:lnTo>
                    <a:pt x="17" y="221"/>
                  </a:lnTo>
                  <a:lnTo>
                    <a:pt x="23" y="221"/>
                  </a:lnTo>
                  <a:lnTo>
                    <a:pt x="23" y="216"/>
                  </a:lnTo>
                  <a:lnTo>
                    <a:pt x="29" y="210"/>
                  </a:lnTo>
                  <a:lnTo>
                    <a:pt x="29" y="204"/>
                  </a:lnTo>
                  <a:lnTo>
                    <a:pt x="34" y="204"/>
                  </a:lnTo>
                  <a:lnTo>
                    <a:pt x="40" y="199"/>
                  </a:lnTo>
                  <a:lnTo>
                    <a:pt x="51" y="204"/>
                  </a:lnTo>
                  <a:lnTo>
                    <a:pt x="57" y="204"/>
                  </a:lnTo>
                  <a:lnTo>
                    <a:pt x="63" y="210"/>
                  </a:lnTo>
                  <a:lnTo>
                    <a:pt x="68" y="204"/>
                  </a:lnTo>
                  <a:lnTo>
                    <a:pt x="68" y="199"/>
                  </a:lnTo>
                  <a:lnTo>
                    <a:pt x="74" y="199"/>
                  </a:lnTo>
                  <a:lnTo>
                    <a:pt x="80" y="199"/>
                  </a:lnTo>
                  <a:lnTo>
                    <a:pt x="80" y="193"/>
                  </a:lnTo>
                  <a:lnTo>
                    <a:pt x="85" y="187"/>
                  </a:lnTo>
                  <a:lnTo>
                    <a:pt x="97" y="182"/>
                  </a:lnTo>
                  <a:lnTo>
                    <a:pt x="97" y="176"/>
                  </a:lnTo>
                  <a:lnTo>
                    <a:pt x="102" y="176"/>
                  </a:lnTo>
                  <a:lnTo>
                    <a:pt x="108" y="170"/>
                  </a:lnTo>
                  <a:lnTo>
                    <a:pt x="108" y="165"/>
                  </a:lnTo>
                  <a:lnTo>
                    <a:pt x="114" y="165"/>
                  </a:lnTo>
                  <a:lnTo>
                    <a:pt x="119" y="165"/>
                  </a:lnTo>
                  <a:lnTo>
                    <a:pt x="119" y="159"/>
                  </a:lnTo>
                  <a:lnTo>
                    <a:pt x="125" y="153"/>
                  </a:lnTo>
                  <a:lnTo>
                    <a:pt x="131" y="153"/>
                  </a:lnTo>
                  <a:lnTo>
                    <a:pt x="136" y="153"/>
                  </a:lnTo>
                  <a:lnTo>
                    <a:pt x="136" y="148"/>
                  </a:lnTo>
                  <a:lnTo>
                    <a:pt x="142" y="142"/>
                  </a:lnTo>
                  <a:lnTo>
                    <a:pt x="148" y="142"/>
                  </a:lnTo>
                  <a:lnTo>
                    <a:pt x="153" y="142"/>
                  </a:lnTo>
                  <a:lnTo>
                    <a:pt x="159" y="142"/>
                  </a:lnTo>
                  <a:lnTo>
                    <a:pt x="165" y="142"/>
                  </a:lnTo>
                  <a:lnTo>
                    <a:pt x="170" y="142"/>
                  </a:lnTo>
                  <a:lnTo>
                    <a:pt x="176" y="142"/>
                  </a:lnTo>
                  <a:lnTo>
                    <a:pt x="182" y="142"/>
                  </a:lnTo>
                  <a:lnTo>
                    <a:pt x="187" y="142"/>
                  </a:lnTo>
                  <a:lnTo>
                    <a:pt x="193" y="142"/>
                  </a:lnTo>
                  <a:lnTo>
                    <a:pt x="199" y="142"/>
                  </a:lnTo>
                  <a:lnTo>
                    <a:pt x="204" y="142"/>
                  </a:lnTo>
                  <a:lnTo>
                    <a:pt x="210" y="136"/>
                  </a:lnTo>
                  <a:lnTo>
                    <a:pt x="216" y="131"/>
                  </a:lnTo>
                  <a:lnTo>
                    <a:pt x="221" y="131"/>
                  </a:lnTo>
                  <a:lnTo>
                    <a:pt x="227" y="131"/>
                  </a:lnTo>
                  <a:lnTo>
                    <a:pt x="233" y="131"/>
                  </a:lnTo>
                  <a:lnTo>
                    <a:pt x="238" y="125"/>
                  </a:lnTo>
                  <a:lnTo>
                    <a:pt x="244" y="125"/>
                  </a:lnTo>
                  <a:lnTo>
                    <a:pt x="250" y="125"/>
                  </a:lnTo>
                  <a:lnTo>
                    <a:pt x="250" y="119"/>
                  </a:lnTo>
                  <a:lnTo>
                    <a:pt x="250" y="114"/>
                  </a:lnTo>
                  <a:lnTo>
                    <a:pt x="255" y="114"/>
                  </a:lnTo>
                  <a:lnTo>
                    <a:pt x="261" y="114"/>
                  </a:lnTo>
                  <a:lnTo>
                    <a:pt x="267" y="108"/>
                  </a:lnTo>
                  <a:lnTo>
                    <a:pt x="278" y="108"/>
                  </a:lnTo>
                  <a:lnTo>
                    <a:pt x="278" y="102"/>
                  </a:lnTo>
                  <a:lnTo>
                    <a:pt x="289" y="102"/>
                  </a:lnTo>
                  <a:lnTo>
                    <a:pt x="295" y="97"/>
                  </a:lnTo>
                  <a:lnTo>
                    <a:pt x="306" y="97"/>
                  </a:lnTo>
                  <a:lnTo>
                    <a:pt x="318" y="91"/>
                  </a:lnTo>
                  <a:lnTo>
                    <a:pt x="329" y="85"/>
                  </a:lnTo>
                  <a:lnTo>
                    <a:pt x="335" y="85"/>
                  </a:lnTo>
                  <a:lnTo>
                    <a:pt x="335" y="80"/>
                  </a:lnTo>
                  <a:lnTo>
                    <a:pt x="340" y="80"/>
                  </a:lnTo>
                  <a:lnTo>
                    <a:pt x="346" y="80"/>
                  </a:lnTo>
                  <a:lnTo>
                    <a:pt x="346" y="74"/>
                  </a:lnTo>
                  <a:lnTo>
                    <a:pt x="352" y="74"/>
                  </a:lnTo>
                  <a:lnTo>
                    <a:pt x="352" y="68"/>
                  </a:lnTo>
                  <a:lnTo>
                    <a:pt x="357" y="68"/>
                  </a:lnTo>
                  <a:lnTo>
                    <a:pt x="363" y="63"/>
                  </a:lnTo>
                  <a:lnTo>
                    <a:pt x="363" y="57"/>
                  </a:lnTo>
                  <a:lnTo>
                    <a:pt x="369" y="51"/>
                  </a:lnTo>
                  <a:lnTo>
                    <a:pt x="369" y="46"/>
                  </a:lnTo>
                  <a:lnTo>
                    <a:pt x="369" y="40"/>
                  </a:lnTo>
                  <a:lnTo>
                    <a:pt x="369" y="34"/>
                  </a:lnTo>
                  <a:lnTo>
                    <a:pt x="369" y="29"/>
                  </a:lnTo>
                  <a:lnTo>
                    <a:pt x="374" y="29"/>
                  </a:lnTo>
                  <a:lnTo>
                    <a:pt x="374" y="23"/>
                  </a:lnTo>
                  <a:lnTo>
                    <a:pt x="380" y="17"/>
                  </a:lnTo>
                  <a:lnTo>
                    <a:pt x="386" y="17"/>
                  </a:lnTo>
                  <a:lnTo>
                    <a:pt x="386" y="12"/>
                  </a:lnTo>
                  <a:lnTo>
                    <a:pt x="391" y="12"/>
                  </a:lnTo>
                  <a:lnTo>
                    <a:pt x="391" y="6"/>
                  </a:lnTo>
                  <a:lnTo>
                    <a:pt x="397" y="6"/>
                  </a:lnTo>
                  <a:lnTo>
                    <a:pt x="403" y="6"/>
                  </a:lnTo>
                  <a:lnTo>
                    <a:pt x="403" y="0"/>
                  </a:lnTo>
                  <a:lnTo>
                    <a:pt x="408" y="0"/>
                  </a:lnTo>
                  <a:lnTo>
                    <a:pt x="414" y="0"/>
                  </a:lnTo>
                  <a:lnTo>
                    <a:pt x="420" y="0"/>
                  </a:lnTo>
                  <a:lnTo>
                    <a:pt x="425" y="0"/>
                  </a:lnTo>
                  <a:lnTo>
                    <a:pt x="431" y="6"/>
                  </a:lnTo>
                  <a:lnTo>
                    <a:pt x="431" y="12"/>
                  </a:lnTo>
                  <a:lnTo>
                    <a:pt x="442" y="17"/>
                  </a:lnTo>
                  <a:lnTo>
                    <a:pt x="448" y="17"/>
                  </a:lnTo>
                  <a:lnTo>
                    <a:pt x="448" y="23"/>
                  </a:lnTo>
                  <a:lnTo>
                    <a:pt x="448" y="29"/>
                  </a:lnTo>
                  <a:lnTo>
                    <a:pt x="448" y="34"/>
                  </a:lnTo>
                  <a:lnTo>
                    <a:pt x="454" y="34"/>
                  </a:lnTo>
                  <a:lnTo>
                    <a:pt x="448" y="40"/>
                  </a:lnTo>
                  <a:lnTo>
                    <a:pt x="454" y="46"/>
                  </a:lnTo>
                  <a:lnTo>
                    <a:pt x="459" y="51"/>
                  </a:lnTo>
                  <a:lnTo>
                    <a:pt x="459" y="57"/>
                  </a:lnTo>
                  <a:lnTo>
                    <a:pt x="465" y="57"/>
                  </a:lnTo>
                  <a:lnTo>
                    <a:pt x="471" y="57"/>
                  </a:lnTo>
                  <a:lnTo>
                    <a:pt x="471" y="63"/>
                  </a:lnTo>
                  <a:lnTo>
                    <a:pt x="476" y="63"/>
                  </a:lnTo>
                  <a:lnTo>
                    <a:pt x="476" y="68"/>
                  </a:lnTo>
                  <a:lnTo>
                    <a:pt x="488" y="74"/>
                  </a:lnTo>
                  <a:lnTo>
                    <a:pt x="488" y="80"/>
                  </a:lnTo>
                  <a:lnTo>
                    <a:pt x="493" y="85"/>
                  </a:lnTo>
                  <a:lnTo>
                    <a:pt x="499" y="85"/>
                  </a:lnTo>
                  <a:lnTo>
                    <a:pt x="505" y="85"/>
                  </a:lnTo>
                  <a:lnTo>
                    <a:pt x="505" y="91"/>
                  </a:lnTo>
                  <a:lnTo>
                    <a:pt x="510" y="91"/>
                  </a:lnTo>
                  <a:lnTo>
                    <a:pt x="516" y="97"/>
                  </a:lnTo>
                  <a:lnTo>
                    <a:pt x="522" y="97"/>
                  </a:lnTo>
                  <a:lnTo>
                    <a:pt x="527" y="97"/>
                  </a:lnTo>
                  <a:lnTo>
                    <a:pt x="527" y="91"/>
                  </a:lnTo>
                  <a:lnTo>
                    <a:pt x="533" y="85"/>
                  </a:lnTo>
                  <a:lnTo>
                    <a:pt x="539" y="80"/>
                  </a:lnTo>
                  <a:lnTo>
                    <a:pt x="544" y="80"/>
                  </a:lnTo>
                  <a:lnTo>
                    <a:pt x="544" y="74"/>
                  </a:lnTo>
                  <a:lnTo>
                    <a:pt x="550" y="74"/>
                  </a:lnTo>
                  <a:lnTo>
                    <a:pt x="550" y="68"/>
                  </a:lnTo>
                  <a:lnTo>
                    <a:pt x="556" y="68"/>
                  </a:lnTo>
                  <a:lnTo>
                    <a:pt x="561" y="68"/>
                  </a:lnTo>
                  <a:lnTo>
                    <a:pt x="567" y="63"/>
                  </a:lnTo>
                  <a:lnTo>
                    <a:pt x="573" y="68"/>
                  </a:lnTo>
                  <a:lnTo>
                    <a:pt x="578" y="74"/>
                  </a:lnTo>
                  <a:lnTo>
                    <a:pt x="578" y="80"/>
                  </a:lnTo>
                  <a:lnTo>
                    <a:pt x="578" y="85"/>
                  </a:lnTo>
                  <a:lnTo>
                    <a:pt x="573" y="85"/>
                  </a:lnTo>
                  <a:lnTo>
                    <a:pt x="567" y="91"/>
                  </a:lnTo>
                  <a:lnTo>
                    <a:pt x="556" y="97"/>
                  </a:lnTo>
                  <a:lnTo>
                    <a:pt x="550" y="102"/>
                  </a:lnTo>
                  <a:lnTo>
                    <a:pt x="544" y="108"/>
                  </a:lnTo>
                  <a:lnTo>
                    <a:pt x="539" y="114"/>
                  </a:lnTo>
                  <a:lnTo>
                    <a:pt x="533" y="119"/>
                  </a:lnTo>
                  <a:lnTo>
                    <a:pt x="533" y="125"/>
                  </a:lnTo>
                  <a:lnTo>
                    <a:pt x="527" y="131"/>
                  </a:lnTo>
                  <a:lnTo>
                    <a:pt x="527" y="136"/>
                  </a:lnTo>
                  <a:lnTo>
                    <a:pt x="527" y="142"/>
                  </a:lnTo>
                  <a:lnTo>
                    <a:pt x="522" y="142"/>
                  </a:lnTo>
                  <a:lnTo>
                    <a:pt x="516" y="142"/>
                  </a:lnTo>
                  <a:lnTo>
                    <a:pt x="516" y="148"/>
                  </a:lnTo>
                  <a:lnTo>
                    <a:pt x="516" y="153"/>
                  </a:lnTo>
                  <a:lnTo>
                    <a:pt x="516" y="159"/>
                  </a:lnTo>
                  <a:lnTo>
                    <a:pt x="516" y="165"/>
                  </a:lnTo>
                  <a:lnTo>
                    <a:pt x="516" y="170"/>
                  </a:lnTo>
                  <a:lnTo>
                    <a:pt x="516" y="176"/>
                  </a:lnTo>
                  <a:lnTo>
                    <a:pt x="516" y="182"/>
                  </a:lnTo>
                  <a:lnTo>
                    <a:pt x="522" y="187"/>
                  </a:lnTo>
                  <a:lnTo>
                    <a:pt x="522" y="193"/>
                  </a:lnTo>
                  <a:lnTo>
                    <a:pt x="527" y="193"/>
                  </a:lnTo>
                  <a:lnTo>
                    <a:pt x="527" y="199"/>
                  </a:lnTo>
                  <a:lnTo>
                    <a:pt x="527" y="204"/>
                  </a:lnTo>
                  <a:lnTo>
                    <a:pt x="527" y="210"/>
                  </a:lnTo>
                  <a:lnTo>
                    <a:pt x="533" y="210"/>
                  </a:lnTo>
                  <a:lnTo>
                    <a:pt x="533" y="216"/>
                  </a:lnTo>
                  <a:lnTo>
                    <a:pt x="539" y="221"/>
                  </a:lnTo>
                  <a:lnTo>
                    <a:pt x="544" y="227"/>
                  </a:lnTo>
                  <a:lnTo>
                    <a:pt x="544" y="233"/>
                  </a:lnTo>
                  <a:lnTo>
                    <a:pt x="550" y="238"/>
                  </a:lnTo>
                  <a:lnTo>
                    <a:pt x="556" y="244"/>
                  </a:lnTo>
                  <a:lnTo>
                    <a:pt x="556" y="250"/>
                  </a:lnTo>
                  <a:lnTo>
                    <a:pt x="561" y="261"/>
                  </a:lnTo>
                  <a:lnTo>
                    <a:pt x="561" y="267"/>
                  </a:lnTo>
                  <a:lnTo>
                    <a:pt x="567" y="272"/>
                  </a:lnTo>
                  <a:lnTo>
                    <a:pt x="567" y="278"/>
                  </a:lnTo>
                  <a:lnTo>
                    <a:pt x="573" y="278"/>
                  </a:lnTo>
                  <a:lnTo>
                    <a:pt x="573" y="284"/>
                  </a:lnTo>
                  <a:lnTo>
                    <a:pt x="578" y="289"/>
                  </a:lnTo>
                  <a:lnTo>
                    <a:pt x="578" y="295"/>
                  </a:lnTo>
                  <a:lnTo>
                    <a:pt x="584" y="301"/>
                  </a:lnTo>
                  <a:lnTo>
                    <a:pt x="590" y="306"/>
                  </a:lnTo>
                  <a:lnTo>
                    <a:pt x="590" y="312"/>
                  </a:lnTo>
                  <a:lnTo>
                    <a:pt x="595" y="318"/>
                  </a:lnTo>
                  <a:lnTo>
                    <a:pt x="601" y="318"/>
                  </a:lnTo>
                  <a:lnTo>
                    <a:pt x="601" y="323"/>
                  </a:lnTo>
                  <a:lnTo>
                    <a:pt x="607" y="323"/>
                  </a:lnTo>
                  <a:lnTo>
                    <a:pt x="607" y="329"/>
                  </a:lnTo>
                  <a:lnTo>
                    <a:pt x="612" y="335"/>
                  </a:lnTo>
                  <a:lnTo>
                    <a:pt x="618" y="340"/>
                  </a:lnTo>
                  <a:lnTo>
                    <a:pt x="624" y="346"/>
                  </a:lnTo>
                  <a:lnTo>
                    <a:pt x="629" y="346"/>
                  </a:lnTo>
                  <a:lnTo>
                    <a:pt x="629" y="352"/>
                  </a:lnTo>
                  <a:lnTo>
                    <a:pt x="629" y="357"/>
                  </a:lnTo>
                  <a:lnTo>
                    <a:pt x="635" y="363"/>
                  </a:lnTo>
                  <a:lnTo>
                    <a:pt x="641" y="374"/>
                  </a:lnTo>
                  <a:lnTo>
                    <a:pt x="635" y="374"/>
                  </a:lnTo>
                  <a:lnTo>
                    <a:pt x="641" y="386"/>
                  </a:lnTo>
                  <a:lnTo>
                    <a:pt x="641" y="391"/>
                  </a:lnTo>
                  <a:lnTo>
                    <a:pt x="646" y="397"/>
                  </a:lnTo>
                  <a:lnTo>
                    <a:pt x="652" y="403"/>
                  </a:lnTo>
                  <a:lnTo>
                    <a:pt x="658" y="403"/>
                  </a:lnTo>
                  <a:lnTo>
                    <a:pt x="663" y="408"/>
                  </a:lnTo>
                  <a:lnTo>
                    <a:pt x="658" y="408"/>
                  </a:lnTo>
                  <a:lnTo>
                    <a:pt x="658" y="414"/>
                  </a:lnTo>
                  <a:lnTo>
                    <a:pt x="652" y="414"/>
                  </a:lnTo>
                  <a:lnTo>
                    <a:pt x="652" y="420"/>
                  </a:lnTo>
                  <a:lnTo>
                    <a:pt x="646" y="420"/>
                  </a:lnTo>
                  <a:lnTo>
                    <a:pt x="646" y="431"/>
                  </a:lnTo>
                  <a:lnTo>
                    <a:pt x="646" y="442"/>
                  </a:lnTo>
                  <a:lnTo>
                    <a:pt x="641" y="442"/>
                  </a:lnTo>
                  <a:lnTo>
                    <a:pt x="635" y="448"/>
                  </a:lnTo>
                  <a:lnTo>
                    <a:pt x="629" y="448"/>
                  </a:lnTo>
                  <a:lnTo>
                    <a:pt x="624" y="448"/>
                  </a:lnTo>
                  <a:lnTo>
                    <a:pt x="618" y="448"/>
                  </a:lnTo>
                  <a:lnTo>
                    <a:pt x="612" y="448"/>
                  </a:lnTo>
                  <a:lnTo>
                    <a:pt x="612" y="454"/>
                  </a:lnTo>
                  <a:lnTo>
                    <a:pt x="612" y="459"/>
                  </a:lnTo>
                  <a:lnTo>
                    <a:pt x="607" y="459"/>
                  </a:lnTo>
                  <a:lnTo>
                    <a:pt x="607" y="465"/>
                  </a:lnTo>
                  <a:lnTo>
                    <a:pt x="607" y="471"/>
                  </a:lnTo>
                  <a:lnTo>
                    <a:pt x="601" y="471"/>
                  </a:lnTo>
                  <a:lnTo>
                    <a:pt x="595" y="471"/>
                  </a:lnTo>
                  <a:lnTo>
                    <a:pt x="590" y="471"/>
                  </a:lnTo>
                  <a:lnTo>
                    <a:pt x="590" y="476"/>
                  </a:lnTo>
                  <a:lnTo>
                    <a:pt x="584" y="476"/>
                  </a:lnTo>
                  <a:lnTo>
                    <a:pt x="584" y="482"/>
                  </a:lnTo>
                  <a:lnTo>
                    <a:pt x="578" y="482"/>
                  </a:lnTo>
                  <a:lnTo>
                    <a:pt x="578" y="476"/>
                  </a:lnTo>
                  <a:lnTo>
                    <a:pt x="578" y="471"/>
                  </a:lnTo>
                  <a:lnTo>
                    <a:pt x="578" y="465"/>
                  </a:lnTo>
                  <a:lnTo>
                    <a:pt x="578" y="459"/>
                  </a:lnTo>
                  <a:lnTo>
                    <a:pt x="573" y="459"/>
                  </a:lnTo>
                  <a:lnTo>
                    <a:pt x="573" y="454"/>
                  </a:lnTo>
                  <a:lnTo>
                    <a:pt x="573" y="448"/>
                  </a:lnTo>
                  <a:lnTo>
                    <a:pt x="567" y="454"/>
                  </a:lnTo>
                  <a:lnTo>
                    <a:pt x="567" y="448"/>
                  </a:lnTo>
                  <a:lnTo>
                    <a:pt x="561" y="448"/>
                  </a:lnTo>
                  <a:lnTo>
                    <a:pt x="556" y="448"/>
                  </a:lnTo>
                  <a:lnTo>
                    <a:pt x="550" y="442"/>
                  </a:lnTo>
                  <a:lnTo>
                    <a:pt x="544" y="442"/>
                  </a:lnTo>
                  <a:lnTo>
                    <a:pt x="544" y="448"/>
                  </a:lnTo>
                  <a:lnTo>
                    <a:pt x="539" y="448"/>
                  </a:lnTo>
                  <a:lnTo>
                    <a:pt x="533" y="448"/>
                  </a:lnTo>
                  <a:lnTo>
                    <a:pt x="533" y="454"/>
                  </a:lnTo>
                  <a:lnTo>
                    <a:pt x="533" y="459"/>
                  </a:lnTo>
                  <a:lnTo>
                    <a:pt x="527" y="459"/>
                  </a:lnTo>
                  <a:lnTo>
                    <a:pt x="522" y="459"/>
                  </a:lnTo>
                  <a:lnTo>
                    <a:pt x="522" y="465"/>
                  </a:lnTo>
                  <a:lnTo>
                    <a:pt x="522" y="471"/>
                  </a:lnTo>
                  <a:lnTo>
                    <a:pt x="522" y="476"/>
                  </a:lnTo>
                  <a:lnTo>
                    <a:pt x="516" y="482"/>
                  </a:lnTo>
                  <a:lnTo>
                    <a:pt x="510" y="482"/>
                  </a:lnTo>
                  <a:lnTo>
                    <a:pt x="505" y="488"/>
                  </a:lnTo>
                  <a:lnTo>
                    <a:pt x="499" y="488"/>
                  </a:lnTo>
                  <a:lnTo>
                    <a:pt x="493" y="488"/>
                  </a:lnTo>
                  <a:lnTo>
                    <a:pt x="488" y="482"/>
                  </a:lnTo>
                  <a:lnTo>
                    <a:pt x="488" y="476"/>
                  </a:lnTo>
                  <a:lnTo>
                    <a:pt x="482" y="476"/>
                  </a:lnTo>
                  <a:lnTo>
                    <a:pt x="476" y="476"/>
                  </a:lnTo>
                  <a:lnTo>
                    <a:pt x="476" y="482"/>
                  </a:lnTo>
                  <a:lnTo>
                    <a:pt x="476" y="488"/>
                  </a:lnTo>
                  <a:lnTo>
                    <a:pt x="471" y="499"/>
                  </a:lnTo>
                  <a:lnTo>
                    <a:pt x="471" y="505"/>
                  </a:lnTo>
                  <a:lnTo>
                    <a:pt x="471" y="511"/>
                  </a:lnTo>
                  <a:lnTo>
                    <a:pt x="471" y="516"/>
                  </a:lnTo>
                  <a:lnTo>
                    <a:pt x="471" y="522"/>
                  </a:lnTo>
                  <a:lnTo>
                    <a:pt x="471" y="528"/>
                  </a:lnTo>
                  <a:lnTo>
                    <a:pt x="465" y="528"/>
                  </a:lnTo>
                  <a:lnTo>
                    <a:pt x="465" y="533"/>
                  </a:lnTo>
                  <a:lnTo>
                    <a:pt x="465" y="539"/>
                  </a:lnTo>
                  <a:lnTo>
                    <a:pt x="459" y="539"/>
                  </a:lnTo>
                  <a:lnTo>
                    <a:pt x="459" y="545"/>
                  </a:lnTo>
                  <a:lnTo>
                    <a:pt x="459" y="550"/>
                  </a:lnTo>
                  <a:lnTo>
                    <a:pt x="465" y="556"/>
                  </a:lnTo>
                  <a:lnTo>
                    <a:pt x="471" y="556"/>
                  </a:lnTo>
                  <a:lnTo>
                    <a:pt x="476" y="567"/>
                  </a:lnTo>
                  <a:lnTo>
                    <a:pt x="482" y="567"/>
                  </a:lnTo>
                  <a:lnTo>
                    <a:pt x="482" y="573"/>
                  </a:lnTo>
                  <a:lnTo>
                    <a:pt x="488" y="573"/>
                  </a:lnTo>
                  <a:lnTo>
                    <a:pt x="488" y="579"/>
                  </a:lnTo>
                  <a:lnTo>
                    <a:pt x="493" y="584"/>
                  </a:lnTo>
                  <a:lnTo>
                    <a:pt x="493" y="590"/>
                  </a:lnTo>
                  <a:lnTo>
                    <a:pt x="493" y="596"/>
                  </a:lnTo>
                  <a:lnTo>
                    <a:pt x="499" y="596"/>
                  </a:lnTo>
                  <a:lnTo>
                    <a:pt x="505" y="601"/>
                  </a:lnTo>
                  <a:lnTo>
                    <a:pt x="505" y="607"/>
                  </a:lnTo>
                  <a:lnTo>
                    <a:pt x="499" y="613"/>
                  </a:lnTo>
                  <a:lnTo>
                    <a:pt x="499" y="624"/>
                  </a:lnTo>
                  <a:lnTo>
                    <a:pt x="499" y="630"/>
                  </a:lnTo>
                  <a:lnTo>
                    <a:pt x="493" y="630"/>
                  </a:lnTo>
                  <a:lnTo>
                    <a:pt x="493" y="635"/>
                  </a:lnTo>
                  <a:lnTo>
                    <a:pt x="493" y="641"/>
                  </a:lnTo>
                  <a:lnTo>
                    <a:pt x="493" y="647"/>
                  </a:lnTo>
                  <a:lnTo>
                    <a:pt x="493" y="658"/>
                  </a:lnTo>
                  <a:lnTo>
                    <a:pt x="499" y="658"/>
                  </a:lnTo>
                  <a:lnTo>
                    <a:pt x="493" y="664"/>
                  </a:lnTo>
                  <a:lnTo>
                    <a:pt x="493" y="669"/>
                  </a:lnTo>
                  <a:lnTo>
                    <a:pt x="493" y="675"/>
                  </a:lnTo>
                  <a:lnTo>
                    <a:pt x="493" y="681"/>
                  </a:lnTo>
                  <a:lnTo>
                    <a:pt x="499" y="692"/>
                  </a:lnTo>
                  <a:lnTo>
                    <a:pt x="505" y="698"/>
                  </a:lnTo>
                  <a:lnTo>
                    <a:pt x="510" y="709"/>
                  </a:lnTo>
                  <a:lnTo>
                    <a:pt x="516" y="720"/>
                  </a:lnTo>
                  <a:lnTo>
                    <a:pt x="516" y="726"/>
                  </a:lnTo>
                  <a:lnTo>
                    <a:pt x="510" y="726"/>
                  </a:lnTo>
                  <a:lnTo>
                    <a:pt x="510" y="732"/>
                  </a:lnTo>
                  <a:lnTo>
                    <a:pt x="505" y="737"/>
                  </a:lnTo>
                  <a:lnTo>
                    <a:pt x="505" y="726"/>
                  </a:lnTo>
                  <a:lnTo>
                    <a:pt x="499" y="726"/>
                  </a:lnTo>
                  <a:lnTo>
                    <a:pt x="493" y="720"/>
                  </a:lnTo>
                  <a:lnTo>
                    <a:pt x="488" y="720"/>
                  </a:lnTo>
                  <a:lnTo>
                    <a:pt x="482" y="726"/>
                  </a:lnTo>
                  <a:lnTo>
                    <a:pt x="476" y="726"/>
                  </a:lnTo>
                  <a:lnTo>
                    <a:pt x="476" y="732"/>
                  </a:lnTo>
                  <a:lnTo>
                    <a:pt x="471" y="732"/>
                  </a:lnTo>
                  <a:lnTo>
                    <a:pt x="465" y="737"/>
                  </a:lnTo>
                  <a:lnTo>
                    <a:pt x="459" y="737"/>
                  </a:lnTo>
                  <a:lnTo>
                    <a:pt x="454" y="743"/>
                  </a:lnTo>
                  <a:lnTo>
                    <a:pt x="454" y="749"/>
                  </a:lnTo>
                  <a:lnTo>
                    <a:pt x="448" y="749"/>
                  </a:lnTo>
                  <a:lnTo>
                    <a:pt x="442" y="754"/>
                  </a:lnTo>
                  <a:lnTo>
                    <a:pt x="437" y="754"/>
                  </a:lnTo>
                  <a:lnTo>
                    <a:pt x="437" y="749"/>
                  </a:lnTo>
                  <a:lnTo>
                    <a:pt x="431" y="749"/>
                  </a:lnTo>
                  <a:lnTo>
                    <a:pt x="425" y="754"/>
                  </a:lnTo>
                  <a:lnTo>
                    <a:pt x="420" y="754"/>
                  </a:lnTo>
                  <a:lnTo>
                    <a:pt x="408" y="760"/>
                  </a:lnTo>
                  <a:lnTo>
                    <a:pt x="397" y="760"/>
                  </a:lnTo>
                  <a:lnTo>
                    <a:pt x="391" y="760"/>
                  </a:lnTo>
                  <a:lnTo>
                    <a:pt x="386" y="760"/>
                  </a:lnTo>
                  <a:lnTo>
                    <a:pt x="380" y="760"/>
                  </a:lnTo>
                  <a:lnTo>
                    <a:pt x="374" y="760"/>
                  </a:lnTo>
                  <a:lnTo>
                    <a:pt x="363" y="754"/>
                  </a:lnTo>
                  <a:lnTo>
                    <a:pt x="357" y="754"/>
                  </a:lnTo>
                  <a:lnTo>
                    <a:pt x="352" y="754"/>
                  </a:lnTo>
                  <a:lnTo>
                    <a:pt x="352" y="749"/>
                  </a:lnTo>
                  <a:lnTo>
                    <a:pt x="352" y="743"/>
                  </a:lnTo>
                  <a:lnTo>
                    <a:pt x="357" y="743"/>
                  </a:lnTo>
                  <a:lnTo>
                    <a:pt x="363" y="737"/>
                  </a:lnTo>
                  <a:lnTo>
                    <a:pt x="363" y="732"/>
                  </a:lnTo>
                  <a:lnTo>
                    <a:pt x="363" y="726"/>
                  </a:lnTo>
                  <a:lnTo>
                    <a:pt x="363" y="720"/>
                  </a:lnTo>
                  <a:lnTo>
                    <a:pt x="363" y="715"/>
                  </a:lnTo>
                  <a:lnTo>
                    <a:pt x="363" y="709"/>
                  </a:lnTo>
                  <a:lnTo>
                    <a:pt x="363" y="703"/>
                  </a:lnTo>
                  <a:lnTo>
                    <a:pt x="363" y="698"/>
                  </a:lnTo>
                  <a:lnTo>
                    <a:pt x="363" y="692"/>
                  </a:lnTo>
                  <a:lnTo>
                    <a:pt x="363" y="681"/>
                  </a:lnTo>
                  <a:lnTo>
                    <a:pt x="357" y="681"/>
                  </a:lnTo>
                  <a:lnTo>
                    <a:pt x="352" y="681"/>
                  </a:lnTo>
                  <a:lnTo>
                    <a:pt x="352" y="675"/>
                  </a:lnTo>
                  <a:lnTo>
                    <a:pt x="352" y="669"/>
                  </a:lnTo>
                  <a:lnTo>
                    <a:pt x="346" y="669"/>
                  </a:lnTo>
                  <a:lnTo>
                    <a:pt x="340" y="664"/>
                  </a:lnTo>
                  <a:lnTo>
                    <a:pt x="340" y="658"/>
                  </a:lnTo>
                  <a:lnTo>
                    <a:pt x="340" y="652"/>
                  </a:lnTo>
                  <a:lnTo>
                    <a:pt x="340" y="647"/>
                  </a:lnTo>
                  <a:lnTo>
                    <a:pt x="335" y="647"/>
                  </a:lnTo>
                  <a:lnTo>
                    <a:pt x="335" y="641"/>
                  </a:lnTo>
                  <a:lnTo>
                    <a:pt x="335" y="635"/>
                  </a:lnTo>
                  <a:lnTo>
                    <a:pt x="329" y="635"/>
                  </a:lnTo>
                  <a:lnTo>
                    <a:pt x="329" y="630"/>
                  </a:lnTo>
                  <a:lnTo>
                    <a:pt x="323" y="630"/>
                  </a:lnTo>
                  <a:lnTo>
                    <a:pt x="318" y="630"/>
                  </a:lnTo>
                  <a:lnTo>
                    <a:pt x="312" y="630"/>
                  </a:lnTo>
                  <a:lnTo>
                    <a:pt x="306" y="624"/>
                  </a:lnTo>
                  <a:lnTo>
                    <a:pt x="301" y="624"/>
                  </a:lnTo>
                  <a:lnTo>
                    <a:pt x="295" y="624"/>
                  </a:lnTo>
                  <a:lnTo>
                    <a:pt x="284" y="624"/>
                  </a:lnTo>
                  <a:lnTo>
                    <a:pt x="272" y="630"/>
                  </a:lnTo>
                  <a:lnTo>
                    <a:pt x="267" y="630"/>
                  </a:lnTo>
                  <a:lnTo>
                    <a:pt x="261" y="630"/>
                  </a:lnTo>
                  <a:lnTo>
                    <a:pt x="255" y="630"/>
                  </a:lnTo>
                  <a:lnTo>
                    <a:pt x="255" y="624"/>
                  </a:lnTo>
                  <a:lnTo>
                    <a:pt x="250" y="624"/>
                  </a:lnTo>
                  <a:lnTo>
                    <a:pt x="250" y="618"/>
                  </a:lnTo>
                  <a:lnTo>
                    <a:pt x="250" y="613"/>
                  </a:lnTo>
                  <a:lnTo>
                    <a:pt x="244" y="613"/>
                  </a:lnTo>
                  <a:lnTo>
                    <a:pt x="244" y="607"/>
                  </a:lnTo>
                  <a:lnTo>
                    <a:pt x="238" y="607"/>
                  </a:lnTo>
                  <a:lnTo>
                    <a:pt x="233" y="607"/>
                  </a:lnTo>
                  <a:lnTo>
                    <a:pt x="233" y="613"/>
                  </a:lnTo>
                  <a:lnTo>
                    <a:pt x="227" y="613"/>
                  </a:lnTo>
                  <a:lnTo>
                    <a:pt x="227" y="624"/>
                  </a:lnTo>
                  <a:lnTo>
                    <a:pt x="227" y="630"/>
                  </a:lnTo>
                  <a:lnTo>
                    <a:pt x="221" y="635"/>
                  </a:lnTo>
                  <a:lnTo>
                    <a:pt x="221" y="641"/>
                  </a:lnTo>
                  <a:lnTo>
                    <a:pt x="216" y="647"/>
                  </a:lnTo>
                  <a:lnTo>
                    <a:pt x="210" y="652"/>
                  </a:lnTo>
                  <a:lnTo>
                    <a:pt x="204" y="658"/>
                  </a:lnTo>
                  <a:lnTo>
                    <a:pt x="199" y="658"/>
                  </a:lnTo>
                  <a:lnTo>
                    <a:pt x="193" y="658"/>
                  </a:lnTo>
                  <a:lnTo>
                    <a:pt x="187" y="658"/>
                  </a:lnTo>
                  <a:lnTo>
                    <a:pt x="182" y="658"/>
                  </a:lnTo>
                  <a:lnTo>
                    <a:pt x="176" y="658"/>
                  </a:lnTo>
                  <a:lnTo>
                    <a:pt x="170" y="658"/>
                  </a:lnTo>
                  <a:lnTo>
                    <a:pt x="159" y="652"/>
                  </a:lnTo>
                  <a:lnTo>
                    <a:pt x="159" y="647"/>
                  </a:lnTo>
                  <a:lnTo>
                    <a:pt x="153" y="647"/>
                  </a:lnTo>
                  <a:lnTo>
                    <a:pt x="153" y="641"/>
                  </a:lnTo>
                  <a:lnTo>
                    <a:pt x="148" y="641"/>
                  </a:lnTo>
                  <a:lnTo>
                    <a:pt x="142" y="630"/>
                  </a:lnTo>
                  <a:lnTo>
                    <a:pt x="136" y="624"/>
                  </a:lnTo>
                  <a:lnTo>
                    <a:pt x="131" y="624"/>
                  </a:lnTo>
                  <a:lnTo>
                    <a:pt x="131" y="618"/>
                  </a:lnTo>
                  <a:lnTo>
                    <a:pt x="131" y="613"/>
                  </a:lnTo>
                  <a:lnTo>
                    <a:pt x="125" y="613"/>
                  </a:lnTo>
                  <a:lnTo>
                    <a:pt x="125" y="601"/>
                  </a:lnTo>
                  <a:lnTo>
                    <a:pt x="119" y="601"/>
                  </a:lnTo>
                  <a:lnTo>
                    <a:pt x="119" y="596"/>
                  </a:lnTo>
                  <a:lnTo>
                    <a:pt x="114" y="596"/>
                  </a:lnTo>
                  <a:lnTo>
                    <a:pt x="114" y="590"/>
                  </a:lnTo>
                  <a:lnTo>
                    <a:pt x="114" y="584"/>
                  </a:lnTo>
                  <a:lnTo>
                    <a:pt x="108" y="584"/>
                  </a:lnTo>
                  <a:lnTo>
                    <a:pt x="102" y="584"/>
                  </a:lnTo>
                  <a:lnTo>
                    <a:pt x="102" y="579"/>
                  </a:lnTo>
                  <a:lnTo>
                    <a:pt x="102" y="573"/>
                  </a:lnTo>
                  <a:lnTo>
                    <a:pt x="97" y="573"/>
                  </a:lnTo>
                  <a:lnTo>
                    <a:pt x="97" y="567"/>
                  </a:lnTo>
                  <a:lnTo>
                    <a:pt x="97" y="562"/>
                  </a:lnTo>
                  <a:lnTo>
                    <a:pt x="91" y="562"/>
                  </a:lnTo>
                  <a:lnTo>
                    <a:pt x="91" y="556"/>
                  </a:lnTo>
                  <a:lnTo>
                    <a:pt x="91" y="550"/>
                  </a:lnTo>
                  <a:lnTo>
                    <a:pt x="85" y="545"/>
                  </a:lnTo>
                  <a:lnTo>
                    <a:pt x="85" y="539"/>
                  </a:lnTo>
                  <a:lnTo>
                    <a:pt x="85" y="528"/>
                  </a:lnTo>
                  <a:lnTo>
                    <a:pt x="91" y="522"/>
                  </a:lnTo>
                  <a:lnTo>
                    <a:pt x="91" y="516"/>
                  </a:lnTo>
                  <a:lnTo>
                    <a:pt x="91" y="511"/>
                  </a:lnTo>
                  <a:lnTo>
                    <a:pt x="91" y="505"/>
                  </a:lnTo>
                  <a:lnTo>
                    <a:pt x="97" y="505"/>
                  </a:lnTo>
                  <a:lnTo>
                    <a:pt x="97" y="499"/>
                  </a:lnTo>
                  <a:lnTo>
                    <a:pt x="97" y="493"/>
                  </a:lnTo>
                  <a:lnTo>
                    <a:pt x="97" y="488"/>
                  </a:lnTo>
                  <a:lnTo>
                    <a:pt x="97" y="482"/>
                  </a:lnTo>
                  <a:lnTo>
                    <a:pt x="91" y="476"/>
                  </a:lnTo>
                  <a:lnTo>
                    <a:pt x="85" y="471"/>
                  </a:lnTo>
                  <a:lnTo>
                    <a:pt x="80" y="471"/>
                  </a:lnTo>
                  <a:lnTo>
                    <a:pt x="74" y="476"/>
                  </a:lnTo>
                  <a:lnTo>
                    <a:pt x="74" y="488"/>
                  </a:lnTo>
                  <a:lnTo>
                    <a:pt x="68" y="493"/>
                  </a:lnTo>
                  <a:lnTo>
                    <a:pt x="68" y="499"/>
                  </a:lnTo>
                  <a:lnTo>
                    <a:pt x="68" y="505"/>
                  </a:lnTo>
                  <a:lnTo>
                    <a:pt x="63" y="505"/>
                  </a:lnTo>
                  <a:lnTo>
                    <a:pt x="57" y="505"/>
                  </a:lnTo>
                  <a:lnTo>
                    <a:pt x="57" y="499"/>
                  </a:lnTo>
                  <a:lnTo>
                    <a:pt x="57" y="493"/>
                  </a:lnTo>
                  <a:lnTo>
                    <a:pt x="57" y="488"/>
                  </a:lnTo>
                  <a:lnTo>
                    <a:pt x="57" y="482"/>
                  </a:lnTo>
                  <a:lnTo>
                    <a:pt x="57" y="476"/>
                  </a:lnTo>
                  <a:lnTo>
                    <a:pt x="57" y="465"/>
                  </a:lnTo>
                  <a:lnTo>
                    <a:pt x="57" y="459"/>
                  </a:lnTo>
                  <a:lnTo>
                    <a:pt x="57" y="454"/>
                  </a:lnTo>
                  <a:lnTo>
                    <a:pt x="51" y="448"/>
                  </a:lnTo>
                  <a:lnTo>
                    <a:pt x="51" y="442"/>
                  </a:lnTo>
                  <a:lnTo>
                    <a:pt x="46" y="442"/>
                  </a:lnTo>
                  <a:lnTo>
                    <a:pt x="51" y="437"/>
                  </a:lnTo>
                  <a:lnTo>
                    <a:pt x="40" y="431"/>
                  </a:lnTo>
                  <a:lnTo>
                    <a:pt x="34" y="431"/>
                  </a:lnTo>
                  <a:lnTo>
                    <a:pt x="29" y="431"/>
                  </a:lnTo>
                  <a:lnTo>
                    <a:pt x="23" y="431"/>
                  </a:lnTo>
                  <a:lnTo>
                    <a:pt x="17" y="431"/>
                  </a:lnTo>
                  <a:lnTo>
                    <a:pt x="12" y="431"/>
                  </a:lnTo>
                  <a:lnTo>
                    <a:pt x="6" y="431"/>
                  </a:lnTo>
                  <a:lnTo>
                    <a:pt x="0" y="431"/>
                  </a:lnTo>
                  <a:close/>
                </a:path>
              </a:pathLst>
            </a:custGeom>
            <a:solidFill>
              <a:schemeClr val="bg1">
                <a:lumMod val="95000"/>
              </a:schemeClr>
            </a:solidFill>
            <a:ln w="25400">
              <a:solidFill>
                <a:schemeClr val="bg1">
                  <a:lumMod val="65000"/>
                </a:schemeClr>
              </a:solidFill>
              <a:round/>
              <a:headEnd/>
              <a:tailEnd/>
            </a:ln>
          </p:spPr>
          <p:txBody>
            <a:bodyPr lIns="93296" tIns="46648" rIns="93296" bIns="46648"/>
            <a:lstStyle/>
            <a:p>
              <a:pPr>
                <a:defRPr/>
              </a:pPr>
              <a:endParaRPr lang="en-US" sz="1000" kern="0">
                <a:solidFill>
                  <a:prstClr val="black">
                    <a:lumMod val="65000"/>
                    <a:lumOff val="35000"/>
                  </a:prstClr>
                </a:solidFill>
              </a:endParaRPr>
            </a:p>
          </p:txBody>
        </p:sp>
        <p:sp>
          <p:nvSpPr>
            <p:cNvPr id="18" name="Freeform 17"/>
            <p:cNvSpPr>
              <a:spLocks/>
            </p:cNvSpPr>
            <p:nvPr/>
          </p:nvSpPr>
          <p:spPr bwMode="gray">
            <a:xfrm>
              <a:off x="913490" y="651649"/>
              <a:ext cx="1552964" cy="1445005"/>
            </a:xfrm>
            <a:custGeom>
              <a:avLst/>
              <a:gdLst>
                <a:gd name="T0" fmla="*/ 2147483647 w 1106"/>
                <a:gd name="T1" fmla="*/ 2147483647 h 1083"/>
                <a:gd name="T2" fmla="*/ 2147483647 w 1106"/>
                <a:gd name="T3" fmla="*/ 2147483647 h 1083"/>
                <a:gd name="T4" fmla="*/ 2147483647 w 1106"/>
                <a:gd name="T5" fmla="*/ 2147483647 h 1083"/>
                <a:gd name="T6" fmla="*/ 2147483647 w 1106"/>
                <a:gd name="T7" fmla="*/ 2147483647 h 1083"/>
                <a:gd name="T8" fmla="*/ 2147483647 w 1106"/>
                <a:gd name="T9" fmla="*/ 2147483647 h 1083"/>
                <a:gd name="T10" fmla="*/ 2147483647 w 1106"/>
                <a:gd name="T11" fmla="*/ 2147483647 h 1083"/>
                <a:gd name="T12" fmla="*/ 2147483647 w 1106"/>
                <a:gd name="T13" fmla="*/ 2147483647 h 1083"/>
                <a:gd name="T14" fmla="*/ 2147483647 w 1106"/>
                <a:gd name="T15" fmla="*/ 2147483647 h 1083"/>
                <a:gd name="T16" fmla="*/ 2147483647 w 1106"/>
                <a:gd name="T17" fmla="*/ 2147483647 h 1083"/>
                <a:gd name="T18" fmla="*/ 2147483647 w 1106"/>
                <a:gd name="T19" fmla="*/ 2147483647 h 1083"/>
                <a:gd name="T20" fmla="*/ 2147483647 w 1106"/>
                <a:gd name="T21" fmla="*/ 2147483647 h 1083"/>
                <a:gd name="T22" fmla="*/ 2147483647 w 1106"/>
                <a:gd name="T23" fmla="*/ 2147483647 h 1083"/>
                <a:gd name="T24" fmla="*/ 2147483647 w 1106"/>
                <a:gd name="T25" fmla="*/ 2147483647 h 1083"/>
                <a:gd name="T26" fmla="*/ 2147483647 w 1106"/>
                <a:gd name="T27" fmla="*/ 2147483647 h 1083"/>
                <a:gd name="T28" fmla="*/ 2147483647 w 1106"/>
                <a:gd name="T29" fmla="*/ 2147483647 h 1083"/>
                <a:gd name="T30" fmla="*/ 2147483647 w 1106"/>
                <a:gd name="T31" fmla="*/ 2147483647 h 1083"/>
                <a:gd name="T32" fmla="*/ 2147483647 w 1106"/>
                <a:gd name="T33" fmla="*/ 2147483647 h 1083"/>
                <a:gd name="T34" fmla="*/ 2147483647 w 1106"/>
                <a:gd name="T35" fmla="*/ 2147483647 h 1083"/>
                <a:gd name="T36" fmla="*/ 2147483647 w 1106"/>
                <a:gd name="T37" fmla="*/ 2147483647 h 1083"/>
                <a:gd name="T38" fmla="*/ 2147483647 w 1106"/>
                <a:gd name="T39" fmla="*/ 2147483647 h 1083"/>
                <a:gd name="T40" fmla="*/ 2147483647 w 1106"/>
                <a:gd name="T41" fmla="*/ 2147483647 h 1083"/>
                <a:gd name="T42" fmla="*/ 2147483647 w 1106"/>
                <a:gd name="T43" fmla="*/ 2147483647 h 1083"/>
                <a:gd name="T44" fmla="*/ 2147483647 w 1106"/>
                <a:gd name="T45" fmla="*/ 2147483647 h 1083"/>
                <a:gd name="T46" fmla="*/ 2147483647 w 1106"/>
                <a:gd name="T47" fmla="*/ 2147483647 h 1083"/>
                <a:gd name="T48" fmla="*/ 2147483647 w 1106"/>
                <a:gd name="T49" fmla="*/ 2147483647 h 1083"/>
                <a:gd name="T50" fmla="*/ 2147483647 w 1106"/>
                <a:gd name="T51" fmla="*/ 2147483647 h 1083"/>
                <a:gd name="T52" fmla="*/ 2147483647 w 1106"/>
                <a:gd name="T53" fmla="*/ 2147483647 h 1083"/>
                <a:gd name="T54" fmla="*/ 2147483647 w 1106"/>
                <a:gd name="T55" fmla="*/ 2147483647 h 1083"/>
                <a:gd name="T56" fmla="*/ 2147483647 w 1106"/>
                <a:gd name="T57" fmla="*/ 2147483647 h 1083"/>
                <a:gd name="T58" fmla="*/ 2147483647 w 1106"/>
                <a:gd name="T59" fmla="*/ 2147483647 h 1083"/>
                <a:gd name="T60" fmla="*/ 2147483647 w 1106"/>
                <a:gd name="T61" fmla="*/ 2147483647 h 1083"/>
                <a:gd name="T62" fmla="*/ 2147483647 w 1106"/>
                <a:gd name="T63" fmla="*/ 2147483647 h 1083"/>
                <a:gd name="T64" fmla="*/ 2147483647 w 1106"/>
                <a:gd name="T65" fmla="*/ 2147483647 h 1083"/>
                <a:gd name="T66" fmla="*/ 2147483647 w 1106"/>
                <a:gd name="T67" fmla="*/ 2147483647 h 1083"/>
                <a:gd name="T68" fmla="*/ 2147483647 w 1106"/>
                <a:gd name="T69" fmla="*/ 2147483647 h 1083"/>
                <a:gd name="T70" fmla="*/ 2147483647 w 1106"/>
                <a:gd name="T71" fmla="*/ 2147483647 h 1083"/>
                <a:gd name="T72" fmla="*/ 2147483647 w 1106"/>
                <a:gd name="T73" fmla="*/ 2147483647 h 1083"/>
                <a:gd name="T74" fmla="*/ 2147483647 w 1106"/>
                <a:gd name="T75" fmla="*/ 2147483647 h 1083"/>
                <a:gd name="T76" fmla="*/ 2147483647 w 1106"/>
                <a:gd name="T77" fmla="*/ 2147483647 h 1083"/>
                <a:gd name="T78" fmla="*/ 2147483647 w 1106"/>
                <a:gd name="T79" fmla="*/ 2147483647 h 1083"/>
                <a:gd name="T80" fmla="*/ 2147483647 w 1106"/>
                <a:gd name="T81" fmla="*/ 2147483647 h 1083"/>
                <a:gd name="T82" fmla="*/ 2147483647 w 1106"/>
                <a:gd name="T83" fmla="*/ 2147483647 h 1083"/>
                <a:gd name="T84" fmla="*/ 2147483647 w 1106"/>
                <a:gd name="T85" fmla="*/ 2147483647 h 1083"/>
                <a:gd name="T86" fmla="*/ 2147483647 w 1106"/>
                <a:gd name="T87" fmla="*/ 2147483647 h 1083"/>
                <a:gd name="T88" fmla="*/ 2147483647 w 1106"/>
                <a:gd name="T89" fmla="*/ 2147483647 h 1083"/>
                <a:gd name="T90" fmla="*/ 2147483647 w 1106"/>
                <a:gd name="T91" fmla="*/ 2147483647 h 1083"/>
                <a:gd name="T92" fmla="*/ 2147483647 w 1106"/>
                <a:gd name="T93" fmla="*/ 2147483647 h 1083"/>
                <a:gd name="T94" fmla="*/ 2147483647 w 1106"/>
                <a:gd name="T95" fmla="*/ 2147483647 h 1083"/>
                <a:gd name="T96" fmla="*/ 2147483647 w 1106"/>
                <a:gd name="T97" fmla="*/ 2147483647 h 1083"/>
                <a:gd name="T98" fmla="*/ 2147483647 w 1106"/>
                <a:gd name="T99" fmla="*/ 2147483647 h 1083"/>
                <a:gd name="T100" fmla="*/ 2147483647 w 1106"/>
                <a:gd name="T101" fmla="*/ 2147483647 h 1083"/>
                <a:gd name="T102" fmla="*/ 2147483647 w 1106"/>
                <a:gd name="T103" fmla="*/ 2147483647 h 1083"/>
                <a:gd name="T104" fmla="*/ 2147483647 w 1106"/>
                <a:gd name="T105" fmla="*/ 2147483647 h 1083"/>
                <a:gd name="T106" fmla="*/ 2147483647 w 1106"/>
                <a:gd name="T107" fmla="*/ 2147483647 h 1083"/>
                <a:gd name="T108" fmla="*/ 2147483647 w 1106"/>
                <a:gd name="T109" fmla="*/ 2147483647 h 1083"/>
                <a:gd name="T110" fmla="*/ 2147483647 w 1106"/>
                <a:gd name="T111" fmla="*/ 2147483647 h 1083"/>
                <a:gd name="T112" fmla="*/ 2147483647 w 1106"/>
                <a:gd name="T113" fmla="*/ 2147483647 h 1083"/>
                <a:gd name="T114" fmla="*/ 2147483647 w 1106"/>
                <a:gd name="T115" fmla="*/ 2147483647 h 108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06"/>
                <a:gd name="T175" fmla="*/ 0 h 1083"/>
                <a:gd name="T176" fmla="*/ 1106 w 1106"/>
                <a:gd name="T177" fmla="*/ 1083 h 108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06" h="1083">
                  <a:moveTo>
                    <a:pt x="0" y="232"/>
                  </a:moveTo>
                  <a:lnTo>
                    <a:pt x="0" y="198"/>
                  </a:lnTo>
                  <a:lnTo>
                    <a:pt x="0" y="187"/>
                  </a:lnTo>
                  <a:lnTo>
                    <a:pt x="0" y="164"/>
                  </a:lnTo>
                  <a:lnTo>
                    <a:pt x="0" y="159"/>
                  </a:lnTo>
                  <a:lnTo>
                    <a:pt x="0" y="153"/>
                  </a:lnTo>
                  <a:lnTo>
                    <a:pt x="0" y="147"/>
                  </a:lnTo>
                  <a:lnTo>
                    <a:pt x="17" y="147"/>
                  </a:lnTo>
                  <a:lnTo>
                    <a:pt x="23" y="147"/>
                  </a:lnTo>
                  <a:lnTo>
                    <a:pt x="29" y="147"/>
                  </a:lnTo>
                  <a:lnTo>
                    <a:pt x="46" y="136"/>
                  </a:lnTo>
                  <a:lnTo>
                    <a:pt x="57" y="119"/>
                  </a:lnTo>
                  <a:lnTo>
                    <a:pt x="63" y="119"/>
                  </a:lnTo>
                  <a:lnTo>
                    <a:pt x="68" y="113"/>
                  </a:lnTo>
                  <a:lnTo>
                    <a:pt x="80" y="102"/>
                  </a:lnTo>
                  <a:lnTo>
                    <a:pt x="97" y="85"/>
                  </a:lnTo>
                  <a:lnTo>
                    <a:pt x="102" y="85"/>
                  </a:lnTo>
                  <a:lnTo>
                    <a:pt x="108" y="79"/>
                  </a:lnTo>
                  <a:lnTo>
                    <a:pt x="119" y="68"/>
                  </a:lnTo>
                  <a:lnTo>
                    <a:pt x="125" y="68"/>
                  </a:lnTo>
                  <a:lnTo>
                    <a:pt x="142" y="62"/>
                  </a:lnTo>
                  <a:lnTo>
                    <a:pt x="148" y="62"/>
                  </a:lnTo>
                  <a:lnTo>
                    <a:pt x="153" y="62"/>
                  </a:lnTo>
                  <a:lnTo>
                    <a:pt x="159" y="57"/>
                  </a:lnTo>
                  <a:lnTo>
                    <a:pt x="165" y="57"/>
                  </a:lnTo>
                  <a:lnTo>
                    <a:pt x="170" y="57"/>
                  </a:lnTo>
                  <a:lnTo>
                    <a:pt x="176" y="57"/>
                  </a:lnTo>
                  <a:lnTo>
                    <a:pt x="193" y="51"/>
                  </a:lnTo>
                  <a:lnTo>
                    <a:pt x="204" y="51"/>
                  </a:lnTo>
                  <a:lnTo>
                    <a:pt x="210" y="51"/>
                  </a:lnTo>
                  <a:lnTo>
                    <a:pt x="216" y="51"/>
                  </a:lnTo>
                  <a:lnTo>
                    <a:pt x="221" y="45"/>
                  </a:lnTo>
                  <a:lnTo>
                    <a:pt x="227" y="45"/>
                  </a:lnTo>
                  <a:lnTo>
                    <a:pt x="233" y="45"/>
                  </a:lnTo>
                  <a:lnTo>
                    <a:pt x="255" y="40"/>
                  </a:lnTo>
                  <a:lnTo>
                    <a:pt x="261" y="40"/>
                  </a:lnTo>
                  <a:lnTo>
                    <a:pt x="267" y="40"/>
                  </a:lnTo>
                  <a:lnTo>
                    <a:pt x="273" y="51"/>
                  </a:lnTo>
                  <a:lnTo>
                    <a:pt x="278" y="51"/>
                  </a:lnTo>
                  <a:lnTo>
                    <a:pt x="290" y="51"/>
                  </a:lnTo>
                  <a:lnTo>
                    <a:pt x="301" y="51"/>
                  </a:lnTo>
                  <a:lnTo>
                    <a:pt x="307" y="51"/>
                  </a:lnTo>
                  <a:lnTo>
                    <a:pt x="307" y="57"/>
                  </a:lnTo>
                  <a:lnTo>
                    <a:pt x="312" y="57"/>
                  </a:lnTo>
                  <a:lnTo>
                    <a:pt x="318" y="51"/>
                  </a:lnTo>
                  <a:lnTo>
                    <a:pt x="329" y="51"/>
                  </a:lnTo>
                  <a:lnTo>
                    <a:pt x="341" y="51"/>
                  </a:lnTo>
                  <a:lnTo>
                    <a:pt x="346" y="51"/>
                  </a:lnTo>
                  <a:lnTo>
                    <a:pt x="358" y="51"/>
                  </a:lnTo>
                  <a:lnTo>
                    <a:pt x="363" y="51"/>
                  </a:lnTo>
                  <a:lnTo>
                    <a:pt x="369" y="51"/>
                  </a:lnTo>
                  <a:lnTo>
                    <a:pt x="375" y="51"/>
                  </a:lnTo>
                  <a:lnTo>
                    <a:pt x="380" y="51"/>
                  </a:lnTo>
                  <a:lnTo>
                    <a:pt x="392" y="51"/>
                  </a:lnTo>
                  <a:lnTo>
                    <a:pt x="397" y="51"/>
                  </a:lnTo>
                  <a:lnTo>
                    <a:pt x="403" y="51"/>
                  </a:lnTo>
                  <a:lnTo>
                    <a:pt x="409" y="45"/>
                  </a:lnTo>
                  <a:lnTo>
                    <a:pt x="414" y="45"/>
                  </a:lnTo>
                  <a:lnTo>
                    <a:pt x="420" y="34"/>
                  </a:lnTo>
                  <a:lnTo>
                    <a:pt x="431" y="23"/>
                  </a:lnTo>
                  <a:lnTo>
                    <a:pt x="437" y="17"/>
                  </a:lnTo>
                  <a:lnTo>
                    <a:pt x="454" y="11"/>
                  </a:lnTo>
                  <a:lnTo>
                    <a:pt x="465" y="6"/>
                  </a:lnTo>
                  <a:lnTo>
                    <a:pt x="471" y="6"/>
                  </a:lnTo>
                  <a:lnTo>
                    <a:pt x="482" y="6"/>
                  </a:lnTo>
                  <a:lnTo>
                    <a:pt x="494" y="0"/>
                  </a:lnTo>
                  <a:lnTo>
                    <a:pt x="499" y="0"/>
                  </a:lnTo>
                  <a:lnTo>
                    <a:pt x="516" y="11"/>
                  </a:lnTo>
                  <a:lnTo>
                    <a:pt x="522" y="11"/>
                  </a:lnTo>
                  <a:lnTo>
                    <a:pt x="533" y="17"/>
                  </a:lnTo>
                  <a:lnTo>
                    <a:pt x="567" y="34"/>
                  </a:lnTo>
                  <a:lnTo>
                    <a:pt x="573" y="34"/>
                  </a:lnTo>
                  <a:lnTo>
                    <a:pt x="590" y="40"/>
                  </a:lnTo>
                  <a:lnTo>
                    <a:pt x="607" y="45"/>
                  </a:lnTo>
                  <a:lnTo>
                    <a:pt x="624" y="51"/>
                  </a:lnTo>
                  <a:lnTo>
                    <a:pt x="635" y="57"/>
                  </a:lnTo>
                  <a:lnTo>
                    <a:pt x="658" y="62"/>
                  </a:lnTo>
                  <a:lnTo>
                    <a:pt x="664" y="68"/>
                  </a:lnTo>
                  <a:lnTo>
                    <a:pt x="675" y="68"/>
                  </a:lnTo>
                  <a:lnTo>
                    <a:pt x="681" y="74"/>
                  </a:lnTo>
                  <a:lnTo>
                    <a:pt x="692" y="74"/>
                  </a:lnTo>
                  <a:lnTo>
                    <a:pt x="709" y="85"/>
                  </a:lnTo>
                  <a:lnTo>
                    <a:pt x="715" y="85"/>
                  </a:lnTo>
                  <a:lnTo>
                    <a:pt x="715" y="91"/>
                  </a:lnTo>
                  <a:lnTo>
                    <a:pt x="720" y="91"/>
                  </a:lnTo>
                  <a:lnTo>
                    <a:pt x="726" y="85"/>
                  </a:lnTo>
                  <a:lnTo>
                    <a:pt x="732" y="85"/>
                  </a:lnTo>
                  <a:lnTo>
                    <a:pt x="737" y="85"/>
                  </a:lnTo>
                  <a:lnTo>
                    <a:pt x="743" y="79"/>
                  </a:lnTo>
                  <a:lnTo>
                    <a:pt x="754" y="79"/>
                  </a:lnTo>
                  <a:lnTo>
                    <a:pt x="760" y="79"/>
                  </a:lnTo>
                  <a:lnTo>
                    <a:pt x="766" y="79"/>
                  </a:lnTo>
                  <a:lnTo>
                    <a:pt x="771" y="85"/>
                  </a:lnTo>
                  <a:lnTo>
                    <a:pt x="777" y="85"/>
                  </a:lnTo>
                  <a:lnTo>
                    <a:pt x="783" y="91"/>
                  </a:lnTo>
                  <a:lnTo>
                    <a:pt x="811" y="102"/>
                  </a:lnTo>
                  <a:lnTo>
                    <a:pt x="817" y="108"/>
                  </a:lnTo>
                  <a:lnTo>
                    <a:pt x="822" y="113"/>
                  </a:lnTo>
                  <a:lnTo>
                    <a:pt x="839" y="130"/>
                  </a:lnTo>
                  <a:lnTo>
                    <a:pt x="862" y="153"/>
                  </a:lnTo>
                  <a:lnTo>
                    <a:pt x="868" y="153"/>
                  </a:lnTo>
                  <a:lnTo>
                    <a:pt x="868" y="159"/>
                  </a:lnTo>
                  <a:lnTo>
                    <a:pt x="873" y="164"/>
                  </a:lnTo>
                  <a:lnTo>
                    <a:pt x="890" y="176"/>
                  </a:lnTo>
                  <a:lnTo>
                    <a:pt x="896" y="181"/>
                  </a:lnTo>
                  <a:lnTo>
                    <a:pt x="896" y="187"/>
                  </a:lnTo>
                  <a:lnTo>
                    <a:pt x="902" y="193"/>
                  </a:lnTo>
                  <a:lnTo>
                    <a:pt x="907" y="198"/>
                  </a:lnTo>
                  <a:lnTo>
                    <a:pt x="907" y="204"/>
                  </a:lnTo>
                  <a:lnTo>
                    <a:pt x="913" y="204"/>
                  </a:lnTo>
                  <a:lnTo>
                    <a:pt x="913" y="210"/>
                  </a:lnTo>
                  <a:lnTo>
                    <a:pt x="913" y="215"/>
                  </a:lnTo>
                  <a:lnTo>
                    <a:pt x="919" y="215"/>
                  </a:lnTo>
                  <a:lnTo>
                    <a:pt x="919" y="221"/>
                  </a:lnTo>
                  <a:lnTo>
                    <a:pt x="924" y="227"/>
                  </a:lnTo>
                  <a:lnTo>
                    <a:pt x="930" y="238"/>
                  </a:lnTo>
                  <a:lnTo>
                    <a:pt x="936" y="244"/>
                  </a:lnTo>
                  <a:lnTo>
                    <a:pt x="941" y="255"/>
                  </a:lnTo>
                  <a:lnTo>
                    <a:pt x="941" y="261"/>
                  </a:lnTo>
                  <a:lnTo>
                    <a:pt x="947" y="266"/>
                  </a:lnTo>
                  <a:lnTo>
                    <a:pt x="947" y="272"/>
                  </a:lnTo>
                  <a:lnTo>
                    <a:pt x="953" y="278"/>
                  </a:lnTo>
                  <a:lnTo>
                    <a:pt x="958" y="283"/>
                  </a:lnTo>
                  <a:lnTo>
                    <a:pt x="964" y="289"/>
                  </a:lnTo>
                  <a:lnTo>
                    <a:pt x="975" y="306"/>
                  </a:lnTo>
                  <a:lnTo>
                    <a:pt x="981" y="306"/>
                  </a:lnTo>
                  <a:lnTo>
                    <a:pt x="981" y="312"/>
                  </a:lnTo>
                  <a:lnTo>
                    <a:pt x="987" y="317"/>
                  </a:lnTo>
                  <a:lnTo>
                    <a:pt x="992" y="323"/>
                  </a:lnTo>
                  <a:lnTo>
                    <a:pt x="998" y="323"/>
                  </a:lnTo>
                  <a:lnTo>
                    <a:pt x="1015" y="323"/>
                  </a:lnTo>
                  <a:lnTo>
                    <a:pt x="1021" y="323"/>
                  </a:lnTo>
                  <a:lnTo>
                    <a:pt x="1032" y="317"/>
                  </a:lnTo>
                  <a:lnTo>
                    <a:pt x="1038" y="317"/>
                  </a:lnTo>
                  <a:lnTo>
                    <a:pt x="1038" y="335"/>
                  </a:lnTo>
                  <a:lnTo>
                    <a:pt x="1038" y="352"/>
                  </a:lnTo>
                  <a:lnTo>
                    <a:pt x="1038" y="363"/>
                  </a:lnTo>
                  <a:lnTo>
                    <a:pt x="1038" y="374"/>
                  </a:lnTo>
                  <a:lnTo>
                    <a:pt x="1038" y="380"/>
                  </a:lnTo>
                  <a:lnTo>
                    <a:pt x="1032" y="391"/>
                  </a:lnTo>
                  <a:lnTo>
                    <a:pt x="1032" y="403"/>
                  </a:lnTo>
                  <a:lnTo>
                    <a:pt x="1032" y="431"/>
                  </a:lnTo>
                  <a:lnTo>
                    <a:pt x="1032" y="437"/>
                  </a:lnTo>
                  <a:lnTo>
                    <a:pt x="1038" y="442"/>
                  </a:lnTo>
                  <a:lnTo>
                    <a:pt x="1038" y="448"/>
                  </a:lnTo>
                  <a:lnTo>
                    <a:pt x="1038" y="454"/>
                  </a:lnTo>
                  <a:lnTo>
                    <a:pt x="1038" y="459"/>
                  </a:lnTo>
                  <a:lnTo>
                    <a:pt x="1043" y="465"/>
                  </a:lnTo>
                  <a:lnTo>
                    <a:pt x="1043" y="488"/>
                  </a:lnTo>
                  <a:lnTo>
                    <a:pt x="1043" y="493"/>
                  </a:lnTo>
                  <a:lnTo>
                    <a:pt x="1043" y="499"/>
                  </a:lnTo>
                  <a:lnTo>
                    <a:pt x="1043" y="505"/>
                  </a:lnTo>
                  <a:lnTo>
                    <a:pt x="1043" y="510"/>
                  </a:lnTo>
                  <a:lnTo>
                    <a:pt x="1043" y="527"/>
                  </a:lnTo>
                  <a:lnTo>
                    <a:pt x="1043" y="533"/>
                  </a:lnTo>
                  <a:lnTo>
                    <a:pt x="1049" y="533"/>
                  </a:lnTo>
                  <a:lnTo>
                    <a:pt x="1049" y="539"/>
                  </a:lnTo>
                  <a:lnTo>
                    <a:pt x="1055" y="539"/>
                  </a:lnTo>
                  <a:lnTo>
                    <a:pt x="1055" y="544"/>
                  </a:lnTo>
                  <a:lnTo>
                    <a:pt x="1055" y="550"/>
                  </a:lnTo>
                  <a:lnTo>
                    <a:pt x="1055" y="556"/>
                  </a:lnTo>
                  <a:lnTo>
                    <a:pt x="1055" y="561"/>
                  </a:lnTo>
                  <a:lnTo>
                    <a:pt x="1060" y="561"/>
                  </a:lnTo>
                  <a:lnTo>
                    <a:pt x="1060" y="567"/>
                  </a:lnTo>
                  <a:lnTo>
                    <a:pt x="1060" y="578"/>
                  </a:lnTo>
                  <a:lnTo>
                    <a:pt x="1060" y="584"/>
                  </a:lnTo>
                  <a:lnTo>
                    <a:pt x="1066" y="590"/>
                  </a:lnTo>
                  <a:lnTo>
                    <a:pt x="1072" y="595"/>
                  </a:lnTo>
                  <a:lnTo>
                    <a:pt x="1072" y="601"/>
                  </a:lnTo>
                  <a:lnTo>
                    <a:pt x="1072" y="607"/>
                  </a:lnTo>
                  <a:lnTo>
                    <a:pt x="1072" y="612"/>
                  </a:lnTo>
                  <a:lnTo>
                    <a:pt x="1077" y="618"/>
                  </a:lnTo>
                  <a:lnTo>
                    <a:pt x="1077" y="624"/>
                  </a:lnTo>
                  <a:lnTo>
                    <a:pt x="1077" y="629"/>
                  </a:lnTo>
                  <a:lnTo>
                    <a:pt x="1077" y="635"/>
                  </a:lnTo>
                  <a:lnTo>
                    <a:pt x="1077" y="641"/>
                  </a:lnTo>
                  <a:lnTo>
                    <a:pt x="1072" y="641"/>
                  </a:lnTo>
                  <a:lnTo>
                    <a:pt x="1072" y="646"/>
                  </a:lnTo>
                  <a:lnTo>
                    <a:pt x="1072" y="652"/>
                  </a:lnTo>
                  <a:lnTo>
                    <a:pt x="1066" y="652"/>
                  </a:lnTo>
                  <a:lnTo>
                    <a:pt x="1066" y="658"/>
                  </a:lnTo>
                  <a:lnTo>
                    <a:pt x="1060" y="658"/>
                  </a:lnTo>
                  <a:lnTo>
                    <a:pt x="1060" y="663"/>
                  </a:lnTo>
                  <a:lnTo>
                    <a:pt x="1060" y="669"/>
                  </a:lnTo>
                  <a:lnTo>
                    <a:pt x="1060" y="675"/>
                  </a:lnTo>
                  <a:lnTo>
                    <a:pt x="1066" y="675"/>
                  </a:lnTo>
                  <a:lnTo>
                    <a:pt x="1066" y="680"/>
                  </a:lnTo>
                  <a:lnTo>
                    <a:pt x="1072" y="680"/>
                  </a:lnTo>
                  <a:lnTo>
                    <a:pt x="1077" y="680"/>
                  </a:lnTo>
                  <a:lnTo>
                    <a:pt x="1083" y="680"/>
                  </a:lnTo>
                  <a:lnTo>
                    <a:pt x="1083" y="686"/>
                  </a:lnTo>
                  <a:lnTo>
                    <a:pt x="1089" y="686"/>
                  </a:lnTo>
                  <a:lnTo>
                    <a:pt x="1094" y="697"/>
                  </a:lnTo>
                  <a:lnTo>
                    <a:pt x="1100" y="697"/>
                  </a:lnTo>
                  <a:lnTo>
                    <a:pt x="1100" y="703"/>
                  </a:lnTo>
                  <a:lnTo>
                    <a:pt x="1106" y="709"/>
                  </a:lnTo>
                  <a:lnTo>
                    <a:pt x="1106" y="714"/>
                  </a:lnTo>
                  <a:lnTo>
                    <a:pt x="1100" y="714"/>
                  </a:lnTo>
                  <a:lnTo>
                    <a:pt x="1100" y="720"/>
                  </a:lnTo>
                  <a:lnTo>
                    <a:pt x="1094" y="720"/>
                  </a:lnTo>
                  <a:lnTo>
                    <a:pt x="1094" y="726"/>
                  </a:lnTo>
                  <a:lnTo>
                    <a:pt x="1089" y="720"/>
                  </a:lnTo>
                  <a:lnTo>
                    <a:pt x="1083" y="720"/>
                  </a:lnTo>
                  <a:lnTo>
                    <a:pt x="1077" y="720"/>
                  </a:lnTo>
                  <a:lnTo>
                    <a:pt x="1072" y="726"/>
                  </a:lnTo>
                  <a:lnTo>
                    <a:pt x="1072" y="731"/>
                  </a:lnTo>
                  <a:lnTo>
                    <a:pt x="1072" y="737"/>
                  </a:lnTo>
                  <a:lnTo>
                    <a:pt x="1066" y="743"/>
                  </a:lnTo>
                  <a:lnTo>
                    <a:pt x="1060" y="743"/>
                  </a:lnTo>
                  <a:lnTo>
                    <a:pt x="1055" y="754"/>
                  </a:lnTo>
                  <a:lnTo>
                    <a:pt x="1049" y="754"/>
                  </a:lnTo>
                  <a:lnTo>
                    <a:pt x="1043" y="754"/>
                  </a:lnTo>
                  <a:lnTo>
                    <a:pt x="1043" y="760"/>
                  </a:lnTo>
                  <a:lnTo>
                    <a:pt x="1038" y="760"/>
                  </a:lnTo>
                  <a:lnTo>
                    <a:pt x="1032" y="760"/>
                  </a:lnTo>
                  <a:lnTo>
                    <a:pt x="1026" y="754"/>
                  </a:lnTo>
                  <a:lnTo>
                    <a:pt x="1021" y="754"/>
                  </a:lnTo>
                  <a:lnTo>
                    <a:pt x="1015" y="754"/>
                  </a:lnTo>
                  <a:lnTo>
                    <a:pt x="1009" y="754"/>
                  </a:lnTo>
                  <a:lnTo>
                    <a:pt x="998" y="754"/>
                  </a:lnTo>
                  <a:lnTo>
                    <a:pt x="998" y="760"/>
                  </a:lnTo>
                  <a:lnTo>
                    <a:pt x="992" y="760"/>
                  </a:lnTo>
                  <a:lnTo>
                    <a:pt x="992" y="765"/>
                  </a:lnTo>
                  <a:lnTo>
                    <a:pt x="987" y="765"/>
                  </a:lnTo>
                  <a:lnTo>
                    <a:pt x="987" y="771"/>
                  </a:lnTo>
                  <a:lnTo>
                    <a:pt x="987" y="782"/>
                  </a:lnTo>
                  <a:lnTo>
                    <a:pt x="981" y="782"/>
                  </a:lnTo>
                  <a:lnTo>
                    <a:pt x="981" y="788"/>
                  </a:lnTo>
                  <a:lnTo>
                    <a:pt x="981" y="794"/>
                  </a:lnTo>
                  <a:lnTo>
                    <a:pt x="981" y="799"/>
                  </a:lnTo>
                  <a:lnTo>
                    <a:pt x="975" y="799"/>
                  </a:lnTo>
                  <a:lnTo>
                    <a:pt x="975" y="805"/>
                  </a:lnTo>
                  <a:lnTo>
                    <a:pt x="975" y="811"/>
                  </a:lnTo>
                  <a:lnTo>
                    <a:pt x="975" y="816"/>
                  </a:lnTo>
                  <a:lnTo>
                    <a:pt x="975" y="822"/>
                  </a:lnTo>
                  <a:lnTo>
                    <a:pt x="975" y="828"/>
                  </a:lnTo>
                  <a:lnTo>
                    <a:pt x="975" y="833"/>
                  </a:lnTo>
                  <a:lnTo>
                    <a:pt x="981" y="839"/>
                  </a:lnTo>
                  <a:lnTo>
                    <a:pt x="987" y="845"/>
                  </a:lnTo>
                  <a:lnTo>
                    <a:pt x="987" y="850"/>
                  </a:lnTo>
                  <a:lnTo>
                    <a:pt x="992" y="856"/>
                  </a:lnTo>
                  <a:lnTo>
                    <a:pt x="992" y="862"/>
                  </a:lnTo>
                  <a:lnTo>
                    <a:pt x="992" y="867"/>
                  </a:lnTo>
                  <a:lnTo>
                    <a:pt x="987" y="867"/>
                  </a:lnTo>
                  <a:lnTo>
                    <a:pt x="987" y="873"/>
                  </a:lnTo>
                  <a:lnTo>
                    <a:pt x="987" y="879"/>
                  </a:lnTo>
                  <a:lnTo>
                    <a:pt x="987" y="884"/>
                  </a:lnTo>
                  <a:lnTo>
                    <a:pt x="981" y="890"/>
                  </a:lnTo>
                  <a:lnTo>
                    <a:pt x="981" y="896"/>
                  </a:lnTo>
                  <a:lnTo>
                    <a:pt x="981" y="901"/>
                  </a:lnTo>
                  <a:lnTo>
                    <a:pt x="987" y="907"/>
                  </a:lnTo>
                  <a:lnTo>
                    <a:pt x="981" y="913"/>
                  </a:lnTo>
                  <a:lnTo>
                    <a:pt x="975" y="918"/>
                  </a:lnTo>
                  <a:lnTo>
                    <a:pt x="970" y="924"/>
                  </a:lnTo>
                  <a:lnTo>
                    <a:pt x="964" y="924"/>
                  </a:lnTo>
                  <a:lnTo>
                    <a:pt x="964" y="930"/>
                  </a:lnTo>
                  <a:lnTo>
                    <a:pt x="958" y="930"/>
                  </a:lnTo>
                  <a:lnTo>
                    <a:pt x="958" y="935"/>
                  </a:lnTo>
                  <a:lnTo>
                    <a:pt x="953" y="935"/>
                  </a:lnTo>
                  <a:lnTo>
                    <a:pt x="947" y="935"/>
                  </a:lnTo>
                  <a:lnTo>
                    <a:pt x="947" y="941"/>
                  </a:lnTo>
                  <a:lnTo>
                    <a:pt x="941" y="941"/>
                  </a:lnTo>
                  <a:lnTo>
                    <a:pt x="936" y="947"/>
                  </a:lnTo>
                  <a:lnTo>
                    <a:pt x="936" y="952"/>
                  </a:lnTo>
                  <a:lnTo>
                    <a:pt x="930" y="964"/>
                  </a:lnTo>
                  <a:lnTo>
                    <a:pt x="930" y="975"/>
                  </a:lnTo>
                  <a:lnTo>
                    <a:pt x="930" y="981"/>
                  </a:lnTo>
                  <a:lnTo>
                    <a:pt x="930" y="986"/>
                  </a:lnTo>
                  <a:lnTo>
                    <a:pt x="924" y="992"/>
                  </a:lnTo>
                  <a:lnTo>
                    <a:pt x="924" y="998"/>
                  </a:lnTo>
                  <a:lnTo>
                    <a:pt x="919" y="998"/>
                  </a:lnTo>
                  <a:lnTo>
                    <a:pt x="919" y="1003"/>
                  </a:lnTo>
                  <a:lnTo>
                    <a:pt x="913" y="1009"/>
                  </a:lnTo>
                  <a:lnTo>
                    <a:pt x="907" y="1015"/>
                  </a:lnTo>
                  <a:lnTo>
                    <a:pt x="902" y="1015"/>
                  </a:lnTo>
                  <a:lnTo>
                    <a:pt x="902" y="1020"/>
                  </a:lnTo>
                  <a:lnTo>
                    <a:pt x="896" y="1020"/>
                  </a:lnTo>
                  <a:lnTo>
                    <a:pt x="890" y="1020"/>
                  </a:lnTo>
                  <a:lnTo>
                    <a:pt x="885" y="1026"/>
                  </a:lnTo>
                  <a:lnTo>
                    <a:pt x="879" y="1026"/>
                  </a:lnTo>
                  <a:lnTo>
                    <a:pt x="862" y="1032"/>
                  </a:lnTo>
                  <a:lnTo>
                    <a:pt x="856" y="1032"/>
                  </a:lnTo>
                  <a:lnTo>
                    <a:pt x="851" y="1032"/>
                  </a:lnTo>
                  <a:lnTo>
                    <a:pt x="845" y="1032"/>
                  </a:lnTo>
                  <a:lnTo>
                    <a:pt x="834" y="1032"/>
                  </a:lnTo>
                  <a:lnTo>
                    <a:pt x="828" y="1032"/>
                  </a:lnTo>
                  <a:lnTo>
                    <a:pt x="822" y="1026"/>
                  </a:lnTo>
                  <a:lnTo>
                    <a:pt x="817" y="1026"/>
                  </a:lnTo>
                  <a:lnTo>
                    <a:pt x="811" y="1020"/>
                  </a:lnTo>
                  <a:lnTo>
                    <a:pt x="805" y="1020"/>
                  </a:lnTo>
                  <a:lnTo>
                    <a:pt x="805" y="1026"/>
                  </a:lnTo>
                  <a:lnTo>
                    <a:pt x="794" y="1026"/>
                  </a:lnTo>
                  <a:lnTo>
                    <a:pt x="794" y="1032"/>
                  </a:lnTo>
                  <a:lnTo>
                    <a:pt x="783" y="1037"/>
                  </a:lnTo>
                  <a:lnTo>
                    <a:pt x="777" y="1037"/>
                  </a:lnTo>
                  <a:lnTo>
                    <a:pt x="777" y="1043"/>
                  </a:lnTo>
                  <a:lnTo>
                    <a:pt x="771" y="1043"/>
                  </a:lnTo>
                  <a:lnTo>
                    <a:pt x="771" y="1049"/>
                  </a:lnTo>
                  <a:lnTo>
                    <a:pt x="766" y="1049"/>
                  </a:lnTo>
                  <a:lnTo>
                    <a:pt x="760" y="1054"/>
                  </a:lnTo>
                  <a:lnTo>
                    <a:pt x="760" y="1060"/>
                  </a:lnTo>
                  <a:lnTo>
                    <a:pt x="754" y="1060"/>
                  </a:lnTo>
                  <a:lnTo>
                    <a:pt x="754" y="1071"/>
                  </a:lnTo>
                  <a:lnTo>
                    <a:pt x="749" y="1071"/>
                  </a:lnTo>
                  <a:lnTo>
                    <a:pt x="749" y="1077"/>
                  </a:lnTo>
                  <a:lnTo>
                    <a:pt x="749" y="1083"/>
                  </a:lnTo>
                  <a:lnTo>
                    <a:pt x="743" y="1083"/>
                  </a:lnTo>
                  <a:lnTo>
                    <a:pt x="737" y="1083"/>
                  </a:lnTo>
                  <a:lnTo>
                    <a:pt x="732" y="1083"/>
                  </a:lnTo>
                  <a:lnTo>
                    <a:pt x="726" y="1077"/>
                  </a:lnTo>
                  <a:lnTo>
                    <a:pt x="726" y="1071"/>
                  </a:lnTo>
                  <a:lnTo>
                    <a:pt x="720" y="1066"/>
                  </a:lnTo>
                  <a:lnTo>
                    <a:pt x="720" y="1060"/>
                  </a:lnTo>
                  <a:lnTo>
                    <a:pt x="720" y="1054"/>
                  </a:lnTo>
                  <a:lnTo>
                    <a:pt x="715" y="1049"/>
                  </a:lnTo>
                  <a:lnTo>
                    <a:pt x="709" y="1049"/>
                  </a:lnTo>
                  <a:lnTo>
                    <a:pt x="709" y="1043"/>
                  </a:lnTo>
                  <a:lnTo>
                    <a:pt x="703" y="1043"/>
                  </a:lnTo>
                  <a:lnTo>
                    <a:pt x="703" y="1037"/>
                  </a:lnTo>
                  <a:lnTo>
                    <a:pt x="703" y="1032"/>
                  </a:lnTo>
                  <a:lnTo>
                    <a:pt x="698" y="1026"/>
                  </a:lnTo>
                  <a:lnTo>
                    <a:pt x="698" y="1020"/>
                  </a:lnTo>
                  <a:lnTo>
                    <a:pt x="692" y="1020"/>
                  </a:lnTo>
                  <a:lnTo>
                    <a:pt x="692" y="1015"/>
                  </a:lnTo>
                  <a:lnTo>
                    <a:pt x="681" y="1003"/>
                  </a:lnTo>
                  <a:lnTo>
                    <a:pt x="681" y="998"/>
                  </a:lnTo>
                  <a:lnTo>
                    <a:pt x="675" y="992"/>
                  </a:lnTo>
                  <a:lnTo>
                    <a:pt x="675" y="986"/>
                  </a:lnTo>
                  <a:lnTo>
                    <a:pt x="675" y="981"/>
                  </a:lnTo>
                  <a:lnTo>
                    <a:pt x="675" y="975"/>
                  </a:lnTo>
                  <a:lnTo>
                    <a:pt x="675" y="969"/>
                  </a:lnTo>
                  <a:lnTo>
                    <a:pt x="675" y="964"/>
                  </a:lnTo>
                  <a:lnTo>
                    <a:pt x="675" y="952"/>
                  </a:lnTo>
                  <a:lnTo>
                    <a:pt x="675" y="947"/>
                  </a:lnTo>
                  <a:lnTo>
                    <a:pt x="675" y="935"/>
                  </a:lnTo>
                  <a:lnTo>
                    <a:pt x="669" y="930"/>
                  </a:lnTo>
                  <a:lnTo>
                    <a:pt x="669" y="924"/>
                  </a:lnTo>
                  <a:lnTo>
                    <a:pt x="664" y="924"/>
                  </a:lnTo>
                  <a:lnTo>
                    <a:pt x="664" y="918"/>
                  </a:lnTo>
                  <a:lnTo>
                    <a:pt x="664" y="913"/>
                  </a:lnTo>
                  <a:lnTo>
                    <a:pt x="664" y="907"/>
                  </a:lnTo>
                  <a:lnTo>
                    <a:pt x="658" y="907"/>
                  </a:lnTo>
                  <a:lnTo>
                    <a:pt x="652" y="907"/>
                  </a:lnTo>
                  <a:lnTo>
                    <a:pt x="652" y="901"/>
                  </a:lnTo>
                  <a:lnTo>
                    <a:pt x="647" y="896"/>
                  </a:lnTo>
                  <a:lnTo>
                    <a:pt x="641" y="896"/>
                  </a:lnTo>
                  <a:lnTo>
                    <a:pt x="635" y="896"/>
                  </a:lnTo>
                  <a:lnTo>
                    <a:pt x="630" y="896"/>
                  </a:lnTo>
                  <a:lnTo>
                    <a:pt x="624" y="890"/>
                  </a:lnTo>
                  <a:lnTo>
                    <a:pt x="618" y="890"/>
                  </a:lnTo>
                  <a:lnTo>
                    <a:pt x="618" y="884"/>
                  </a:lnTo>
                  <a:lnTo>
                    <a:pt x="624" y="884"/>
                  </a:lnTo>
                  <a:lnTo>
                    <a:pt x="624" y="879"/>
                  </a:lnTo>
                  <a:lnTo>
                    <a:pt x="630" y="867"/>
                  </a:lnTo>
                  <a:lnTo>
                    <a:pt x="630" y="862"/>
                  </a:lnTo>
                  <a:lnTo>
                    <a:pt x="635" y="856"/>
                  </a:lnTo>
                  <a:lnTo>
                    <a:pt x="635" y="850"/>
                  </a:lnTo>
                  <a:lnTo>
                    <a:pt x="630" y="828"/>
                  </a:lnTo>
                  <a:lnTo>
                    <a:pt x="624" y="822"/>
                  </a:lnTo>
                  <a:lnTo>
                    <a:pt x="618" y="816"/>
                  </a:lnTo>
                  <a:lnTo>
                    <a:pt x="618" y="811"/>
                  </a:lnTo>
                  <a:lnTo>
                    <a:pt x="613" y="811"/>
                  </a:lnTo>
                  <a:lnTo>
                    <a:pt x="607" y="811"/>
                  </a:lnTo>
                  <a:lnTo>
                    <a:pt x="607" y="805"/>
                  </a:lnTo>
                  <a:lnTo>
                    <a:pt x="601" y="799"/>
                  </a:lnTo>
                  <a:lnTo>
                    <a:pt x="596" y="799"/>
                  </a:lnTo>
                  <a:lnTo>
                    <a:pt x="590" y="799"/>
                  </a:lnTo>
                  <a:lnTo>
                    <a:pt x="584" y="799"/>
                  </a:lnTo>
                  <a:lnTo>
                    <a:pt x="579" y="799"/>
                  </a:lnTo>
                  <a:lnTo>
                    <a:pt x="573" y="799"/>
                  </a:lnTo>
                  <a:lnTo>
                    <a:pt x="567" y="805"/>
                  </a:lnTo>
                  <a:lnTo>
                    <a:pt x="567" y="811"/>
                  </a:lnTo>
                  <a:lnTo>
                    <a:pt x="562" y="811"/>
                  </a:lnTo>
                  <a:lnTo>
                    <a:pt x="556" y="805"/>
                  </a:lnTo>
                  <a:lnTo>
                    <a:pt x="550" y="811"/>
                  </a:lnTo>
                  <a:lnTo>
                    <a:pt x="545" y="811"/>
                  </a:lnTo>
                  <a:lnTo>
                    <a:pt x="539" y="811"/>
                  </a:lnTo>
                  <a:lnTo>
                    <a:pt x="539" y="805"/>
                  </a:lnTo>
                  <a:lnTo>
                    <a:pt x="533" y="805"/>
                  </a:lnTo>
                  <a:lnTo>
                    <a:pt x="533" y="811"/>
                  </a:lnTo>
                  <a:lnTo>
                    <a:pt x="528" y="811"/>
                  </a:lnTo>
                  <a:lnTo>
                    <a:pt x="528" y="805"/>
                  </a:lnTo>
                  <a:lnTo>
                    <a:pt x="522" y="805"/>
                  </a:lnTo>
                  <a:lnTo>
                    <a:pt x="516" y="811"/>
                  </a:lnTo>
                  <a:lnTo>
                    <a:pt x="511" y="811"/>
                  </a:lnTo>
                  <a:lnTo>
                    <a:pt x="505" y="811"/>
                  </a:lnTo>
                  <a:lnTo>
                    <a:pt x="499" y="816"/>
                  </a:lnTo>
                  <a:lnTo>
                    <a:pt x="494" y="816"/>
                  </a:lnTo>
                  <a:lnTo>
                    <a:pt x="494" y="811"/>
                  </a:lnTo>
                  <a:lnTo>
                    <a:pt x="488" y="811"/>
                  </a:lnTo>
                  <a:lnTo>
                    <a:pt x="488" y="805"/>
                  </a:lnTo>
                  <a:lnTo>
                    <a:pt x="482" y="799"/>
                  </a:lnTo>
                  <a:lnTo>
                    <a:pt x="477" y="799"/>
                  </a:lnTo>
                  <a:lnTo>
                    <a:pt x="477" y="794"/>
                  </a:lnTo>
                  <a:lnTo>
                    <a:pt x="465" y="794"/>
                  </a:lnTo>
                  <a:lnTo>
                    <a:pt x="460" y="794"/>
                  </a:lnTo>
                  <a:lnTo>
                    <a:pt x="454" y="794"/>
                  </a:lnTo>
                  <a:lnTo>
                    <a:pt x="454" y="799"/>
                  </a:lnTo>
                  <a:lnTo>
                    <a:pt x="454" y="794"/>
                  </a:lnTo>
                  <a:lnTo>
                    <a:pt x="448" y="794"/>
                  </a:lnTo>
                  <a:lnTo>
                    <a:pt x="448" y="788"/>
                  </a:lnTo>
                  <a:lnTo>
                    <a:pt x="448" y="782"/>
                  </a:lnTo>
                  <a:lnTo>
                    <a:pt x="443" y="777"/>
                  </a:lnTo>
                  <a:lnTo>
                    <a:pt x="437" y="771"/>
                  </a:lnTo>
                  <a:lnTo>
                    <a:pt x="437" y="765"/>
                  </a:lnTo>
                  <a:lnTo>
                    <a:pt x="431" y="765"/>
                  </a:lnTo>
                  <a:lnTo>
                    <a:pt x="426" y="765"/>
                  </a:lnTo>
                  <a:lnTo>
                    <a:pt x="420" y="765"/>
                  </a:lnTo>
                  <a:lnTo>
                    <a:pt x="420" y="771"/>
                  </a:lnTo>
                  <a:lnTo>
                    <a:pt x="414" y="771"/>
                  </a:lnTo>
                  <a:lnTo>
                    <a:pt x="409" y="771"/>
                  </a:lnTo>
                  <a:lnTo>
                    <a:pt x="403" y="771"/>
                  </a:lnTo>
                  <a:lnTo>
                    <a:pt x="397" y="771"/>
                  </a:lnTo>
                  <a:lnTo>
                    <a:pt x="397" y="765"/>
                  </a:lnTo>
                  <a:lnTo>
                    <a:pt x="392" y="765"/>
                  </a:lnTo>
                  <a:lnTo>
                    <a:pt x="386" y="765"/>
                  </a:lnTo>
                  <a:lnTo>
                    <a:pt x="380" y="765"/>
                  </a:lnTo>
                  <a:lnTo>
                    <a:pt x="380" y="771"/>
                  </a:lnTo>
                  <a:lnTo>
                    <a:pt x="380" y="777"/>
                  </a:lnTo>
                  <a:lnTo>
                    <a:pt x="380" y="782"/>
                  </a:lnTo>
                  <a:lnTo>
                    <a:pt x="375" y="782"/>
                  </a:lnTo>
                  <a:lnTo>
                    <a:pt x="369" y="782"/>
                  </a:lnTo>
                  <a:lnTo>
                    <a:pt x="363" y="788"/>
                  </a:lnTo>
                  <a:lnTo>
                    <a:pt x="352" y="794"/>
                  </a:lnTo>
                  <a:lnTo>
                    <a:pt x="346" y="788"/>
                  </a:lnTo>
                  <a:lnTo>
                    <a:pt x="346" y="794"/>
                  </a:lnTo>
                  <a:lnTo>
                    <a:pt x="341" y="794"/>
                  </a:lnTo>
                  <a:lnTo>
                    <a:pt x="335" y="794"/>
                  </a:lnTo>
                  <a:lnTo>
                    <a:pt x="335" y="788"/>
                  </a:lnTo>
                  <a:lnTo>
                    <a:pt x="335" y="782"/>
                  </a:lnTo>
                  <a:lnTo>
                    <a:pt x="329" y="782"/>
                  </a:lnTo>
                  <a:lnTo>
                    <a:pt x="329" y="777"/>
                  </a:lnTo>
                  <a:lnTo>
                    <a:pt x="324" y="777"/>
                  </a:lnTo>
                  <a:lnTo>
                    <a:pt x="307" y="777"/>
                  </a:lnTo>
                  <a:lnTo>
                    <a:pt x="307" y="782"/>
                  </a:lnTo>
                  <a:lnTo>
                    <a:pt x="301" y="782"/>
                  </a:lnTo>
                  <a:lnTo>
                    <a:pt x="295" y="782"/>
                  </a:lnTo>
                  <a:lnTo>
                    <a:pt x="290" y="782"/>
                  </a:lnTo>
                  <a:lnTo>
                    <a:pt x="284" y="782"/>
                  </a:lnTo>
                  <a:lnTo>
                    <a:pt x="284" y="777"/>
                  </a:lnTo>
                  <a:lnTo>
                    <a:pt x="284" y="771"/>
                  </a:lnTo>
                  <a:lnTo>
                    <a:pt x="278" y="771"/>
                  </a:lnTo>
                  <a:lnTo>
                    <a:pt x="278" y="777"/>
                  </a:lnTo>
                  <a:lnTo>
                    <a:pt x="267" y="777"/>
                  </a:lnTo>
                  <a:lnTo>
                    <a:pt x="261" y="771"/>
                  </a:lnTo>
                  <a:lnTo>
                    <a:pt x="255" y="771"/>
                  </a:lnTo>
                  <a:lnTo>
                    <a:pt x="250" y="771"/>
                  </a:lnTo>
                  <a:lnTo>
                    <a:pt x="244" y="777"/>
                  </a:lnTo>
                  <a:lnTo>
                    <a:pt x="238" y="777"/>
                  </a:lnTo>
                  <a:lnTo>
                    <a:pt x="238" y="782"/>
                  </a:lnTo>
                  <a:lnTo>
                    <a:pt x="233" y="782"/>
                  </a:lnTo>
                  <a:lnTo>
                    <a:pt x="227" y="782"/>
                  </a:lnTo>
                  <a:lnTo>
                    <a:pt x="227" y="788"/>
                  </a:lnTo>
                  <a:lnTo>
                    <a:pt x="221" y="788"/>
                  </a:lnTo>
                  <a:lnTo>
                    <a:pt x="221" y="794"/>
                  </a:lnTo>
                  <a:lnTo>
                    <a:pt x="210" y="794"/>
                  </a:lnTo>
                  <a:lnTo>
                    <a:pt x="204" y="794"/>
                  </a:lnTo>
                  <a:lnTo>
                    <a:pt x="199" y="794"/>
                  </a:lnTo>
                  <a:lnTo>
                    <a:pt x="193" y="799"/>
                  </a:lnTo>
                  <a:lnTo>
                    <a:pt x="182" y="799"/>
                  </a:lnTo>
                  <a:lnTo>
                    <a:pt x="176" y="805"/>
                  </a:lnTo>
                  <a:lnTo>
                    <a:pt x="170" y="811"/>
                  </a:lnTo>
                  <a:lnTo>
                    <a:pt x="165" y="816"/>
                  </a:lnTo>
                  <a:lnTo>
                    <a:pt x="165" y="822"/>
                  </a:lnTo>
                  <a:lnTo>
                    <a:pt x="165" y="828"/>
                  </a:lnTo>
                  <a:lnTo>
                    <a:pt x="159" y="828"/>
                  </a:lnTo>
                  <a:lnTo>
                    <a:pt x="159" y="833"/>
                  </a:lnTo>
                  <a:lnTo>
                    <a:pt x="153" y="833"/>
                  </a:lnTo>
                  <a:lnTo>
                    <a:pt x="148" y="833"/>
                  </a:lnTo>
                  <a:lnTo>
                    <a:pt x="142" y="833"/>
                  </a:lnTo>
                  <a:lnTo>
                    <a:pt x="136" y="828"/>
                  </a:lnTo>
                  <a:lnTo>
                    <a:pt x="125" y="822"/>
                  </a:lnTo>
                  <a:lnTo>
                    <a:pt x="125" y="816"/>
                  </a:lnTo>
                  <a:lnTo>
                    <a:pt x="119" y="799"/>
                  </a:lnTo>
                  <a:lnTo>
                    <a:pt x="125" y="794"/>
                  </a:lnTo>
                  <a:lnTo>
                    <a:pt x="125" y="788"/>
                  </a:lnTo>
                  <a:lnTo>
                    <a:pt x="131" y="777"/>
                  </a:lnTo>
                  <a:lnTo>
                    <a:pt x="136" y="765"/>
                  </a:lnTo>
                  <a:lnTo>
                    <a:pt x="136" y="743"/>
                  </a:lnTo>
                  <a:lnTo>
                    <a:pt x="142" y="720"/>
                  </a:lnTo>
                  <a:lnTo>
                    <a:pt x="148" y="709"/>
                  </a:lnTo>
                  <a:lnTo>
                    <a:pt x="153" y="686"/>
                  </a:lnTo>
                  <a:lnTo>
                    <a:pt x="153" y="669"/>
                  </a:lnTo>
                  <a:lnTo>
                    <a:pt x="153" y="646"/>
                  </a:lnTo>
                  <a:lnTo>
                    <a:pt x="153" y="635"/>
                  </a:lnTo>
                  <a:lnTo>
                    <a:pt x="153" y="618"/>
                  </a:lnTo>
                  <a:lnTo>
                    <a:pt x="153" y="601"/>
                  </a:lnTo>
                  <a:lnTo>
                    <a:pt x="153" y="584"/>
                  </a:lnTo>
                  <a:lnTo>
                    <a:pt x="153" y="573"/>
                  </a:lnTo>
                  <a:lnTo>
                    <a:pt x="153" y="556"/>
                  </a:lnTo>
                  <a:lnTo>
                    <a:pt x="153" y="544"/>
                  </a:lnTo>
                  <a:lnTo>
                    <a:pt x="159" y="544"/>
                  </a:lnTo>
                  <a:lnTo>
                    <a:pt x="165" y="533"/>
                  </a:lnTo>
                  <a:lnTo>
                    <a:pt x="176" y="527"/>
                  </a:lnTo>
                  <a:lnTo>
                    <a:pt x="182" y="527"/>
                  </a:lnTo>
                  <a:lnTo>
                    <a:pt x="193" y="522"/>
                  </a:lnTo>
                  <a:lnTo>
                    <a:pt x="204" y="516"/>
                  </a:lnTo>
                  <a:lnTo>
                    <a:pt x="210" y="522"/>
                  </a:lnTo>
                  <a:lnTo>
                    <a:pt x="221" y="527"/>
                  </a:lnTo>
                  <a:lnTo>
                    <a:pt x="221" y="533"/>
                  </a:lnTo>
                  <a:lnTo>
                    <a:pt x="227" y="533"/>
                  </a:lnTo>
                  <a:lnTo>
                    <a:pt x="233" y="527"/>
                  </a:lnTo>
                  <a:lnTo>
                    <a:pt x="233" y="516"/>
                  </a:lnTo>
                  <a:lnTo>
                    <a:pt x="233" y="505"/>
                  </a:lnTo>
                  <a:lnTo>
                    <a:pt x="233" y="488"/>
                  </a:lnTo>
                  <a:lnTo>
                    <a:pt x="233" y="476"/>
                  </a:lnTo>
                  <a:lnTo>
                    <a:pt x="233" y="459"/>
                  </a:lnTo>
                  <a:lnTo>
                    <a:pt x="221" y="448"/>
                  </a:lnTo>
                  <a:lnTo>
                    <a:pt x="221" y="437"/>
                  </a:lnTo>
                  <a:lnTo>
                    <a:pt x="221" y="431"/>
                  </a:lnTo>
                  <a:lnTo>
                    <a:pt x="227" y="425"/>
                  </a:lnTo>
                  <a:lnTo>
                    <a:pt x="233" y="420"/>
                  </a:lnTo>
                  <a:lnTo>
                    <a:pt x="233" y="408"/>
                  </a:lnTo>
                  <a:lnTo>
                    <a:pt x="233" y="397"/>
                  </a:lnTo>
                  <a:lnTo>
                    <a:pt x="233" y="386"/>
                  </a:lnTo>
                  <a:lnTo>
                    <a:pt x="233" y="374"/>
                  </a:lnTo>
                  <a:lnTo>
                    <a:pt x="221" y="363"/>
                  </a:lnTo>
                  <a:lnTo>
                    <a:pt x="221" y="357"/>
                  </a:lnTo>
                  <a:lnTo>
                    <a:pt x="216" y="352"/>
                  </a:lnTo>
                  <a:lnTo>
                    <a:pt x="210" y="352"/>
                  </a:lnTo>
                  <a:lnTo>
                    <a:pt x="210" y="346"/>
                  </a:lnTo>
                  <a:lnTo>
                    <a:pt x="210" y="340"/>
                  </a:lnTo>
                  <a:lnTo>
                    <a:pt x="210" y="335"/>
                  </a:lnTo>
                  <a:lnTo>
                    <a:pt x="216" y="335"/>
                  </a:lnTo>
                  <a:lnTo>
                    <a:pt x="216" y="329"/>
                  </a:lnTo>
                  <a:lnTo>
                    <a:pt x="221" y="323"/>
                  </a:lnTo>
                  <a:lnTo>
                    <a:pt x="221" y="317"/>
                  </a:lnTo>
                  <a:lnTo>
                    <a:pt x="221" y="312"/>
                  </a:lnTo>
                  <a:lnTo>
                    <a:pt x="221" y="306"/>
                  </a:lnTo>
                  <a:lnTo>
                    <a:pt x="221" y="300"/>
                  </a:lnTo>
                  <a:lnTo>
                    <a:pt x="221" y="295"/>
                  </a:lnTo>
                  <a:lnTo>
                    <a:pt x="233" y="289"/>
                  </a:lnTo>
                  <a:lnTo>
                    <a:pt x="233" y="283"/>
                  </a:lnTo>
                  <a:lnTo>
                    <a:pt x="233" y="278"/>
                  </a:lnTo>
                  <a:lnTo>
                    <a:pt x="233" y="272"/>
                  </a:lnTo>
                  <a:lnTo>
                    <a:pt x="233" y="266"/>
                  </a:lnTo>
                  <a:lnTo>
                    <a:pt x="227" y="266"/>
                  </a:lnTo>
                  <a:lnTo>
                    <a:pt x="221" y="266"/>
                  </a:lnTo>
                  <a:lnTo>
                    <a:pt x="216" y="272"/>
                  </a:lnTo>
                  <a:lnTo>
                    <a:pt x="210" y="278"/>
                  </a:lnTo>
                  <a:lnTo>
                    <a:pt x="204" y="278"/>
                  </a:lnTo>
                  <a:lnTo>
                    <a:pt x="204" y="283"/>
                  </a:lnTo>
                  <a:lnTo>
                    <a:pt x="204" y="289"/>
                  </a:lnTo>
                  <a:lnTo>
                    <a:pt x="199" y="289"/>
                  </a:lnTo>
                  <a:lnTo>
                    <a:pt x="193" y="295"/>
                  </a:lnTo>
                  <a:lnTo>
                    <a:pt x="187" y="295"/>
                  </a:lnTo>
                  <a:lnTo>
                    <a:pt x="182" y="295"/>
                  </a:lnTo>
                  <a:lnTo>
                    <a:pt x="176" y="295"/>
                  </a:lnTo>
                  <a:lnTo>
                    <a:pt x="176" y="289"/>
                  </a:lnTo>
                  <a:lnTo>
                    <a:pt x="170" y="283"/>
                  </a:lnTo>
                  <a:lnTo>
                    <a:pt x="165" y="283"/>
                  </a:lnTo>
                  <a:lnTo>
                    <a:pt x="159" y="278"/>
                  </a:lnTo>
                  <a:lnTo>
                    <a:pt x="153" y="278"/>
                  </a:lnTo>
                  <a:lnTo>
                    <a:pt x="148" y="278"/>
                  </a:lnTo>
                  <a:lnTo>
                    <a:pt x="142" y="278"/>
                  </a:lnTo>
                  <a:lnTo>
                    <a:pt x="136" y="272"/>
                  </a:lnTo>
                  <a:lnTo>
                    <a:pt x="125" y="272"/>
                  </a:lnTo>
                  <a:lnTo>
                    <a:pt x="119" y="266"/>
                  </a:lnTo>
                  <a:lnTo>
                    <a:pt x="114" y="266"/>
                  </a:lnTo>
                  <a:lnTo>
                    <a:pt x="108" y="266"/>
                  </a:lnTo>
                  <a:lnTo>
                    <a:pt x="108" y="261"/>
                  </a:lnTo>
                  <a:lnTo>
                    <a:pt x="108" y="255"/>
                  </a:lnTo>
                  <a:lnTo>
                    <a:pt x="102" y="255"/>
                  </a:lnTo>
                  <a:lnTo>
                    <a:pt x="102" y="249"/>
                  </a:lnTo>
                  <a:lnTo>
                    <a:pt x="97" y="249"/>
                  </a:lnTo>
                  <a:lnTo>
                    <a:pt x="91" y="249"/>
                  </a:lnTo>
                  <a:lnTo>
                    <a:pt x="91" y="244"/>
                  </a:lnTo>
                  <a:lnTo>
                    <a:pt x="85" y="244"/>
                  </a:lnTo>
                  <a:lnTo>
                    <a:pt x="80" y="244"/>
                  </a:lnTo>
                  <a:lnTo>
                    <a:pt x="80" y="238"/>
                  </a:lnTo>
                  <a:lnTo>
                    <a:pt x="74" y="238"/>
                  </a:lnTo>
                  <a:lnTo>
                    <a:pt x="74" y="232"/>
                  </a:lnTo>
                  <a:lnTo>
                    <a:pt x="74" y="227"/>
                  </a:lnTo>
                  <a:lnTo>
                    <a:pt x="68" y="227"/>
                  </a:lnTo>
                  <a:lnTo>
                    <a:pt x="63" y="227"/>
                  </a:lnTo>
                  <a:lnTo>
                    <a:pt x="57" y="227"/>
                  </a:lnTo>
                  <a:lnTo>
                    <a:pt x="57" y="232"/>
                  </a:lnTo>
                  <a:lnTo>
                    <a:pt x="51" y="232"/>
                  </a:lnTo>
                  <a:lnTo>
                    <a:pt x="46" y="232"/>
                  </a:lnTo>
                  <a:lnTo>
                    <a:pt x="34" y="232"/>
                  </a:lnTo>
                  <a:lnTo>
                    <a:pt x="29" y="232"/>
                  </a:lnTo>
                  <a:lnTo>
                    <a:pt x="23" y="232"/>
                  </a:lnTo>
                  <a:lnTo>
                    <a:pt x="0" y="232"/>
                  </a:lnTo>
                  <a:close/>
                </a:path>
              </a:pathLst>
            </a:custGeom>
            <a:solidFill>
              <a:srgbClr val="006600"/>
            </a:solidFill>
            <a:ln w="25400">
              <a:solidFill>
                <a:schemeClr val="bg1">
                  <a:lumMod val="65000"/>
                </a:schemeClr>
              </a:solidFill>
              <a:round/>
              <a:headEnd/>
              <a:tailEnd/>
            </a:ln>
          </p:spPr>
          <p:txBody>
            <a:bodyPr lIns="93296" tIns="46648" rIns="93296" bIns="46648"/>
            <a:lstStyle/>
            <a:p>
              <a:pPr>
                <a:defRPr/>
              </a:pPr>
              <a:endParaRPr lang="en-US" sz="1000" kern="0">
                <a:solidFill>
                  <a:prstClr val="black">
                    <a:lumMod val="65000"/>
                    <a:lumOff val="35000"/>
                  </a:prstClr>
                </a:solidFill>
              </a:endParaRPr>
            </a:p>
          </p:txBody>
        </p:sp>
        <p:sp>
          <p:nvSpPr>
            <p:cNvPr id="19" name="Freeform 18"/>
            <p:cNvSpPr>
              <a:spLocks/>
            </p:cNvSpPr>
            <p:nvPr/>
          </p:nvSpPr>
          <p:spPr bwMode="gray">
            <a:xfrm>
              <a:off x="3626144" y="892908"/>
              <a:ext cx="1425452" cy="1340332"/>
            </a:xfrm>
            <a:custGeom>
              <a:avLst/>
              <a:gdLst>
                <a:gd name="T0" fmla="*/ 2147483647 w 1015"/>
                <a:gd name="T1" fmla="*/ 2147483647 h 1004"/>
                <a:gd name="T2" fmla="*/ 2147483647 w 1015"/>
                <a:gd name="T3" fmla="*/ 2147483647 h 1004"/>
                <a:gd name="T4" fmla="*/ 2147483647 w 1015"/>
                <a:gd name="T5" fmla="*/ 2147483647 h 1004"/>
                <a:gd name="T6" fmla="*/ 2147483647 w 1015"/>
                <a:gd name="T7" fmla="*/ 2147483647 h 1004"/>
                <a:gd name="T8" fmla="*/ 2147483647 w 1015"/>
                <a:gd name="T9" fmla="*/ 2147483647 h 1004"/>
                <a:gd name="T10" fmla="*/ 2147483647 w 1015"/>
                <a:gd name="T11" fmla="*/ 2147483647 h 1004"/>
                <a:gd name="T12" fmla="*/ 2147483647 w 1015"/>
                <a:gd name="T13" fmla="*/ 2147483647 h 1004"/>
                <a:gd name="T14" fmla="*/ 2147483647 w 1015"/>
                <a:gd name="T15" fmla="*/ 2147483647 h 1004"/>
                <a:gd name="T16" fmla="*/ 2147483647 w 1015"/>
                <a:gd name="T17" fmla="*/ 2147483647 h 1004"/>
                <a:gd name="T18" fmla="*/ 2147483647 w 1015"/>
                <a:gd name="T19" fmla="*/ 2147483647 h 1004"/>
                <a:gd name="T20" fmla="*/ 2147483647 w 1015"/>
                <a:gd name="T21" fmla="*/ 2147483647 h 1004"/>
                <a:gd name="T22" fmla="*/ 2147483647 w 1015"/>
                <a:gd name="T23" fmla="*/ 2147483647 h 1004"/>
                <a:gd name="T24" fmla="*/ 2147483647 w 1015"/>
                <a:gd name="T25" fmla="*/ 2147483647 h 1004"/>
                <a:gd name="T26" fmla="*/ 2147483647 w 1015"/>
                <a:gd name="T27" fmla="*/ 2147483647 h 1004"/>
                <a:gd name="T28" fmla="*/ 2147483647 w 1015"/>
                <a:gd name="T29" fmla="*/ 2147483647 h 1004"/>
                <a:gd name="T30" fmla="*/ 2147483647 w 1015"/>
                <a:gd name="T31" fmla="*/ 2147483647 h 1004"/>
                <a:gd name="T32" fmla="*/ 2147483647 w 1015"/>
                <a:gd name="T33" fmla="*/ 2147483647 h 1004"/>
                <a:gd name="T34" fmla="*/ 2147483647 w 1015"/>
                <a:gd name="T35" fmla="*/ 2147483647 h 1004"/>
                <a:gd name="T36" fmla="*/ 2147483647 w 1015"/>
                <a:gd name="T37" fmla="*/ 2147483647 h 1004"/>
                <a:gd name="T38" fmla="*/ 2147483647 w 1015"/>
                <a:gd name="T39" fmla="*/ 2147483647 h 1004"/>
                <a:gd name="T40" fmla="*/ 2147483647 w 1015"/>
                <a:gd name="T41" fmla="*/ 2147483647 h 1004"/>
                <a:gd name="T42" fmla="*/ 2147483647 w 1015"/>
                <a:gd name="T43" fmla="*/ 2147483647 h 1004"/>
                <a:gd name="T44" fmla="*/ 2147483647 w 1015"/>
                <a:gd name="T45" fmla="*/ 2147483647 h 1004"/>
                <a:gd name="T46" fmla="*/ 2147483647 w 1015"/>
                <a:gd name="T47" fmla="*/ 2147483647 h 1004"/>
                <a:gd name="T48" fmla="*/ 2147483647 w 1015"/>
                <a:gd name="T49" fmla="*/ 2147483647 h 1004"/>
                <a:gd name="T50" fmla="*/ 2147483647 w 1015"/>
                <a:gd name="T51" fmla="*/ 2147483647 h 1004"/>
                <a:gd name="T52" fmla="*/ 2147483647 w 1015"/>
                <a:gd name="T53" fmla="*/ 2147483647 h 1004"/>
                <a:gd name="T54" fmla="*/ 2147483647 w 1015"/>
                <a:gd name="T55" fmla="*/ 2147483647 h 1004"/>
                <a:gd name="T56" fmla="*/ 2147483647 w 1015"/>
                <a:gd name="T57" fmla="*/ 2147483647 h 1004"/>
                <a:gd name="T58" fmla="*/ 2147483647 w 1015"/>
                <a:gd name="T59" fmla="*/ 2147483647 h 1004"/>
                <a:gd name="T60" fmla="*/ 2147483647 w 1015"/>
                <a:gd name="T61" fmla="*/ 2147483647 h 1004"/>
                <a:gd name="T62" fmla="*/ 2147483647 w 1015"/>
                <a:gd name="T63" fmla="*/ 2147483647 h 1004"/>
                <a:gd name="T64" fmla="*/ 2147483647 w 1015"/>
                <a:gd name="T65" fmla="*/ 2147483647 h 1004"/>
                <a:gd name="T66" fmla="*/ 2147483647 w 1015"/>
                <a:gd name="T67" fmla="*/ 2147483647 h 1004"/>
                <a:gd name="T68" fmla="*/ 2147483647 w 1015"/>
                <a:gd name="T69" fmla="*/ 2147483647 h 1004"/>
                <a:gd name="T70" fmla="*/ 2147483647 w 1015"/>
                <a:gd name="T71" fmla="*/ 2147483647 h 1004"/>
                <a:gd name="T72" fmla="*/ 2147483647 w 1015"/>
                <a:gd name="T73" fmla="*/ 2147483647 h 1004"/>
                <a:gd name="T74" fmla="*/ 2147483647 w 1015"/>
                <a:gd name="T75" fmla="*/ 2147483647 h 1004"/>
                <a:gd name="T76" fmla="*/ 2147483647 w 1015"/>
                <a:gd name="T77" fmla="*/ 2147483647 h 1004"/>
                <a:gd name="T78" fmla="*/ 2147483647 w 1015"/>
                <a:gd name="T79" fmla="*/ 2147483647 h 1004"/>
                <a:gd name="T80" fmla="*/ 2147483647 w 1015"/>
                <a:gd name="T81" fmla="*/ 2147483647 h 1004"/>
                <a:gd name="T82" fmla="*/ 2147483647 w 1015"/>
                <a:gd name="T83" fmla="*/ 2147483647 h 1004"/>
                <a:gd name="T84" fmla="*/ 2147483647 w 1015"/>
                <a:gd name="T85" fmla="*/ 2147483647 h 1004"/>
                <a:gd name="T86" fmla="*/ 2147483647 w 1015"/>
                <a:gd name="T87" fmla="*/ 2147483647 h 1004"/>
                <a:gd name="T88" fmla="*/ 2147483647 w 1015"/>
                <a:gd name="T89" fmla="*/ 2147483647 h 1004"/>
                <a:gd name="T90" fmla="*/ 2147483647 w 1015"/>
                <a:gd name="T91" fmla="*/ 2147483647 h 1004"/>
                <a:gd name="T92" fmla="*/ 2147483647 w 1015"/>
                <a:gd name="T93" fmla="*/ 2147483647 h 1004"/>
                <a:gd name="T94" fmla="*/ 2147483647 w 1015"/>
                <a:gd name="T95" fmla="*/ 2147483647 h 1004"/>
                <a:gd name="T96" fmla="*/ 2147483647 w 1015"/>
                <a:gd name="T97" fmla="*/ 2147483647 h 1004"/>
                <a:gd name="T98" fmla="*/ 2147483647 w 1015"/>
                <a:gd name="T99" fmla="*/ 2147483647 h 1004"/>
                <a:gd name="T100" fmla="*/ 2147483647 w 1015"/>
                <a:gd name="T101" fmla="*/ 2147483647 h 1004"/>
                <a:gd name="T102" fmla="*/ 2147483647 w 1015"/>
                <a:gd name="T103" fmla="*/ 2147483647 h 1004"/>
                <a:gd name="T104" fmla="*/ 2147483647 w 1015"/>
                <a:gd name="T105" fmla="*/ 2147483647 h 1004"/>
                <a:gd name="T106" fmla="*/ 2147483647 w 1015"/>
                <a:gd name="T107" fmla="*/ 2147483647 h 1004"/>
                <a:gd name="T108" fmla="*/ 2147483647 w 1015"/>
                <a:gd name="T109" fmla="*/ 2147483647 h 1004"/>
                <a:gd name="T110" fmla="*/ 2147483647 w 1015"/>
                <a:gd name="T111" fmla="*/ 2147483647 h 1004"/>
                <a:gd name="T112" fmla="*/ 2147483647 w 1015"/>
                <a:gd name="T113" fmla="*/ 2147483647 h 1004"/>
                <a:gd name="T114" fmla="*/ 2147483647 w 1015"/>
                <a:gd name="T115" fmla="*/ 2147483647 h 100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015"/>
                <a:gd name="T175" fmla="*/ 0 h 1004"/>
                <a:gd name="T176" fmla="*/ 1015 w 1015"/>
                <a:gd name="T177" fmla="*/ 1004 h 100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015" h="1004">
                  <a:moveTo>
                    <a:pt x="0" y="205"/>
                  </a:moveTo>
                  <a:lnTo>
                    <a:pt x="12" y="205"/>
                  </a:lnTo>
                  <a:lnTo>
                    <a:pt x="23" y="205"/>
                  </a:lnTo>
                  <a:lnTo>
                    <a:pt x="29" y="205"/>
                  </a:lnTo>
                  <a:lnTo>
                    <a:pt x="34" y="193"/>
                  </a:lnTo>
                  <a:lnTo>
                    <a:pt x="40" y="193"/>
                  </a:lnTo>
                  <a:lnTo>
                    <a:pt x="46" y="188"/>
                  </a:lnTo>
                  <a:lnTo>
                    <a:pt x="63" y="171"/>
                  </a:lnTo>
                  <a:lnTo>
                    <a:pt x="63" y="165"/>
                  </a:lnTo>
                  <a:lnTo>
                    <a:pt x="68" y="165"/>
                  </a:lnTo>
                  <a:lnTo>
                    <a:pt x="74" y="159"/>
                  </a:lnTo>
                  <a:lnTo>
                    <a:pt x="74" y="154"/>
                  </a:lnTo>
                  <a:lnTo>
                    <a:pt x="80" y="148"/>
                  </a:lnTo>
                  <a:lnTo>
                    <a:pt x="85" y="136"/>
                  </a:lnTo>
                  <a:lnTo>
                    <a:pt x="91" y="131"/>
                  </a:lnTo>
                  <a:lnTo>
                    <a:pt x="97" y="125"/>
                  </a:lnTo>
                  <a:lnTo>
                    <a:pt x="102" y="125"/>
                  </a:lnTo>
                  <a:lnTo>
                    <a:pt x="108" y="119"/>
                  </a:lnTo>
                  <a:lnTo>
                    <a:pt x="108" y="114"/>
                  </a:lnTo>
                  <a:lnTo>
                    <a:pt x="114" y="114"/>
                  </a:lnTo>
                  <a:lnTo>
                    <a:pt x="125" y="102"/>
                  </a:lnTo>
                  <a:lnTo>
                    <a:pt x="137" y="85"/>
                  </a:lnTo>
                  <a:lnTo>
                    <a:pt x="142" y="85"/>
                  </a:lnTo>
                  <a:lnTo>
                    <a:pt x="142" y="80"/>
                  </a:lnTo>
                  <a:lnTo>
                    <a:pt x="148" y="80"/>
                  </a:lnTo>
                  <a:lnTo>
                    <a:pt x="154" y="74"/>
                  </a:lnTo>
                  <a:lnTo>
                    <a:pt x="159" y="74"/>
                  </a:lnTo>
                  <a:lnTo>
                    <a:pt x="159" y="68"/>
                  </a:lnTo>
                  <a:lnTo>
                    <a:pt x="165" y="68"/>
                  </a:lnTo>
                  <a:lnTo>
                    <a:pt x="165" y="63"/>
                  </a:lnTo>
                  <a:lnTo>
                    <a:pt x="182" y="57"/>
                  </a:lnTo>
                  <a:lnTo>
                    <a:pt x="188" y="57"/>
                  </a:lnTo>
                  <a:lnTo>
                    <a:pt x="188" y="51"/>
                  </a:lnTo>
                  <a:lnTo>
                    <a:pt x="199" y="51"/>
                  </a:lnTo>
                  <a:lnTo>
                    <a:pt x="205" y="46"/>
                  </a:lnTo>
                  <a:lnTo>
                    <a:pt x="210" y="46"/>
                  </a:lnTo>
                  <a:lnTo>
                    <a:pt x="216" y="46"/>
                  </a:lnTo>
                  <a:lnTo>
                    <a:pt x="222" y="40"/>
                  </a:lnTo>
                  <a:lnTo>
                    <a:pt x="233" y="40"/>
                  </a:lnTo>
                  <a:lnTo>
                    <a:pt x="239" y="40"/>
                  </a:lnTo>
                  <a:lnTo>
                    <a:pt x="250" y="40"/>
                  </a:lnTo>
                  <a:lnTo>
                    <a:pt x="261" y="40"/>
                  </a:lnTo>
                  <a:lnTo>
                    <a:pt x="267" y="40"/>
                  </a:lnTo>
                  <a:lnTo>
                    <a:pt x="284" y="40"/>
                  </a:lnTo>
                  <a:lnTo>
                    <a:pt x="290" y="40"/>
                  </a:lnTo>
                  <a:lnTo>
                    <a:pt x="301" y="34"/>
                  </a:lnTo>
                  <a:lnTo>
                    <a:pt x="301" y="40"/>
                  </a:lnTo>
                  <a:lnTo>
                    <a:pt x="307" y="34"/>
                  </a:lnTo>
                  <a:lnTo>
                    <a:pt x="312" y="34"/>
                  </a:lnTo>
                  <a:lnTo>
                    <a:pt x="318" y="34"/>
                  </a:lnTo>
                  <a:lnTo>
                    <a:pt x="335" y="29"/>
                  </a:lnTo>
                  <a:lnTo>
                    <a:pt x="341" y="23"/>
                  </a:lnTo>
                  <a:lnTo>
                    <a:pt x="346" y="23"/>
                  </a:lnTo>
                  <a:lnTo>
                    <a:pt x="352" y="17"/>
                  </a:lnTo>
                  <a:lnTo>
                    <a:pt x="358" y="17"/>
                  </a:lnTo>
                  <a:lnTo>
                    <a:pt x="363" y="17"/>
                  </a:lnTo>
                  <a:lnTo>
                    <a:pt x="375" y="12"/>
                  </a:lnTo>
                  <a:lnTo>
                    <a:pt x="380" y="12"/>
                  </a:lnTo>
                  <a:lnTo>
                    <a:pt x="392" y="12"/>
                  </a:lnTo>
                  <a:lnTo>
                    <a:pt x="397" y="12"/>
                  </a:lnTo>
                  <a:lnTo>
                    <a:pt x="409" y="12"/>
                  </a:lnTo>
                  <a:lnTo>
                    <a:pt x="414" y="6"/>
                  </a:lnTo>
                  <a:lnTo>
                    <a:pt x="426" y="6"/>
                  </a:lnTo>
                  <a:lnTo>
                    <a:pt x="437" y="6"/>
                  </a:lnTo>
                  <a:lnTo>
                    <a:pt x="448" y="6"/>
                  </a:lnTo>
                  <a:lnTo>
                    <a:pt x="460" y="6"/>
                  </a:lnTo>
                  <a:lnTo>
                    <a:pt x="465" y="6"/>
                  </a:lnTo>
                  <a:lnTo>
                    <a:pt x="471" y="6"/>
                  </a:lnTo>
                  <a:lnTo>
                    <a:pt x="494" y="6"/>
                  </a:lnTo>
                  <a:lnTo>
                    <a:pt x="511" y="6"/>
                  </a:lnTo>
                  <a:lnTo>
                    <a:pt x="522" y="6"/>
                  </a:lnTo>
                  <a:lnTo>
                    <a:pt x="528" y="6"/>
                  </a:lnTo>
                  <a:lnTo>
                    <a:pt x="545" y="6"/>
                  </a:lnTo>
                  <a:lnTo>
                    <a:pt x="550" y="0"/>
                  </a:lnTo>
                  <a:lnTo>
                    <a:pt x="556" y="6"/>
                  </a:lnTo>
                  <a:lnTo>
                    <a:pt x="562" y="0"/>
                  </a:lnTo>
                  <a:lnTo>
                    <a:pt x="562" y="6"/>
                  </a:lnTo>
                  <a:lnTo>
                    <a:pt x="573" y="6"/>
                  </a:lnTo>
                  <a:lnTo>
                    <a:pt x="590" y="6"/>
                  </a:lnTo>
                  <a:lnTo>
                    <a:pt x="601" y="6"/>
                  </a:lnTo>
                  <a:lnTo>
                    <a:pt x="607" y="6"/>
                  </a:lnTo>
                  <a:lnTo>
                    <a:pt x="613" y="6"/>
                  </a:lnTo>
                  <a:lnTo>
                    <a:pt x="630" y="6"/>
                  </a:lnTo>
                  <a:lnTo>
                    <a:pt x="641" y="6"/>
                  </a:lnTo>
                  <a:lnTo>
                    <a:pt x="652" y="6"/>
                  </a:lnTo>
                  <a:lnTo>
                    <a:pt x="658" y="6"/>
                  </a:lnTo>
                  <a:lnTo>
                    <a:pt x="664" y="12"/>
                  </a:lnTo>
                  <a:lnTo>
                    <a:pt x="669" y="12"/>
                  </a:lnTo>
                  <a:lnTo>
                    <a:pt x="681" y="12"/>
                  </a:lnTo>
                  <a:lnTo>
                    <a:pt x="686" y="12"/>
                  </a:lnTo>
                  <a:lnTo>
                    <a:pt x="692" y="12"/>
                  </a:lnTo>
                  <a:lnTo>
                    <a:pt x="709" y="23"/>
                  </a:lnTo>
                  <a:lnTo>
                    <a:pt x="715" y="23"/>
                  </a:lnTo>
                  <a:lnTo>
                    <a:pt x="720" y="29"/>
                  </a:lnTo>
                  <a:lnTo>
                    <a:pt x="726" y="29"/>
                  </a:lnTo>
                  <a:lnTo>
                    <a:pt x="732" y="29"/>
                  </a:lnTo>
                  <a:lnTo>
                    <a:pt x="737" y="34"/>
                  </a:lnTo>
                  <a:lnTo>
                    <a:pt x="743" y="34"/>
                  </a:lnTo>
                  <a:lnTo>
                    <a:pt x="760" y="40"/>
                  </a:lnTo>
                  <a:lnTo>
                    <a:pt x="766" y="40"/>
                  </a:lnTo>
                  <a:lnTo>
                    <a:pt x="771" y="40"/>
                  </a:lnTo>
                  <a:lnTo>
                    <a:pt x="777" y="40"/>
                  </a:lnTo>
                  <a:lnTo>
                    <a:pt x="788" y="46"/>
                  </a:lnTo>
                  <a:lnTo>
                    <a:pt x="811" y="46"/>
                  </a:lnTo>
                  <a:lnTo>
                    <a:pt x="811" y="51"/>
                  </a:lnTo>
                  <a:lnTo>
                    <a:pt x="822" y="57"/>
                  </a:lnTo>
                  <a:lnTo>
                    <a:pt x="828" y="57"/>
                  </a:lnTo>
                  <a:lnTo>
                    <a:pt x="851" y="74"/>
                  </a:lnTo>
                  <a:lnTo>
                    <a:pt x="856" y="80"/>
                  </a:lnTo>
                  <a:lnTo>
                    <a:pt x="856" y="85"/>
                  </a:lnTo>
                  <a:lnTo>
                    <a:pt x="862" y="85"/>
                  </a:lnTo>
                  <a:lnTo>
                    <a:pt x="868" y="91"/>
                  </a:lnTo>
                  <a:lnTo>
                    <a:pt x="873" y="91"/>
                  </a:lnTo>
                  <a:lnTo>
                    <a:pt x="879" y="97"/>
                  </a:lnTo>
                  <a:lnTo>
                    <a:pt x="890" y="102"/>
                  </a:lnTo>
                  <a:lnTo>
                    <a:pt x="896" y="102"/>
                  </a:lnTo>
                  <a:lnTo>
                    <a:pt x="902" y="102"/>
                  </a:lnTo>
                  <a:lnTo>
                    <a:pt x="907" y="102"/>
                  </a:lnTo>
                  <a:lnTo>
                    <a:pt x="907" y="97"/>
                  </a:lnTo>
                  <a:lnTo>
                    <a:pt x="913" y="102"/>
                  </a:lnTo>
                  <a:lnTo>
                    <a:pt x="919" y="102"/>
                  </a:lnTo>
                  <a:lnTo>
                    <a:pt x="919" y="97"/>
                  </a:lnTo>
                  <a:lnTo>
                    <a:pt x="919" y="91"/>
                  </a:lnTo>
                  <a:lnTo>
                    <a:pt x="919" y="97"/>
                  </a:lnTo>
                  <a:lnTo>
                    <a:pt x="924" y="91"/>
                  </a:lnTo>
                  <a:lnTo>
                    <a:pt x="924" y="97"/>
                  </a:lnTo>
                  <a:lnTo>
                    <a:pt x="930" y="97"/>
                  </a:lnTo>
                  <a:lnTo>
                    <a:pt x="936" y="97"/>
                  </a:lnTo>
                  <a:lnTo>
                    <a:pt x="941" y="97"/>
                  </a:lnTo>
                  <a:lnTo>
                    <a:pt x="947" y="97"/>
                  </a:lnTo>
                  <a:lnTo>
                    <a:pt x="947" y="102"/>
                  </a:lnTo>
                  <a:lnTo>
                    <a:pt x="953" y="102"/>
                  </a:lnTo>
                  <a:lnTo>
                    <a:pt x="953" y="108"/>
                  </a:lnTo>
                  <a:lnTo>
                    <a:pt x="958" y="108"/>
                  </a:lnTo>
                  <a:lnTo>
                    <a:pt x="953" y="108"/>
                  </a:lnTo>
                  <a:lnTo>
                    <a:pt x="953" y="102"/>
                  </a:lnTo>
                  <a:lnTo>
                    <a:pt x="958" y="102"/>
                  </a:lnTo>
                  <a:lnTo>
                    <a:pt x="964" y="102"/>
                  </a:lnTo>
                  <a:lnTo>
                    <a:pt x="964" y="108"/>
                  </a:lnTo>
                  <a:lnTo>
                    <a:pt x="970" y="108"/>
                  </a:lnTo>
                  <a:lnTo>
                    <a:pt x="975" y="114"/>
                  </a:lnTo>
                  <a:lnTo>
                    <a:pt x="975" y="108"/>
                  </a:lnTo>
                  <a:lnTo>
                    <a:pt x="981" y="108"/>
                  </a:lnTo>
                  <a:lnTo>
                    <a:pt x="981" y="102"/>
                  </a:lnTo>
                  <a:lnTo>
                    <a:pt x="987" y="108"/>
                  </a:lnTo>
                  <a:lnTo>
                    <a:pt x="987" y="114"/>
                  </a:lnTo>
                  <a:lnTo>
                    <a:pt x="987" y="131"/>
                  </a:lnTo>
                  <a:lnTo>
                    <a:pt x="987" y="136"/>
                  </a:lnTo>
                  <a:lnTo>
                    <a:pt x="987" y="148"/>
                  </a:lnTo>
                  <a:lnTo>
                    <a:pt x="981" y="154"/>
                  </a:lnTo>
                  <a:lnTo>
                    <a:pt x="975" y="165"/>
                  </a:lnTo>
                  <a:lnTo>
                    <a:pt x="975" y="171"/>
                  </a:lnTo>
                  <a:lnTo>
                    <a:pt x="970" y="171"/>
                  </a:lnTo>
                  <a:lnTo>
                    <a:pt x="970" y="176"/>
                  </a:lnTo>
                  <a:lnTo>
                    <a:pt x="970" y="182"/>
                  </a:lnTo>
                  <a:lnTo>
                    <a:pt x="970" y="188"/>
                  </a:lnTo>
                  <a:lnTo>
                    <a:pt x="975" y="193"/>
                  </a:lnTo>
                  <a:lnTo>
                    <a:pt x="975" y="199"/>
                  </a:lnTo>
                  <a:lnTo>
                    <a:pt x="981" y="205"/>
                  </a:lnTo>
                  <a:lnTo>
                    <a:pt x="987" y="205"/>
                  </a:lnTo>
                  <a:lnTo>
                    <a:pt x="987" y="210"/>
                  </a:lnTo>
                  <a:lnTo>
                    <a:pt x="987" y="216"/>
                  </a:lnTo>
                  <a:lnTo>
                    <a:pt x="992" y="216"/>
                  </a:lnTo>
                  <a:lnTo>
                    <a:pt x="992" y="222"/>
                  </a:lnTo>
                  <a:lnTo>
                    <a:pt x="998" y="222"/>
                  </a:lnTo>
                  <a:lnTo>
                    <a:pt x="998" y="227"/>
                  </a:lnTo>
                  <a:lnTo>
                    <a:pt x="1004" y="227"/>
                  </a:lnTo>
                  <a:lnTo>
                    <a:pt x="1004" y="233"/>
                  </a:lnTo>
                  <a:lnTo>
                    <a:pt x="1004" y="239"/>
                  </a:lnTo>
                  <a:lnTo>
                    <a:pt x="1009" y="239"/>
                  </a:lnTo>
                  <a:lnTo>
                    <a:pt x="1015" y="244"/>
                  </a:lnTo>
                  <a:lnTo>
                    <a:pt x="1015" y="250"/>
                  </a:lnTo>
                  <a:lnTo>
                    <a:pt x="1015" y="256"/>
                  </a:lnTo>
                  <a:lnTo>
                    <a:pt x="1015" y="261"/>
                  </a:lnTo>
                  <a:lnTo>
                    <a:pt x="1009" y="267"/>
                  </a:lnTo>
                  <a:lnTo>
                    <a:pt x="1004" y="273"/>
                  </a:lnTo>
                  <a:lnTo>
                    <a:pt x="998" y="278"/>
                  </a:lnTo>
                  <a:lnTo>
                    <a:pt x="998" y="284"/>
                  </a:lnTo>
                  <a:lnTo>
                    <a:pt x="992" y="284"/>
                  </a:lnTo>
                  <a:lnTo>
                    <a:pt x="992" y="295"/>
                  </a:lnTo>
                  <a:lnTo>
                    <a:pt x="987" y="295"/>
                  </a:lnTo>
                  <a:lnTo>
                    <a:pt x="987" y="301"/>
                  </a:lnTo>
                  <a:lnTo>
                    <a:pt x="987" y="307"/>
                  </a:lnTo>
                  <a:lnTo>
                    <a:pt x="981" y="307"/>
                  </a:lnTo>
                  <a:lnTo>
                    <a:pt x="981" y="312"/>
                  </a:lnTo>
                  <a:lnTo>
                    <a:pt x="975" y="318"/>
                  </a:lnTo>
                  <a:lnTo>
                    <a:pt x="970" y="318"/>
                  </a:lnTo>
                  <a:lnTo>
                    <a:pt x="970" y="324"/>
                  </a:lnTo>
                  <a:lnTo>
                    <a:pt x="964" y="324"/>
                  </a:lnTo>
                  <a:lnTo>
                    <a:pt x="958" y="324"/>
                  </a:lnTo>
                  <a:lnTo>
                    <a:pt x="953" y="329"/>
                  </a:lnTo>
                  <a:lnTo>
                    <a:pt x="947" y="335"/>
                  </a:lnTo>
                  <a:lnTo>
                    <a:pt x="941" y="335"/>
                  </a:lnTo>
                  <a:lnTo>
                    <a:pt x="941" y="341"/>
                  </a:lnTo>
                  <a:lnTo>
                    <a:pt x="936" y="341"/>
                  </a:lnTo>
                  <a:lnTo>
                    <a:pt x="936" y="346"/>
                  </a:lnTo>
                  <a:lnTo>
                    <a:pt x="936" y="352"/>
                  </a:lnTo>
                  <a:lnTo>
                    <a:pt x="941" y="352"/>
                  </a:lnTo>
                  <a:lnTo>
                    <a:pt x="941" y="358"/>
                  </a:lnTo>
                  <a:lnTo>
                    <a:pt x="941" y="363"/>
                  </a:lnTo>
                  <a:lnTo>
                    <a:pt x="941" y="369"/>
                  </a:lnTo>
                  <a:lnTo>
                    <a:pt x="947" y="375"/>
                  </a:lnTo>
                  <a:lnTo>
                    <a:pt x="953" y="386"/>
                  </a:lnTo>
                  <a:lnTo>
                    <a:pt x="953" y="392"/>
                  </a:lnTo>
                  <a:lnTo>
                    <a:pt x="953" y="403"/>
                  </a:lnTo>
                  <a:lnTo>
                    <a:pt x="953" y="414"/>
                  </a:lnTo>
                  <a:lnTo>
                    <a:pt x="947" y="437"/>
                  </a:lnTo>
                  <a:lnTo>
                    <a:pt x="947" y="448"/>
                  </a:lnTo>
                  <a:lnTo>
                    <a:pt x="941" y="454"/>
                  </a:lnTo>
                  <a:lnTo>
                    <a:pt x="941" y="460"/>
                  </a:lnTo>
                  <a:lnTo>
                    <a:pt x="936" y="471"/>
                  </a:lnTo>
                  <a:lnTo>
                    <a:pt x="936" y="488"/>
                  </a:lnTo>
                  <a:lnTo>
                    <a:pt x="936" y="499"/>
                  </a:lnTo>
                  <a:lnTo>
                    <a:pt x="936" y="511"/>
                  </a:lnTo>
                  <a:lnTo>
                    <a:pt x="936" y="522"/>
                  </a:lnTo>
                  <a:lnTo>
                    <a:pt x="936" y="533"/>
                  </a:lnTo>
                  <a:lnTo>
                    <a:pt x="936" y="545"/>
                  </a:lnTo>
                  <a:lnTo>
                    <a:pt x="936" y="556"/>
                  </a:lnTo>
                  <a:lnTo>
                    <a:pt x="936" y="562"/>
                  </a:lnTo>
                  <a:lnTo>
                    <a:pt x="930" y="567"/>
                  </a:lnTo>
                  <a:lnTo>
                    <a:pt x="930" y="573"/>
                  </a:lnTo>
                  <a:lnTo>
                    <a:pt x="924" y="573"/>
                  </a:lnTo>
                  <a:lnTo>
                    <a:pt x="924" y="579"/>
                  </a:lnTo>
                  <a:lnTo>
                    <a:pt x="919" y="584"/>
                  </a:lnTo>
                  <a:lnTo>
                    <a:pt x="913" y="584"/>
                  </a:lnTo>
                  <a:lnTo>
                    <a:pt x="913" y="590"/>
                  </a:lnTo>
                  <a:lnTo>
                    <a:pt x="913" y="601"/>
                  </a:lnTo>
                  <a:lnTo>
                    <a:pt x="913" y="607"/>
                  </a:lnTo>
                  <a:lnTo>
                    <a:pt x="913" y="613"/>
                  </a:lnTo>
                  <a:lnTo>
                    <a:pt x="919" y="613"/>
                  </a:lnTo>
                  <a:lnTo>
                    <a:pt x="919" y="618"/>
                  </a:lnTo>
                  <a:lnTo>
                    <a:pt x="924" y="618"/>
                  </a:lnTo>
                  <a:lnTo>
                    <a:pt x="930" y="618"/>
                  </a:lnTo>
                  <a:lnTo>
                    <a:pt x="936" y="618"/>
                  </a:lnTo>
                  <a:lnTo>
                    <a:pt x="936" y="624"/>
                  </a:lnTo>
                  <a:lnTo>
                    <a:pt x="941" y="630"/>
                  </a:lnTo>
                  <a:lnTo>
                    <a:pt x="953" y="641"/>
                  </a:lnTo>
                  <a:lnTo>
                    <a:pt x="953" y="647"/>
                  </a:lnTo>
                  <a:lnTo>
                    <a:pt x="953" y="652"/>
                  </a:lnTo>
                  <a:lnTo>
                    <a:pt x="958" y="658"/>
                  </a:lnTo>
                  <a:lnTo>
                    <a:pt x="964" y="664"/>
                  </a:lnTo>
                  <a:lnTo>
                    <a:pt x="964" y="669"/>
                  </a:lnTo>
                  <a:lnTo>
                    <a:pt x="958" y="675"/>
                  </a:lnTo>
                  <a:lnTo>
                    <a:pt x="953" y="681"/>
                  </a:lnTo>
                  <a:lnTo>
                    <a:pt x="947" y="686"/>
                  </a:lnTo>
                  <a:lnTo>
                    <a:pt x="941" y="686"/>
                  </a:lnTo>
                  <a:lnTo>
                    <a:pt x="936" y="686"/>
                  </a:lnTo>
                  <a:lnTo>
                    <a:pt x="936" y="692"/>
                  </a:lnTo>
                  <a:lnTo>
                    <a:pt x="930" y="698"/>
                  </a:lnTo>
                  <a:lnTo>
                    <a:pt x="924" y="703"/>
                  </a:lnTo>
                  <a:lnTo>
                    <a:pt x="924" y="709"/>
                  </a:lnTo>
                  <a:lnTo>
                    <a:pt x="924" y="715"/>
                  </a:lnTo>
                  <a:lnTo>
                    <a:pt x="919" y="720"/>
                  </a:lnTo>
                  <a:lnTo>
                    <a:pt x="919" y="726"/>
                  </a:lnTo>
                  <a:lnTo>
                    <a:pt x="919" y="732"/>
                  </a:lnTo>
                  <a:lnTo>
                    <a:pt x="919" y="737"/>
                  </a:lnTo>
                  <a:lnTo>
                    <a:pt x="913" y="737"/>
                  </a:lnTo>
                  <a:lnTo>
                    <a:pt x="913" y="743"/>
                  </a:lnTo>
                  <a:lnTo>
                    <a:pt x="907" y="743"/>
                  </a:lnTo>
                  <a:lnTo>
                    <a:pt x="896" y="749"/>
                  </a:lnTo>
                  <a:lnTo>
                    <a:pt x="896" y="754"/>
                  </a:lnTo>
                  <a:lnTo>
                    <a:pt x="890" y="754"/>
                  </a:lnTo>
                  <a:lnTo>
                    <a:pt x="890" y="766"/>
                  </a:lnTo>
                  <a:lnTo>
                    <a:pt x="885" y="766"/>
                  </a:lnTo>
                  <a:lnTo>
                    <a:pt x="885" y="777"/>
                  </a:lnTo>
                  <a:lnTo>
                    <a:pt x="885" y="783"/>
                  </a:lnTo>
                  <a:lnTo>
                    <a:pt x="890" y="794"/>
                  </a:lnTo>
                  <a:lnTo>
                    <a:pt x="890" y="805"/>
                  </a:lnTo>
                  <a:lnTo>
                    <a:pt x="896" y="805"/>
                  </a:lnTo>
                  <a:lnTo>
                    <a:pt x="896" y="811"/>
                  </a:lnTo>
                  <a:lnTo>
                    <a:pt x="896" y="822"/>
                  </a:lnTo>
                  <a:lnTo>
                    <a:pt x="890" y="822"/>
                  </a:lnTo>
                  <a:lnTo>
                    <a:pt x="890" y="828"/>
                  </a:lnTo>
                  <a:lnTo>
                    <a:pt x="890" y="834"/>
                  </a:lnTo>
                  <a:lnTo>
                    <a:pt x="885" y="834"/>
                  </a:lnTo>
                  <a:lnTo>
                    <a:pt x="879" y="839"/>
                  </a:lnTo>
                  <a:lnTo>
                    <a:pt x="873" y="839"/>
                  </a:lnTo>
                  <a:lnTo>
                    <a:pt x="868" y="839"/>
                  </a:lnTo>
                  <a:lnTo>
                    <a:pt x="868" y="845"/>
                  </a:lnTo>
                  <a:lnTo>
                    <a:pt x="868" y="851"/>
                  </a:lnTo>
                  <a:lnTo>
                    <a:pt x="862" y="851"/>
                  </a:lnTo>
                  <a:lnTo>
                    <a:pt x="856" y="856"/>
                  </a:lnTo>
                  <a:lnTo>
                    <a:pt x="851" y="856"/>
                  </a:lnTo>
                  <a:lnTo>
                    <a:pt x="851" y="862"/>
                  </a:lnTo>
                  <a:lnTo>
                    <a:pt x="845" y="862"/>
                  </a:lnTo>
                  <a:lnTo>
                    <a:pt x="839" y="862"/>
                  </a:lnTo>
                  <a:lnTo>
                    <a:pt x="845" y="862"/>
                  </a:lnTo>
                  <a:lnTo>
                    <a:pt x="839" y="862"/>
                  </a:lnTo>
                  <a:lnTo>
                    <a:pt x="834" y="862"/>
                  </a:lnTo>
                  <a:lnTo>
                    <a:pt x="834" y="868"/>
                  </a:lnTo>
                  <a:lnTo>
                    <a:pt x="828" y="868"/>
                  </a:lnTo>
                  <a:lnTo>
                    <a:pt x="822" y="868"/>
                  </a:lnTo>
                  <a:lnTo>
                    <a:pt x="817" y="873"/>
                  </a:lnTo>
                  <a:lnTo>
                    <a:pt x="811" y="873"/>
                  </a:lnTo>
                  <a:lnTo>
                    <a:pt x="805" y="873"/>
                  </a:lnTo>
                  <a:lnTo>
                    <a:pt x="805" y="879"/>
                  </a:lnTo>
                  <a:lnTo>
                    <a:pt x="794" y="879"/>
                  </a:lnTo>
                  <a:lnTo>
                    <a:pt x="788" y="879"/>
                  </a:lnTo>
                  <a:lnTo>
                    <a:pt x="788" y="885"/>
                  </a:lnTo>
                  <a:lnTo>
                    <a:pt x="777" y="885"/>
                  </a:lnTo>
                  <a:lnTo>
                    <a:pt x="771" y="890"/>
                  </a:lnTo>
                  <a:lnTo>
                    <a:pt x="766" y="890"/>
                  </a:lnTo>
                  <a:lnTo>
                    <a:pt x="760" y="896"/>
                  </a:lnTo>
                  <a:lnTo>
                    <a:pt x="754" y="902"/>
                  </a:lnTo>
                  <a:lnTo>
                    <a:pt x="754" y="907"/>
                  </a:lnTo>
                  <a:lnTo>
                    <a:pt x="749" y="907"/>
                  </a:lnTo>
                  <a:lnTo>
                    <a:pt x="749" y="913"/>
                  </a:lnTo>
                  <a:lnTo>
                    <a:pt x="749" y="919"/>
                  </a:lnTo>
                  <a:lnTo>
                    <a:pt x="743" y="930"/>
                  </a:lnTo>
                  <a:lnTo>
                    <a:pt x="743" y="936"/>
                  </a:lnTo>
                  <a:lnTo>
                    <a:pt x="743" y="941"/>
                  </a:lnTo>
                  <a:lnTo>
                    <a:pt x="743" y="947"/>
                  </a:lnTo>
                  <a:lnTo>
                    <a:pt x="749" y="958"/>
                  </a:lnTo>
                  <a:lnTo>
                    <a:pt x="749" y="964"/>
                  </a:lnTo>
                  <a:lnTo>
                    <a:pt x="749" y="970"/>
                  </a:lnTo>
                  <a:lnTo>
                    <a:pt x="749" y="975"/>
                  </a:lnTo>
                  <a:lnTo>
                    <a:pt x="743" y="975"/>
                  </a:lnTo>
                  <a:lnTo>
                    <a:pt x="743" y="981"/>
                  </a:lnTo>
                  <a:lnTo>
                    <a:pt x="737" y="987"/>
                  </a:lnTo>
                  <a:lnTo>
                    <a:pt x="732" y="992"/>
                  </a:lnTo>
                  <a:lnTo>
                    <a:pt x="726" y="992"/>
                  </a:lnTo>
                  <a:lnTo>
                    <a:pt x="720" y="992"/>
                  </a:lnTo>
                  <a:lnTo>
                    <a:pt x="720" y="998"/>
                  </a:lnTo>
                  <a:lnTo>
                    <a:pt x="709" y="998"/>
                  </a:lnTo>
                  <a:lnTo>
                    <a:pt x="709" y="1004"/>
                  </a:lnTo>
                  <a:lnTo>
                    <a:pt x="703" y="1004"/>
                  </a:lnTo>
                  <a:lnTo>
                    <a:pt x="698" y="1004"/>
                  </a:lnTo>
                  <a:lnTo>
                    <a:pt x="698" y="998"/>
                  </a:lnTo>
                  <a:lnTo>
                    <a:pt x="698" y="987"/>
                  </a:lnTo>
                  <a:lnTo>
                    <a:pt x="698" y="981"/>
                  </a:lnTo>
                  <a:lnTo>
                    <a:pt x="698" y="975"/>
                  </a:lnTo>
                  <a:lnTo>
                    <a:pt x="698" y="964"/>
                  </a:lnTo>
                  <a:lnTo>
                    <a:pt x="698" y="947"/>
                  </a:lnTo>
                  <a:lnTo>
                    <a:pt x="703" y="936"/>
                  </a:lnTo>
                  <a:lnTo>
                    <a:pt x="703" y="924"/>
                  </a:lnTo>
                  <a:lnTo>
                    <a:pt x="703" y="919"/>
                  </a:lnTo>
                  <a:lnTo>
                    <a:pt x="698" y="907"/>
                  </a:lnTo>
                  <a:lnTo>
                    <a:pt x="698" y="902"/>
                  </a:lnTo>
                  <a:lnTo>
                    <a:pt x="698" y="896"/>
                  </a:lnTo>
                  <a:lnTo>
                    <a:pt x="692" y="890"/>
                  </a:lnTo>
                  <a:lnTo>
                    <a:pt x="692" y="885"/>
                  </a:lnTo>
                  <a:lnTo>
                    <a:pt x="692" y="879"/>
                  </a:lnTo>
                  <a:lnTo>
                    <a:pt x="686" y="879"/>
                  </a:lnTo>
                  <a:lnTo>
                    <a:pt x="681" y="873"/>
                  </a:lnTo>
                  <a:lnTo>
                    <a:pt x="681" y="868"/>
                  </a:lnTo>
                  <a:lnTo>
                    <a:pt x="681" y="862"/>
                  </a:lnTo>
                  <a:lnTo>
                    <a:pt x="675" y="862"/>
                  </a:lnTo>
                  <a:lnTo>
                    <a:pt x="669" y="856"/>
                  </a:lnTo>
                  <a:lnTo>
                    <a:pt x="658" y="845"/>
                  </a:lnTo>
                  <a:lnTo>
                    <a:pt x="652" y="845"/>
                  </a:lnTo>
                  <a:lnTo>
                    <a:pt x="652" y="839"/>
                  </a:lnTo>
                  <a:lnTo>
                    <a:pt x="647" y="839"/>
                  </a:lnTo>
                  <a:lnTo>
                    <a:pt x="641" y="834"/>
                  </a:lnTo>
                  <a:lnTo>
                    <a:pt x="635" y="828"/>
                  </a:lnTo>
                  <a:lnTo>
                    <a:pt x="635" y="822"/>
                  </a:lnTo>
                  <a:lnTo>
                    <a:pt x="630" y="822"/>
                  </a:lnTo>
                  <a:lnTo>
                    <a:pt x="630" y="817"/>
                  </a:lnTo>
                  <a:lnTo>
                    <a:pt x="624" y="811"/>
                  </a:lnTo>
                  <a:lnTo>
                    <a:pt x="624" y="805"/>
                  </a:lnTo>
                  <a:lnTo>
                    <a:pt x="624" y="794"/>
                  </a:lnTo>
                  <a:lnTo>
                    <a:pt x="624" y="788"/>
                  </a:lnTo>
                  <a:lnTo>
                    <a:pt x="618" y="783"/>
                  </a:lnTo>
                  <a:lnTo>
                    <a:pt x="613" y="783"/>
                  </a:lnTo>
                  <a:lnTo>
                    <a:pt x="613" y="777"/>
                  </a:lnTo>
                  <a:lnTo>
                    <a:pt x="607" y="777"/>
                  </a:lnTo>
                  <a:lnTo>
                    <a:pt x="607" y="771"/>
                  </a:lnTo>
                  <a:lnTo>
                    <a:pt x="596" y="771"/>
                  </a:lnTo>
                  <a:lnTo>
                    <a:pt x="584" y="771"/>
                  </a:lnTo>
                  <a:lnTo>
                    <a:pt x="579" y="766"/>
                  </a:lnTo>
                  <a:lnTo>
                    <a:pt x="567" y="766"/>
                  </a:lnTo>
                  <a:lnTo>
                    <a:pt x="562" y="760"/>
                  </a:lnTo>
                  <a:lnTo>
                    <a:pt x="556" y="754"/>
                  </a:lnTo>
                  <a:lnTo>
                    <a:pt x="550" y="754"/>
                  </a:lnTo>
                  <a:lnTo>
                    <a:pt x="539" y="754"/>
                  </a:lnTo>
                  <a:lnTo>
                    <a:pt x="528" y="754"/>
                  </a:lnTo>
                  <a:lnTo>
                    <a:pt x="516" y="754"/>
                  </a:lnTo>
                  <a:lnTo>
                    <a:pt x="511" y="754"/>
                  </a:lnTo>
                  <a:lnTo>
                    <a:pt x="499" y="754"/>
                  </a:lnTo>
                  <a:lnTo>
                    <a:pt x="494" y="754"/>
                  </a:lnTo>
                  <a:lnTo>
                    <a:pt x="488" y="754"/>
                  </a:lnTo>
                  <a:lnTo>
                    <a:pt x="482" y="754"/>
                  </a:lnTo>
                  <a:lnTo>
                    <a:pt x="477" y="754"/>
                  </a:lnTo>
                  <a:lnTo>
                    <a:pt x="471" y="754"/>
                  </a:lnTo>
                  <a:lnTo>
                    <a:pt x="471" y="749"/>
                  </a:lnTo>
                  <a:lnTo>
                    <a:pt x="465" y="749"/>
                  </a:lnTo>
                  <a:lnTo>
                    <a:pt x="465" y="743"/>
                  </a:lnTo>
                  <a:lnTo>
                    <a:pt x="460" y="743"/>
                  </a:lnTo>
                  <a:lnTo>
                    <a:pt x="460" y="737"/>
                  </a:lnTo>
                  <a:lnTo>
                    <a:pt x="454" y="737"/>
                  </a:lnTo>
                  <a:lnTo>
                    <a:pt x="454" y="732"/>
                  </a:lnTo>
                  <a:lnTo>
                    <a:pt x="454" y="726"/>
                  </a:lnTo>
                  <a:lnTo>
                    <a:pt x="460" y="726"/>
                  </a:lnTo>
                  <a:lnTo>
                    <a:pt x="465" y="720"/>
                  </a:lnTo>
                  <a:lnTo>
                    <a:pt x="465" y="715"/>
                  </a:lnTo>
                  <a:lnTo>
                    <a:pt x="471" y="709"/>
                  </a:lnTo>
                  <a:lnTo>
                    <a:pt x="471" y="703"/>
                  </a:lnTo>
                  <a:lnTo>
                    <a:pt x="477" y="698"/>
                  </a:lnTo>
                  <a:lnTo>
                    <a:pt x="477" y="692"/>
                  </a:lnTo>
                  <a:lnTo>
                    <a:pt x="477" y="686"/>
                  </a:lnTo>
                  <a:lnTo>
                    <a:pt x="477" y="681"/>
                  </a:lnTo>
                  <a:lnTo>
                    <a:pt x="477" y="669"/>
                  </a:lnTo>
                  <a:lnTo>
                    <a:pt x="477" y="664"/>
                  </a:lnTo>
                  <a:lnTo>
                    <a:pt x="471" y="658"/>
                  </a:lnTo>
                  <a:lnTo>
                    <a:pt x="471" y="652"/>
                  </a:lnTo>
                  <a:lnTo>
                    <a:pt x="471" y="641"/>
                  </a:lnTo>
                  <a:lnTo>
                    <a:pt x="465" y="618"/>
                  </a:lnTo>
                  <a:lnTo>
                    <a:pt x="460" y="613"/>
                  </a:lnTo>
                  <a:lnTo>
                    <a:pt x="460" y="607"/>
                  </a:lnTo>
                  <a:lnTo>
                    <a:pt x="460" y="601"/>
                  </a:lnTo>
                  <a:lnTo>
                    <a:pt x="460" y="596"/>
                  </a:lnTo>
                  <a:lnTo>
                    <a:pt x="454" y="596"/>
                  </a:lnTo>
                  <a:lnTo>
                    <a:pt x="454" y="590"/>
                  </a:lnTo>
                  <a:lnTo>
                    <a:pt x="454" y="584"/>
                  </a:lnTo>
                  <a:lnTo>
                    <a:pt x="448" y="584"/>
                  </a:lnTo>
                  <a:lnTo>
                    <a:pt x="448" y="579"/>
                  </a:lnTo>
                  <a:lnTo>
                    <a:pt x="443" y="573"/>
                  </a:lnTo>
                  <a:lnTo>
                    <a:pt x="443" y="567"/>
                  </a:lnTo>
                  <a:lnTo>
                    <a:pt x="437" y="562"/>
                  </a:lnTo>
                  <a:lnTo>
                    <a:pt x="437" y="556"/>
                  </a:lnTo>
                  <a:lnTo>
                    <a:pt x="437" y="545"/>
                  </a:lnTo>
                  <a:lnTo>
                    <a:pt x="437" y="539"/>
                  </a:lnTo>
                  <a:lnTo>
                    <a:pt x="437" y="533"/>
                  </a:lnTo>
                  <a:lnTo>
                    <a:pt x="431" y="533"/>
                  </a:lnTo>
                  <a:lnTo>
                    <a:pt x="431" y="528"/>
                  </a:lnTo>
                  <a:lnTo>
                    <a:pt x="426" y="516"/>
                  </a:lnTo>
                  <a:lnTo>
                    <a:pt x="426" y="505"/>
                  </a:lnTo>
                  <a:lnTo>
                    <a:pt x="426" y="494"/>
                  </a:lnTo>
                  <a:lnTo>
                    <a:pt x="426" y="488"/>
                  </a:lnTo>
                  <a:lnTo>
                    <a:pt x="426" y="477"/>
                  </a:lnTo>
                  <a:lnTo>
                    <a:pt x="426" y="471"/>
                  </a:lnTo>
                  <a:lnTo>
                    <a:pt x="426" y="465"/>
                  </a:lnTo>
                  <a:lnTo>
                    <a:pt x="420" y="460"/>
                  </a:lnTo>
                  <a:lnTo>
                    <a:pt x="414" y="448"/>
                  </a:lnTo>
                  <a:lnTo>
                    <a:pt x="414" y="443"/>
                  </a:lnTo>
                  <a:lnTo>
                    <a:pt x="414" y="437"/>
                  </a:lnTo>
                  <a:lnTo>
                    <a:pt x="409" y="431"/>
                  </a:lnTo>
                  <a:lnTo>
                    <a:pt x="409" y="426"/>
                  </a:lnTo>
                  <a:lnTo>
                    <a:pt x="409" y="420"/>
                  </a:lnTo>
                  <a:lnTo>
                    <a:pt x="409" y="409"/>
                  </a:lnTo>
                  <a:lnTo>
                    <a:pt x="403" y="397"/>
                  </a:lnTo>
                  <a:lnTo>
                    <a:pt x="403" y="386"/>
                  </a:lnTo>
                  <a:lnTo>
                    <a:pt x="403" y="375"/>
                  </a:lnTo>
                  <a:lnTo>
                    <a:pt x="403" y="363"/>
                  </a:lnTo>
                  <a:lnTo>
                    <a:pt x="403" y="358"/>
                  </a:lnTo>
                  <a:lnTo>
                    <a:pt x="397" y="352"/>
                  </a:lnTo>
                  <a:lnTo>
                    <a:pt x="397" y="346"/>
                  </a:lnTo>
                  <a:lnTo>
                    <a:pt x="386" y="335"/>
                  </a:lnTo>
                  <a:lnTo>
                    <a:pt x="386" y="329"/>
                  </a:lnTo>
                  <a:lnTo>
                    <a:pt x="380" y="324"/>
                  </a:lnTo>
                  <a:lnTo>
                    <a:pt x="375" y="324"/>
                  </a:lnTo>
                  <a:lnTo>
                    <a:pt x="369" y="318"/>
                  </a:lnTo>
                  <a:lnTo>
                    <a:pt x="363" y="318"/>
                  </a:lnTo>
                  <a:lnTo>
                    <a:pt x="358" y="312"/>
                  </a:lnTo>
                  <a:lnTo>
                    <a:pt x="358" y="307"/>
                  </a:lnTo>
                  <a:lnTo>
                    <a:pt x="358" y="290"/>
                  </a:lnTo>
                  <a:lnTo>
                    <a:pt x="352" y="267"/>
                  </a:lnTo>
                  <a:lnTo>
                    <a:pt x="352" y="256"/>
                  </a:lnTo>
                  <a:lnTo>
                    <a:pt x="346" y="244"/>
                  </a:lnTo>
                  <a:lnTo>
                    <a:pt x="346" y="233"/>
                  </a:lnTo>
                  <a:lnTo>
                    <a:pt x="346" y="222"/>
                  </a:lnTo>
                  <a:lnTo>
                    <a:pt x="341" y="216"/>
                  </a:lnTo>
                  <a:lnTo>
                    <a:pt x="335" y="210"/>
                  </a:lnTo>
                  <a:lnTo>
                    <a:pt x="329" y="210"/>
                  </a:lnTo>
                  <a:lnTo>
                    <a:pt x="307" y="210"/>
                  </a:lnTo>
                  <a:lnTo>
                    <a:pt x="301" y="210"/>
                  </a:lnTo>
                  <a:lnTo>
                    <a:pt x="295" y="210"/>
                  </a:lnTo>
                  <a:lnTo>
                    <a:pt x="290" y="210"/>
                  </a:lnTo>
                  <a:lnTo>
                    <a:pt x="290" y="205"/>
                  </a:lnTo>
                  <a:lnTo>
                    <a:pt x="284" y="205"/>
                  </a:lnTo>
                  <a:lnTo>
                    <a:pt x="278" y="199"/>
                  </a:lnTo>
                  <a:lnTo>
                    <a:pt x="273" y="199"/>
                  </a:lnTo>
                  <a:lnTo>
                    <a:pt x="273" y="205"/>
                  </a:lnTo>
                  <a:lnTo>
                    <a:pt x="267" y="205"/>
                  </a:lnTo>
                  <a:lnTo>
                    <a:pt x="261" y="205"/>
                  </a:lnTo>
                  <a:lnTo>
                    <a:pt x="261" y="210"/>
                  </a:lnTo>
                  <a:lnTo>
                    <a:pt x="256" y="210"/>
                  </a:lnTo>
                  <a:lnTo>
                    <a:pt x="250" y="210"/>
                  </a:lnTo>
                  <a:lnTo>
                    <a:pt x="244" y="205"/>
                  </a:lnTo>
                  <a:lnTo>
                    <a:pt x="244" y="199"/>
                  </a:lnTo>
                  <a:lnTo>
                    <a:pt x="244" y="193"/>
                  </a:lnTo>
                  <a:lnTo>
                    <a:pt x="239" y="193"/>
                  </a:lnTo>
                  <a:lnTo>
                    <a:pt x="244" y="182"/>
                  </a:lnTo>
                  <a:lnTo>
                    <a:pt x="239" y="171"/>
                  </a:lnTo>
                  <a:lnTo>
                    <a:pt x="233" y="159"/>
                  </a:lnTo>
                  <a:lnTo>
                    <a:pt x="233" y="148"/>
                  </a:lnTo>
                  <a:lnTo>
                    <a:pt x="233" y="142"/>
                  </a:lnTo>
                  <a:lnTo>
                    <a:pt x="227" y="136"/>
                  </a:lnTo>
                  <a:lnTo>
                    <a:pt x="227" y="131"/>
                  </a:lnTo>
                  <a:lnTo>
                    <a:pt x="222" y="131"/>
                  </a:lnTo>
                  <a:lnTo>
                    <a:pt x="216" y="131"/>
                  </a:lnTo>
                  <a:lnTo>
                    <a:pt x="216" y="125"/>
                  </a:lnTo>
                  <a:lnTo>
                    <a:pt x="205" y="131"/>
                  </a:lnTo>
                  <a:lnTo>
                    <a:pt x="193" y="136"/>
                  </a:lnTo>
                  <a:lnTo>
                    <a:pt x="188" y="142"/>
                  </a:lnTo>
                  <a:lnTo>
                    <a:pt x="176" y="142"/>
                  </a:lnTo>
                  <a:lnTo>
                    <a:pt x="171" y="148"/>
                  </a:lnTo>
                  <a:lnTo>
                    <a:pt x="165" y="148"/>
                  </a:lnTo>
                  <a:lnTo>
                    <a:pt x="154" y="154"/>
                  </a:lnTo>
                  <a:lnTo>
                    <a:pt x="148" y="154"/>
                  </a:lnTo>
                  <a:lnTo>
                    <a:pt x="142" y="154"/>
                  </a:lnTo>
                  <a:lnTo>
                    <a:pt x="137" y="154"/>
                  </a:lnTo>
                  <a:lnTo>
                    <a:pt x="137" y="159"/>
                  </a:lnTo>
                  <a:lnTo>
                    <a:pt x="131" y="159"/>
                  </a:lnTo>
                  <a:lnTo>
                    <a:pt x="131" y="165"/>
                  </a:lnTo>
                  <a:lnTo>
                    <a:pt x="125" y="165"/>
                  </a:lnTo>
                  <a:lnTo>
                    <a:pt x="119" y="165"/>
                  </a:lnTo>
                  <a:lnTo>
                    <a:pt x="119" y="171"/>
                  </a:lnTo>
                  <a:lnTo>
                    <a:pt x="119" y="176"/>
                  </a:lnTo>
                  <a:lnTo>
                    <a:pt x="114" y="182"/>
                  </a:lnTo>
                  <a:lnTo>
                    <a:pt x="108" y="193"/>
                  </a:lnTo>
                  <a:lnTo>
                    <a:pt x="108" y="199"/>
                  </a:lnTo>
                  <a:lnTo>
                    <a:pt x="102" y="199"/>
                  </a:lnTo>
                  <a:lnTo>
                    <a:pt x="102" y="205"/>
                  </a:lnTo>
                  <a:lnTo>
                    <a:pt x="97" y="205"/>
                  </a:lnTo>
                  <a:lnTo>
                    <a:pt x="97" y="210"/>
                  </a:lnTo>
                  <a:lnTo>
                    <a:pt x="91" y="210"/>
                  </a:lnTo>
                  <a:lnTo>
                    <a:pt x="80" y="210"/>
                  </a:lnTo>
                  <a:lnTo>
                    <a:pt x="74" y="210"/>
                  </a:lnTo>
                  <a:lnTo>
                    <a:pt x="68" y="210"/>
                  </a:lnTo>
                  <a:lnTo>
                    <a:pt x="63" y="210"/>
                  </a:lnTo>
                  <a:lnTo>
                    <a:pt x="57" y="210"/>
                  </a:lnTo>
                  <a:lnTo>
                    <a:pt x="51" y="210"/>
                  </a:lnTo>
                  <a:lnTo>
                    <a:pt x="46" y="210"/>
                  </a:lnTo>
                  <a:lnTo>
                    <a:pt x="40" y="210"/>
                  </a:lnTo>
                  <a:lnTo>
                    <a:pt x="34" y="210"/>
                  </a:lnTo>
                  <a:lnTo>
                    <a:pt x="23" y="210"/>
                  </a:lnTo>
                  <a:lnTo>
                    <a:pt x="0" y="216"/>
                  </a:lnTo>
                  <a:lnTo>
                    <a:pt x="0" y="205"/>
                  </a:lnTo>
                  <a:close/>
                </a:path>
              </a:pathLst>
            </a:custGeom>
            <a:solidFill>
              <a:srgbClr val="00CC00"/>
            </a:solidFill>
            <a:ln w="25400">
              <a:solidFill>
                <a:srgbClr val="B4B4B4"/>
              </a:solidFill>
              <a:round/>
              <a:headEnd/>
              <a:tailEnd/>
            </a:ln>
          </p:spPr>
          <p:txBody>
            <a:bodyPr lIns="93296" tIns="46648" rIns="93296" bIns="46648"/>
            <a:lstStyle/>
            <a:p>
              <a:pPr>
                <a:defRPr/>
              </a:pPr>
              <a:endParaRPr lang="en-US" sz="1000" kern="0">
                <a:solidFill>
                  <a:prstClr val="black">
                    <a:lumMod val="65000"/>
                    <a:lumOff val="35000"/>
                  </a:prstClr>
                </a:solidFill>
              </a:endParaRPr>
            </a:p>
          </p:txBody>
        </p:sp>
        <p:sp>
          <p:nvSpPr>
            <p:cNvPr id="20" name="Freeform 19"/>
            <p:cNvSpPr>
              <a:spLocks/>
            </p:cNvSpPr>
            <p:nvPr/>
          </p:nvSpPr>
          <p:spPr bwMode="gray">
            <a:xfrm>
              <a:off x="2616785" y="3382096"/>
              <a:ext cx="1185192" cy="809305"/>
            </a:xfrm>
            <a:custGeom>
              <a:avLst/>
              <a:gdLst>
                <a:gd name="T0" fmla="*/ 2147483647 w 844"/>
                <a:gd name="T1" fmla="*/ 2147483647 h 607"/>
                <a:gd name="T2" fmla="*/ 2147483647 w 844"/>
                <a:gd name="T3" fmla="*/ 2147483647 h 607"/>
                <a:gd name="T4" fmla="*/ 2147483647 w 844"/>
                <a:gd name="T5" fmla="*/ 2147483647 h 607"/>
                <a:gd name="T6" fmla="*/ 2147483647 w 844"/>
                <a:gd name="T7" fmla="*/ 2147483647 h 607"/>
                <a:gd name="T8" fmla="*/ 2147483647 w 844"/>
                <a:gd name="T9" fmla="*/ 2147483647 h 607"/>
                <a:gd name="T10" fmla="*/ 2147483647 w 844"/>
                <a:gd name="T11" fmla="*/ 2147483647 h 607"/>
                <a:gd name="T12" fmla="*/ 2147483647 w 844"/>
                <a:gd name="T13" fmla="*/ 2147483647 h 607"/>
                <a:gd name="T14" fmla="*/ 2147483647 w 844"/>
                <a:gd name="T15" fmla="*/ 2147483647 h 607"/>
                <a:gd name="T16" fmla="*/ 2147483647 w 844"/>
                <a:gd name="T17" fmla="*/ 2147483647 h 607"/>
                <a:gd name="T18" fmla="*/ 2147483647 w 844"/>
                <a:gd name="T19" fmla="*/ 2147483647 h 607"/>
                <a:gd name="T20" fmla="*/ 2147483647 w 844"/>
                <a:gd name="T21" fmla="*/ 2147483647 h 607"/>
                <a:gd name="T22" fmla="*/ 2147483647 w 844"/>
                <a:gd name="T23" fmla="*/ 2147483647 h 607"/>
                <a:gd name="T24" fmla="*/ 2147483647 w 844"/>
                <a:gd name="T25" fmla="*/ 2147483647 h 607"/>
                <a:gd name="T26" fmla="*/ 2147483647 w 844"/>
                <a:gd name="T27" fmla="*/ 2147483647 h 607"/>
                <a:gd name="T28" fmla="*/ 2147483647 w 844"/>
                <a:gd name="T29" fmla="*/ 2147483647 h 607"/>
                <a:gd name="T30" fmla="*/ 2147483647 w 844"/>
                <a:gd name="T31" fmla="*/ 2147483647 h 607"/>
                <a:gd name="T32" fmla="*/ 2147483647 w 844"/>
                <a:gd name="T33" fmla="*/ 2147483647 h 607"/>
                <a:gd name="T34" fmla="*/ 2147483647 w 844"/>
                <a:gd name="T35" fmla="*/ 2147483647 h 607"/>
                <a:gd name="T36" fmla="*/ 2147483647 w 844"/>
                <a:gd name="T37" fmla="*/ 2147483647 h 607"/>
                <a:gd name="T38" fmla="*/ 2147483647 w 844"/>
                <a:gd name="T39" fmla="*/ 2147483647 h 607"/>
                <a:gd name="T40" fmla="*/ 2147483647 w 844"/>
                <a:gd name="T41" fmla="*/ 2147483647 h 607"/>
                <a:gd name="T42" fmla="*/ 2147483647 w 844"/>
                <a:gd name="T43" fmla="*/ 2147483647 h 607"/>
                <a:gd name="T44" fmla="*/ 2147483647 w 844"/>
                <a:gd name="T45" fmla="*/ 2147483647 h 607"/>
                <a:gd name="T46" fmla="*/ 2147483647 w 844"/>
                <a:gd name="T47" fmla="*/ 2147483647 h 607"/>
                <a:gd name="T48" fmla="*/ 2147483647 w 844"/>
                <a:gd name="T49" fmla="*/ 2147483647 h 607"/>
                <a:gd name="T50" fmla="*/ 2147483647 w 844"/>
                <a:gd name="T51" fmla="*/ 2147483647 h 607"/>
                <a:gd name="T52" fmla="*/ 2147483647 w 844"/>
                <a:gd name="T53" fmla="*/ 2147483647 h 607"/>
                <a:gd name="T54" fmla="*/ 2147483647 w 844"/>
                <a:gd name="T55" fmla="*/ 2147483647 h 607"/>
                <a:gd name="T56" fmla="*/ 2147483647 w 844"/>
                <a:gd name="T57" fmla="*/ 2147483647 h 607"/>
                <a:gd name="T58" fmla="*/ 2147483647 w 844"/>
                <a:gd name="T59" fmla="*/ 2147483647 h 607"/>
                <a:gd name="T60" fmla="*/ 2147483647 w 844"/>
                <a:gd name="T61" fmla="*/ 2147483647 h 607"/>
                <a:gd name="T62" fmla="*/ 2147483647 w 844"/>
                <a:gd name="T63" fmla="*/ 2147483647 h 607"/>
                <a:gd name="T64" fmla="*/ 2147483647 w 844"/>
                <a:gd name="T65" fmla="*/ 2147483647 h 607"/>
                <a:gd name="T66" fmla="*/ 2147483647 w 844"/>
                <a:gd name="T67" fmla="*/ 2147483647 h 607"/>
                <a:gd name="T68" fmla="*/ 2147483647 w 844"/>
                <a:gd name="T69" fmla="*/ 2147483647 h 607"/>
                <a:gd name="T70" fmla="*/ 2147483647 w 844"/>
                <a:gd name="T71" fmla="*/ 2147483647 h 607"/>
                <a:gd name="T72" fmla="*/ 2147483647 w 844"/>
                <a:gd name="T73" fmla="*/ 2147483647 h 607"/>
                <a:gd name="T74" fmla="*/ 2147483647 w 844"/>
                <a:gd name="T75" fmla="*/ 2147483647 h 607"/>
                <a:gd name="T76" fmla="*/ 2147483647 w 844"/>
                <a:gd name="T77" fmla="*/ 2147483647 h 607"/>
                <a:gd name="T78" fmla="*/ 2147483647 w 844"/>
                <a:gd name="T79" fmla="*/ 2147483647 h 607"/>
                <a:gd name="T80" fmla="*/ 2147483647 w 844"/>
                <a:gd name="T81" fmla="*/ 2147483647 h 607"/>
                <a:gd name="T82" fmla="*/ 2147483647 w 844"/>
                <a:gd name="T83" fmla="*/ 2147483647 h 607"/>
                <a:gd name="T84" fmla="*/ 2147483647 w 844"/>
                <a:gd name="T85" fmla="*/ 2147483647 h 607"/>
                <a:gd name="T86" fmla="*/ 2147483647 w 844"/>
                <a:gd name="T87" fmla="*/ 2147483647 h 607"/>
                <a:gd name="T88" fmla="*/ 2147483647 w 844"/>
                <a:gd name="T89" fmla="*/ 2147483647 h 607"/>
                <a:gd name="T90" fmla="*/ 2147483647 w 844"/>
                <a:gd name="T91" fmla="*/ 2147483647 h 607"/>
                <a:gd name="T92" fmla="*/ 2147483647 w 844"/>
                <a:gd name="T93" fmla="*/ 2147483647 h 607"/>
                <a:gd name="T94" fmla="*/ 2147483647 w 844"/>
                <a:gd name="T95" fmla="*/ 2147483647 h 607"/>
                <a:gd name="T96" fmla="*/ 2147483647 w 844"/>
                <a:gd name="T97" fmla="*/ 2147483647 h 607"/>
                <a:gd name="T98" fmla="*/ 2147483647 w 844"/>
                <a:gd name="T99" fmla="*/ 2147483647 h 607"/>
                <a:gd name="T100" fmla="*/ 2147483647 w 844"/>
                <a:gd name="T101" fmla="*/ 2147483647 h 607"/>
                <a:gd name="T102" fmla="*/ 2147483647 w 844"/>
                <a:gd name="T103" fmla="*/ 2147483647 h 607"/>
                <a:gd name="T104" fmla="*/ 2147483647 w 844"/>
                <a:gd name="T105" fmla="*/ 2147483647 h 607"/>
                <a:gd name="T106" fmla="*/ 2147483647 w 844"/>
                <a:gd name="T107" fmla="*/ 2147483647 h 607"/>
                <a:gd name="T108" fmla="*/ 2147483647 w 844"/>
                <a:gd name="T109" fmla="*/ 2147483647 h 607"/>
                <a:gd name="T110" fmla="*/ 2147483647 w 844"/>
                <a:gd name="T111" fmla="*/ 2147483647 h 607"/>
                <a:gd name="T112" fmla="*/ 2147483647 w 844"/>
                <a:gd name="T113" fmla="*/ 2147483647 h 607"/>
                <a:gd name="T114" fmla="*/ 2147483647 w 844"/>
                <a:gd name="T115" fmla="*/ 2147483647 h 607"/>
                <a:gd name="T116" fmla="*/ 2147483647 w 844"/>
                <a:gd name="T117" fmla="*/ 2147483647 h 607"/>
                <a:gd name="T118" fmla="*/ 2147483647 w 844"/>
                <a:gd name="T119" fmla="*/ 2147483647 h 607"/>
                <a:gd name="T120" fmla="*/ 0 w 844"/>
                <a:gd name="T121" fmla="*/ 2147483647 h 60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44"/>
                <a:gd name="T184" fmla="*/ 0 h 607"/>
                <a:gd name="T185" fmla="*/ 844 w 844"/>
                <a:gd name="T186" fmla="*/ 607 h 60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44" h="607">
                  <a:moveTo>
                    <a:pt x="0" y="403"/>
                  </a:moveTo>
                  <a:lnTo>
                    <a:pt x="11" y="409"/>
                  </a:lnTo>
                  <a:lnTo>
                    <a:pt x="11" y="403"/>
                  </a:lnTo>
                  <a:lnTo>
                    <a:pt x="11" y="397"/>
                  </a:lnTo>
                  <a:lnTo>
                    <a:pt x="11" y="392"/>
                  </a:lnTo>
                  <a:lnTo>
                    <a:pt x="11" y="386"/>
                  </a:lnTo>
                  <a:lnTo>
                    <a:pt x="11" y="380"/>
                  </a:lnTo>
                  <a:lnTo>
                    <a:pt x="17" y="380"/>
                  </a:lnTo>
                  <a:lnTo>
                    <a:pt x="17" y="375"/>
                  </a:lnTo>
                  <a:lnTo>
                    <a:pt x="22" y="369"/>
                  </a:lnTo>
                  <a:lnTo>
                    <a:pt x="28" y="363"/>
                  </a:lnTo>
                  <a:lnTo>
                    <a:pt x="34" y="358"/>
                  </a:lnTo>
                  <a:lnTo>
                    <a:pt x="39" y="358"/>
                  </a:lnTo>
                  <a:lnTo>
                    <a:pt x="45" y="352"/>
                  </a:lnTo>
                  <a:lnTo>
                    <a:pt x="51" y="352"/>
                  </a:lnTo>
                  <a:lnTo>
                    <a:pt x="56" y="352"/>
                  </a:lnTo>
                  <a:lnTo>
                    <a:pt x="62" y="352"/>
                  </a:lnTo>
                  <a:lnTo>
                    <a:pt x="68" y="346"/>
                  </a:lnTo>
                  <a:lnTo>
                    <a:pt x="73" y="346"/>
                  </a:lnTo>
                  <a:lnTo>
                    <a:pt x="79" y="341"/>
                  </a:lnTo>
                  <a:lnTo>
                    <a:pt x="79" y="335"/>
                  </a:lnTo>
                  <a:lnTo>
                    <a:pt x="85" y="335"/>
                  </a:lnTo>
                  <a:lnTo>
                    <a:pt x="85" y="329"/>
                  </a:lnTo>
                  <a:lnTo>
                    <a:pt x="85" y="324"/>
                  </a:lnTo>
                  <a:lnTo>
                    <a:pt x="85" y="318"/>
                  </a:lnTo>
                  <a:lnTo>
                    <a:pt x="90" y="318"/>
                  </a:lnTo>
                  <a:lnTo>
                    <a:pt x="90" y="312"/>
                  </a:lnTo>
                  <a:lnTo>
                    <a:pt x="90" y="307"/>
                  </a:lnTo>
                  <a:lnTo>
                    <a:pt x="96" y="307"/>
                  </a:lnTo>
                  <a:lnTo>
                    <a:pt x="96" y="295"/>
                  </a:lnTo>
                  <a:lnTo>
                    <a:pt x="96" y="290"/>
                  </a:lnTo>
                  <a:lnTo>
                    <a:pt x="102" y="290"/>
                  </a:lnTo>
                  <a:lnTo>
                    <a:pt x="102" y="284"/>
                  </a:lnTo>
                  <a:lnTo>
                    <a:pt x="102" y="278"/>
                  </a:lnTo>
                  <a:lnTo>
                    <a:pt x="102" y="273"/>
                  </a:lnTo>
                  <a:lnTo>
                    <a:pt x="96" y="273"/>
                  </a:lnTo>
                  <a:lnTo>
                    <a:pt x="96" y="267"/>
                  </a:lnTo>
                  <a:lnTo>
                    <a:pt x="90" y="267"/>
                  </a:lnTo>
                  <a:lnTo>
                    <a:pt x="85" y="267"/>
                  </a:lnTo>
                  <a:lnTo>
                    <a:pt x="79" y="256"/>
                  </a:lnTo>
                  <a:lnTo>
                    <a:pt x="73" y="256"/>
                  </a:lnTo>
                  <a:lnTo>
                    <a:pt x="73" y="250"/>
                  </a:lnTo>
                  <a:lnTo>
                    <a:pt x="73" y="239"/>
                  </a:lnTo>
                  <a:lnTo>
                    <a:pt x="68" y="239"/>
                  </a:lnTo>
                  <a:lnTo>
                    <a:pt x="68" y="222"/>
                  </a:lnTo>
                  <a:lnTo>
                    <a:pt x="68" y="210"/>
                  </a:lnTo>
                  <a:lnTo>
                    <a:pt x="68" y="193"/>
                  </a:lnTo>
                  <a:lnTo>
                    <a:pt x="68" y="182"/>
                  </a:lnTo>
                  <a:lnTo>
                    <a:pt x="68" y="165"/>
                  </a:lnTo>
                  <a:lnTo>
                    <a:pt x="68" y="154"/>
                  </a:lnTo>
                  <a:lnTo>
                    <a:pt x="68" y="148"/>
                  </a:lnTo>
                  <a:lnTo>
                    <a:pt x="62" y="142"/>
                  </a:lnTo>
                  <a:lnTo>
                    <a:pt x="62" y="137"/>
                  </a:lnTo>
                  <a:lnTo>
                    <a:pt x="56" y="131"/>
                  </a:lnTo>
                  <a:lnTo>
                    <a:pt x="51" y="125"/>
                  </a:lnTo>
                  <a:lnTo>
                    <a:pt x="45" y="119"/>
                  </a:lnTo>
                  <a:lnTo>
                    <a:pt x="45" y="114"/>
                  </a:lnTo>
                  <a:lnTo>
                    <a:pt x="45" y="108"/>
                  </a:lnTo>
                  <a:lnTo>
                    <a:pt x="39" y="102"/>
                  </a:lnTo>
                  <a:lnTo>
                    <a:pt x="39" y="97"/>
                  </a:lnTo>
                  <a:lnTo>
                    <a:pt x="34" y="97"/>
                  </a:lnTo>
                  <a:lnTo>
                    <a:pt x="34" y="91"/>
                  </a:lnTo>
                  <a:lnTo>
                    <a:pt x="34" y="85"/>
                  </a:lnTo>
                  <a:lnTo>
                    <a:pt x="28" y="74"/>
                  </a:lnTo>
                  <a:lnTo>
                    <a:pt x="28" y="68"/>
                  </a:lnTo>
                  <a:lnTo>
                    <a:pt x="28" y="63"/>
                  </a:lnTo>
                  <a:lnTo>
                    <a:pt x="28" y="51"/>
                  </a:lnTo>
                  <a:lnTo>
                    <a:pt x="28" y="40"/>
                  </a:lnTo>
                  <a:lnTo>
                    <a:pt x="34" y="40"/>
                  </a:lnTo>
                  <a:lnTo>
                    <a:pt x="39" y="46"/>
                  </a:lnTo>
                  <a:lnTo>
                    <a:pt x="45" y="46"/>
                  </a:lnTo>
                  <a:lnTo>
                    <a:pt x="51" y="46"/>
                  </a:lnTo>
                  <a:lnTo>
                    <a:pt x="56" y="46"/>
                  </a:lnTo>
                  <a:lnTo>
                    <a:pt x="68" y="51"/>
                  </a:lnTo>
                  <a:lnTo>
                    <a:pt x="79" y="57"/>
                  </a:lnTo>
                  <a:lnTo>
                    <a:pt x="85" y="57"/>
                  </a:lnTo>
                  <a:lnTo>
                    <a:pt x="96" y="57"/>
                  </a:lnTo>
                  <a:lnTo>
                    <a:pt x="96" y="63"/>
                  </a:lnTo>
                  <a:lnTo>
                    <a:pt x="107" y="63"/>
                  </a:lnTo>
                  <a:lnTo>
                    <a:pt x="124" y="68"/>
                  </a:lnTo>
                  <a:lnTo>
                    <a:pt x="136" y="68"/>
                  </a:lnTo>
                  <a:lnTo>
                    <a:pt x="141" y="68"/>
                  </a:lnTo>
                  <a:lnTo>
                    <a:pt x="153" y="68"/>
                  </a:lnTo>
                  <a:lnTo>
                    <a:pt x="153" y="74"/>
                  </a:lnTo>
                  <a:lnTo>
                    <a:pt x="158" y="74"/>
                  </a:lnTo>
                  <a:lnTo>
                    <a:pt x="170" y="74"/>
                  </a:lnTo>
                  <a:lnTo>
                    <a:pt x="175" y="74"/>
                  </a:lnTo>
                  <a:lnTo>
                    <a:pt x="181" y="80"/>
                  </a:lnTo>
                  <a:lnTo>
                    <a:pt x="187" y="80"/>
                  </a:lnTo>
                  <a:lnTo>
                    <a:pt x="187" y="85"/>
                  </a:lnTo>
                  <a:lnTo>
                    <a:pt x="192" y="85"/>
                  </a:lnTo>
                  <a:lnTo>
                    <a:pt x="198" y="85"/>
                  </a:lnTo>
                  <a:lnTo>
                    <a:pt x="204" y="85"/>
                  </a:lnTo>
                  <a:lnTo>
                    <a:pt x="215" y="97"/>
                  </a:lnTo>
                  <a:lnTo>
                    <a:pt x="221" y="97"/>
                  </a:lnTo>
                  <a:lnTo>
                    <a:pt x="226" y="97"/>
                  </a:lnTo>
                  <a:lnTo>
                    <a:pt x="232" y="102"/>
                  </a:lnTo>
                  <a:lnTo>
                    <a:pt x="238" y="102"/>
                  </a:lnTo>
                  <a:lnTo>
                    <a:pt x="243" y="102"/>
                  </a:lnTo>
                  <a:lnTo>
                    <a:pt x="249" y="102"/>
                  </a:lnTo>
                  <a:lnTo>
                    <a:pt x="255" y="108"/>
                  </a:lnTo>
                  <a:lnTo>
                    <a:pt x="260" y="108"/>
                  </a:lnTo>
                  <a:lnTo>
                    <a:pt x="266" y="114"/>
                  </a:lnTo>
                  <a:lnTo>
                    <a:pt x="272" y="114"/>
                  </a:lnTo>
                  <a:lnTo>
                    <a:pt x="277" y="119"/>
                  </a:lnTo>
                  <a:lnTo>
                    <a:pt x="283" y="125"/>
                  </a:lnTo>
                  <a:lnTo>
                    <a:pt x="289" y="125"/>
                  </a:lnTo>
                  <a:lnTo>
                    <a:pt x="294" y="125"/>
                  </a:lnTo>
                  <a:lnTo>
                    <a:pt x="306" y="131"/>
                  </a:lnTo>
                  <a:lnTo>
                    <a:pt x="306" y="137"/>
                  </a:lnTo>
                  <a:lnTo>
                    <a:pt x="311" y="137"/>
                  </a:lnTo>
                  <a:lnTo>
                    <a:pt x="311" y="142"/>
                  </a:lnTo>
                  <a:lnTo>
                    <a:pt x="317" y="142"/>
                  </a:lnTo>
                  <a:lnTo>
                    <a:pt x="323" y="142"/>
                  </a:lnTo>
                  <a:lnTo>
                    <a:pt x="323" y="137"/>
                  </a:lnTo>
                  <a:lnTo>
                    <a:pt x="323" y="131"/>
                  </a:lnTo>
                  <a:lnTo>
                    <a:pt x="323" y="125"/>
                  </a:lnTo>
                  <a:lnTo>
                    <a:pt x="317" y="119"/>
                  </a:lnTo>
                  <a:lnTo>
                    <a:pt x="317" y="114"/>
                  </a:lnTo>
                  <a:lnTo>
                    <a:pt x="311" y="108"/>
                  </a:lnTo>
                  <a:lnTo>
                    <a:pt x="311" y="102"/>
                  </a:lnTo>
                  <a:lnTo>
                    <a:pt x="311" y="97"/>
                  </a:lnTo>
                  <a:lnTo>
                    <a:pt x="306" y="97"/>
                  </a:lnTo>
                  <a:lnTo>
                    <a:pt x="306" y="85"/>
                  </a:lnTo>
                  <a:lnTo>
                    <a:pt x="306" y="80"/>
                  </a:lnTo>
                  <a:lnTo>
                    <a:pt x="300" y="80"/>
                  </a:lnTo>
                  <a:lnTo>
                    <a:pt x="300" y="74"/>
                  </a:lnTo>
                  <a:lnTo>
                    <a:pt x="294" y="68"/>
                  </a:lnTo>
                  <a:lnTo>
                    <a:pt x="294" y="57"/>
                  </a:lnTo>
                  <a:lnTo>
                    <a:pt x="300" y="57"/>
                  </a:lnTo>
                  <a:lnTo>
                    <a:pt x="300" y="51"/>
                  </a:lnTo>
                  <a:lnTo>
                    <a:pt x="300" y="46"/>
                  </a:lnTo>
                  <a:lnTo>
                    <a:pt x="306" y="46"/>
                  </a:lnTo>
                  <a:lnTo>
                    <a:pt x="306" y="40"/>
                  </a:lnTo>
                  <a:lnTo>
                    <a:pt x="306" y="34"/>
                  </a:lnTo>
                  <a:lnTo>
                    <a:pt x="311" y="34"/>
                  </a:lnTo>
                  <a:lnTo>
                    <a:pt x="334" y="17"/>
                  </a:lnTo>
                  <a:lnTo>
                    <a:pt x="340" y="12"/>
                  </a:lnTo>
                  <a:lnTo>
                    <a:pt x="345" y="12"/>
                  </a:lnTo>
                  <a:lnTo>
                    <a:pt x="351" y="6"/>
                  </a:lnTo>
                  <a:lnTo>
                    <a:pt x="357" y="6"/>
                  </a:lnTo>
                  <a:lnTo>
                    <a:pt x="368" y="0"/>
                  </a:lnTo>
                  <a:lnTo>
                    <a:pt x="374" y="0"/>
                  </a:lnTo>
                  <a:lnTo>
                    <a:pt x="379" y="6"/>
                  </a:lnTo>
                  <a:lnTo>
                    <a:pt x="385" y="12"/>
                  </a:lnTo>
                  <a:lnTo>
                    <a:pt x="391" y="12"/>
                  </a:lnTo>
                  <a:lnTo>
                    <a:pt x="396" y="12"/>
                  </a:lnTo>
                  <a:lnTo>
                    <a:pt x="396" y="17"/>
                  </a:lnTo>
                  <a:lnTo>
                    <a:pt x="402" y="17"/>
                  </a:lnTo>
                  <a:lnTo>
                    <a:pt x="408" y="17"/>
                  </a:lnTo>
                  <a:lnTo>
                    <a:pt x="419" y="23"/>
                  </a:lnTo>
                  <a:lnTo>
                    <a:pt x="425" y="23"/>
                  </a:lnTo>
                  <a:lnTo>
                    <a:pt x="430" y="23"/>
                  </a:lnTo>
                  <a:lnTo>
                    <a:pt x="442" y="29"/>
                  </a:lnTo>
                  <a:lnTo>
                    <a:pt x="447" y="29"/>
                  </a:lnTo>
                  <a:lnTo>
                    <a:pt x="453" y="29"/>
                  </a:lnTo>
                  <a:lnTo>
                    <a:pt x="453" y="34"/>
                  </a:lnTo>
                  <a:lnTo>
                    <a:pt x="464" y="34"/>
                  </a:lnTo>
                  <a:lnTo>
                    <a:pt x="476" y="40"/>
                  </a:lnTo>
                  <a:lnTo>
                    <a:pt x="487" y="40"/>
                  </a:lnTo>
                  <a:lnTo>
                    <a:pt x="493" y="40"/>
                  </a:lnTo>
                  <a:lnTo>
                    <a:pt x="504" y="40"/>
                  </a:lnTo>
                  <a:lnTo>
                    <a:pt x="510" y="40"/>
                  </a:lnTo>
                  <a:lnTo>
                    <a:pt x="515" y="40"/>
                  </a:lnTo>
                  <a:lnTo>
                    <a:pt x="521" y="40"/>
                  </a:lnTo>
                  <a:lnTo>
                    <a:pt x="527" y="40"/>
                  </a:lnTo>
                  <a:lnTo>
                    <a:pt x="532" y="34"/>
                  </a:lnTo>
                  <a:lnTo>
                    <a:pt x="538" y="34"/>
                  </a:lnTo>
                  <a:lnTo>
                    <a:pt x="544" y="40"/>
                  </a:lnTo>
                  <a:lnTo>
                    <a:pt x="549" y="46"/>
                  </a:lnTo>
                  <a:lnTo>
                    <a:pt x="555" y="46"/>
                  </a:lnTo>
                  <a:lnTo>
                    <a:pt x="561" y="46"/>
                  </a:lnTo>
                  <a:lnTo>
                    <a:pt x="561" y="51"/>
                  </a:lnTo>
                  <a:lnTo>
                    <a:pt x="561" y="57"/>
                  </a:lnTo>
                  <a:lnTo>
                    <a:pt x="566" y="63"/>
                  </a:lnTo>
                  <a:lnTo>
                    <a:pt x="572" y="63"/>
                  </a:lnTo>
                  <a:lnTo>
                    <a:pt x="572" y="68"/>
                  </a:lnTo>
                  <a:lnTo>
                    <a:pt x="572" y="74"/>
                  </a:lnTo>
                  <a:lnTo>
                    <a:pt x="578" y="80"/>
                  </a:lnTo>
                  <a:lnTo>
                    <a:pt x="578" y="85"/>
                  </a:lnTo>
                  <a:lnTo>
                    <a:pt x="578" y="91"/>
                  </a:lnTo>
                  <a:lnTo>
                    <a:pt x="583" y="91"/>
                  </a:lnTo>
                  <a:lnTo>
                    <a:pt x="583" y="97"/>
                  </a:lnTo>
                  <a:lnTo>
                    <a:pt x="589" y="97"/>
                  </a:lnTo>
                  <a:lnTo>
                    <a:pt x="589" y="102"/>
                  </a:lnTo>
                  <a:lnTo>
                    <a:pt x="583" y="102"/>
                  </a:lnTo>
                  <a:lnTo>
                    <a:pt x="583" y="108"/>
                  </a:lnTo>
                  <a:lnTo>
                    <a:pt x="583" y="114"/>
                  </a:lnTo>
                  <a:lnTo>
                    <a:pt x="578" y="114"/>
                  </a:lnTo>
                  <a:lnTo>
                    <a:pt x="578" y="119"/>
                  </a:lnTo>
                  <a:lnTo>
                    <a:pt x="578" y="125"/>
                  </a:lnTo>
                  <a:lnTo>
                    <a:pt x="578" y="131"/>
                  </a:lnTo>
                  <a:lnTo>
                    <a:pt x="572" y="131"/>
                  </a:lnTo>
                  <a:lnTo>
                    <a:pt x="572" y="137"/>
                  </a:lnTo>
                  <a:lnTo>
                    <a:pt x="572" y="142"/>
                  </a:lnTo>
                  <a:lnTo>
                    <a:pt x="572" y="148"/>
                  </a:lnTo>
                  <a:lnTo>
                    <a:pt x="578" y="148"/>
                  </a:lnTo>
                  <a:lnTo>
                    <a:pt x="589" y="148"/>
                  </a:lnTo>
                  <a:lnTo>
                    <a:pt x="589" y="142"/>
                  </a:lnTo>
                  <a:lnTo>
                    <a:pt x="595" y="142"/>
                  </a:lnTo>
                  <a:lnTo>
                    <a:pt x="600" y="137"/>
                  </a:lnTo>
                  <a:lnTo>
                    <a:pt x="606" y="131"/>
                  </a:lnTo>
                  <a:lnTo>
                    <a:pt x="612" y="125"/>
                  </a:lnTo>
                  <a:lnTo>
                    <a:pt x="617" y="125"/>
                  </a:lnTo>
                  <a:lnTo>
                    <a:pt x="623" y="125"/>
                  </a:lnTo>
                  <a:lnTo>
                    <a:pt x="629" y="125"/>
                  </a:lnTo>
                  <a:lnTo>
                    <a:pt x="634" y="125"/>
                  </a:lnTo>
                  <a:lnTo>
                    <a:pt x="657" y="114"/>
                  </a:lnTo>
                  <a:lnTo>
                    <a:pt x="663" y="114"/>
                  </a:lnTo>
                  <a:lnTo>
                    <a:pt x="685" y="108"/>
                  </a:lnTo>
                  <a:lnTo>
                    <a:pt x="691" y="102"/>
                  </a:lnTo>
                  <a:lnTo>
                    <a:pt x="708" y="102"/>
                  </a:lnTo>
                  <a:lnTo>
                    <a:pt x="714" y="108"/>
                  </a:lnTo>
                  <a:lnTo>
                    <a:pt x="719" y="108"/>
                  </a:lnTo>
                  <a:lnTo>
                    <a:pt x="725" y="114"/>
                  </a:lnTo>
                  <a:lnTo>
                    <a:pt x="731" y="114"/>
                  </a:lnTo>
                  <a:lnTo>
                    <a:pt x="736" y="114"/>
                  </a:lnTo>
                  <a:lnTo>
                    <a:pt x="742" y="114"/>
                  </a:lnTo>
                  <a:lnTo>
                    <a:pt x="742" y="119"/>
                  </a:lnTo>
                  <a:lnTo>
                    <a:pt x="742" y="125"/>
                  </a:lnTo>
                  <a:lnTo>
                    <a:pt x="748" y="125"/>
                  </a:lnTo>
                  <a:lnTo>
                    <a:pt x="753" y="125"/>
                  </a:lnTo>
                  <a:lnTo>
                    <a:pt x="753" y="131"/>
                  </a:lnTo>
                  <a:lnTo>
                    <a:pt x="759" y="131"/>
                  </a:lnTo>
                  <a:lnTo>
                    <a:pt x="759" y="137"/>
                  </a:lnTo>
                  <a:lnTo>
                    <a:pt x="765" y="142"/>
                  </a:lnTo>
                  <a:lnTo>
                    <a:pt x="770" y="142"/>
                  </a:lnTo>
                  <a:lnTo>
                    <a:pt x="776" y="148"/>
                  </a:lnTo>
                  <a:lnTo>
                    <a:pt x="782" y="154"/>
                  </a:lnTo>
                  <a:lnTo>
                    <a:pt x="787" y="159"/>
                  </a:lnTo>
                  <a:lnTo>
                    <a:pt x="787" y="165"/>
                  </a:lnTo>
                  <a:lnTo>
                    <a:pt x="799" y="171"/>
                  </a:lnTo>
                  <a:lnTo>
                    <a:pt x="810" y="176"/>
                  </a:lnTo>
                  <a:lnTo>
                    <a:pt x="810" y="182"/>
                  </a:lnTo>
                  <a:lnTo>
                    <a:pt x="816" y="188"/>
                  </a:lnTo>
                  <a:lnTo>
                    <a:pt x="816" y="193"/>
                  </a:lnTo>
                  <a:lnTo>
                    <a:pt x="821" y="199"/>
                  </a:lnTo>
                  <a:lnTo>
                    <a:pt x="827" y="199"/>
                  </a:lnTo>
                  <a:lnTo>
                    <a:pt x="833" y="210"/>
                  </a:lnTo>
                  <a:lnTo>
                    <a:pt x="838" y="222"/>
                  </a:lnTo>
                  <a:lnTo>
                    <a:pt x="844" y="222"/>
                  </a:lnTo>
                  <a:lnTo>
                    <a:pt x="844" y="227"/>
                  </a:lnTo>
                  <a:lnTo>
                    <a:pt x="844" y="239"/>
                  </a:lnTo>
                  <a:lnTo>
                    <a:pt x="844" y="244"/>
                  </a:lnTo>
                  <a:lnTo>
                    <a:pt x="844" y="250"/>
                  </a:lnTo>
                  <a:lnTo>
                    <a:pt x="844" y="256"/>
                  </a:lnTo>
                  <a:lnTo>
                    <a:pt x="844" y="261"/>
                  </a:lnTo>
                  <a:lnTo>
                    <a:pt x="844" y="273"/>
                  </a:lnTo>
                  <a:lnTo>
                    <a:pt x="844" y="284"/>
                  </a:lnTo>
                  <a:lnTo>
                    <a:pt x="844" y="295"/>
                  </a:lnTo>
                  <a:lnTo>
                    <a:pt x="838" y="324"/>
                  </a:lnTo>
                  <a:lnTo>
                    <a:pt x="838" y="346"/>
                  </a:lnTo>
                  <a:lnTo>
                    <a:pt x="833" y="352"/>
                  </a:lnTo>
                  <a:lnTo>
                    <a:pt x="833" y="358"/>
                  </a:lnTo>
                  <a:lnTo>
                    <a:pt x="827" y="358"/>
                  </a:lnTo>
                  <a:lnTo>
                    <a:pt x="827" y="363"/>
                  </a:lnTo>
                  <a:lnTo>
                    <a:pt x="821" y="363"/>
                  </a:lnTo>
                  <a:lnTo>
                    <a:pt x="816" y="363"/>
                  </a:lnTo>
                  <a:lnTo>
                    <a:pt x="816" y="369"/>
                  </a:lnTo>
                  <a:lnTo>
                    <a:pt x="810" y="369"/>
                  </a:lnTo>
                  <a:lnTo>
                    <a:pt x="804" y="375"/>
                  </a:lnTo>
                  <a:lnTo>
                    <a:pt x="799" y="375"/>
                  </a:lnTo>
                  <a:lnTo>
                    <a:pt x="799" y="380"/>
                  </a:lnTo>
                  <a:lnTo>
                    <a:pt x="793" y="380"/>
                  </a:lnTo>
                  <a:lnTo>
                    <a:pt x="787" y="386"/>
                  </a:lnTo>
                  <a:lnTo>
                    <a:pt x="787" y="392"/>
                  </a:lnTo>
                  <a:lnTo>
                    <a:pt x="787" y="403"/>
                  </a:lnTo>
                  <a:lnTo>
                    <a:pt x="782" y="403"/>
                  </a:lnTo>
                  <a:lnTo>
                    <a:pt x="782" y="409"/>
                  </a:lnTo>
                  <a:lnTo>
                    <a:pt x="782" y="414"/>
                  </a:lnTo>
                  <a:lnTo>
                    <a:pt x="782" y="420"/>
                  </a:lnTo>
                  <a:lnTo>
                    <a:pt x="776" y="426"/>
                  </a:lnTo>
                  <a:lnTo>
                    <a:pt x="776" y="431"/>
                  </a:lnTo>
                  <a:lnTo>
                    <a:pt x="770" y="431"/>
                  </a:lnTo>
                  <a:lnTo>
                    <a:pt x="770" y="437"/>
                  </a:lnTo>
                  <a:lnTo>
                    <a:pt x="765" y="443"/>
                  </a:lnTo>
                  <a:lnTo>
                    <a:pt x="765" y="448"/>
                  </a:lnTo>
                  <a:lnTo>
                    <a:pt x="759" y="448"/>
                  </a:lnTo>
                  <a:lnTo>
                    <a:pt x="759" y="460"/>
                  </a:lnTo>
                  <a:lnTo>
                    <a:pt x="759" y="482"/>
                  </a:lnTo>
                  <a:lnTo>
                    <a:pt x="759" y="488"/>
                  </a:lnTo>
                  <a:lnTo>
                    <a:pt x="765" y="494"/>
                  </a:lnTo>
                  <a:lnTo>
                    <a:pt x="765" y="499"/>
                  </a:lnTo>
                  <a:lnTo>
                    <a:pt x="765" y="505"/>
                  </a:lnTo>
                  <a:lnTo>
                    <a:pt x="765" y="528"/>
                  </a:lnTo>
                  <a:lnTo>
                    <a:pt x="765" y="533"/>
                  </a:lnTo>
                  <a:lnTo>
                    <a:pt x="759" y="550"/>
                  </a:lnTo>
                  <a:lnTo>
                    <a:pt x="759" y="562"/>
                  </a:lnTo>
                  <a:lnTo>
                    <a:pt x="753" y="573"/>
                  </a:lnTo>
                  <a:lnTo>
                    <a:pt x="753" y="579"/>
                  </a:lnTo>
                  <a:lnTo>
                    <a:pt x="753" y="584"/>
                  </a:lnTo>
                  <a:lnTo>
                    <a:pt x="748" y="584"/>
                  </a:lnTo>
                  <a:lnTo>
                    <a:pt x="748" y="579"/>
                  </a:lnTo>
                  <a:lnTo>
                    <a:pt x="742" y="573"/>
                  </a:lnTo>
                  <a:lnTo>
                    <a:pt x="742" y="579"/>
                  </a:lnTo>
                  <a:lnTo>
                    <a:pt x="736" y="579"/>
                  </a:lnTo>
                  <a:lnTo>
                    <a:pt x="731" y="579"/>
                  </a:lnTo>
                  <a:lnTo>
                    <a:pt x="725" y="573"/>
                  </a:lnTo>
                  <a:lnTo>
                    <a:pt x="725" y="579"/>
                  </a:lnTo>
                  <a:lnTo>
                    <a:pt x="719" y="584"/>
                  </a:lnTo>
                  <a:lnTo>
                    <a:pt x="719" y="590"/>
                  </a:lnTo>
                  <a:lnTo>
                    <a:pt x="719" y="596"/>
                  </a:lnTo>
                  <a:lnTo>
                    <a:pt x="714" y="601"/>
                  </a:lnTo>
                  <a:lnTo>
                    <a:pt x="708" y="607"/>
                  </a:lnTo>
                  <a:lnTo>
                    <a:pt x="702" y="607"/>
                  </a:lnTo>
                  <a:lnTo>
                    <a:pt x="697" y="607"/>
                  </a:lnTo>
                  <a:lnTo>
                    <a:pt x="691" y="607"/>
                  </a:lnTo>
                  <a:lnTo>
                    <a:pt x="691" y="590"/>
                  </a:lnTo>
                  <a:lnTo>
                    <a:pt x="691" y="584"/>
                  </a:lnTo>
                  <a:lnTo>
                    <a:pt x="685" y="584"/>
                  </a:lnTo>
                  <a:lnTo>
                    <a:pt x="685" y="579"/>
                  </a:lnTo>
                  <a:lnTo>
                    <a:pt x="680" y="573"/>
                  </a:lnTo>
                  <a:lnTo>
                    <a:pt x="668" y="573"/>
                  </a:lnTo>
                  <a:lnTo>
                    <a:pt x="668" y="567"/>
                  </a:lnTo>
                  <a:lnTo>
                    <a:pt x="663" y="562"/>
                  </a:lnTo>
                  <a:lnTo>
                    <a:pt x="657" y="562"/>
                  </a:lnTo>
                  <a:lnTo>
                    <a:pt x="657" y="556"/>
                  </a:lnTo>
                  <a:lnTo>
                    <a:pt x="651" y="550"/>
                  </a:lnTo>
                  <a:lnTo>
                    <a:pt x="651" y="545"/>
                  </a:lnTo>
                  <a:lnTo>
                    <a:pt x="646" y="545"/>
                  </a:lnTo>
                  <a:lnTo>
                    <a:pt x="646" y="539"/>
                  </a:lnTo>
                  <a:lnTo>
                    <a:pt x="646" y="533"/>
                  </a:lnTo>
                  <a:lnTo>
                    <a:pt x="646" y="528"/>
                  </a:lnTo>
                  <a:lnTo>
                    <a:pt x="640" y="528"/>
                  </a:lnTo>
                  <a:lnTo>
                    <a:pt x="634" y="522"/>
                  </a:lnTo>
                  <a:lnTo>
                    <a:pt x="629" y="522"/>
                  </a:lnTo>
                  <a:lnTo>
                    <a:pt x="623" y="522"/>
                  </a:lnTo>
                  <a:lnTo>
                    <a:pt x="617" y="522"/>
                  </a:lnTo>
                  <a:lnTo>
                    <a:pt x="606" y="522"/>
                  </a:lnTo>
                  <a:lnTo>
                    <a:pt x="600" y="522"/>
                  </a:lnTo>
                  <a:lnTo>
                    <a:pt x="589" y="522"/>
                  </a:lnTo>
                  <a:lnTo>
                    <a:pt x="583" y="528"/>
                  </a:lnTo>
                  <a:lnTo>
                    <a:pt x="578" y="528"/>
                  </a:lnTo>
                  <a:lnTo>
                    <a:pt x="572" y="528"/>
                  </a:lnTo>
                  <a:lnTo>
                    <a:pt x="572" y="533"/>
                  </a:lnTo>
                  <a:lnTo>
                    <a:pt x="566" y="533"/>
                  </a:lnTo>
                  <a:lnTo>
                    <a:pt x="561" y="539"/>
                  </a:lnTo>
                  <a:lnTo>
                    <a:pt x="555" y="539"/>
                  </a:lnTo>
                  <a:lnTo>
                    <a:pt x="549" y="539"/>
                  </a:lnTo>
                  <a:lnTo>
                    <a:pt x="549" y="533"/>
                  </a:lnTo>
                  <a:lnTo>
                    <a:pt x="544" y="533"/>
                  </a:lnTo>
                  <a:lnTo>
                    <a:pt x="544" y="528"/>
                  </a:lnTo>
                  <a:lnTo>
                    <a:pt x="538" y="528"/>
                  </a:lnTo>
                  <a:lnTo>
                    <a:pt x="532" y="528"/>
                  </a:lnTo>
                  <a:lnTo>
                    <a:pt x="527" y="516"/>
                  </a:lnTo>
                  <a:lnTo>
                    <a:pt x="521" y="516"/>
                  </a:lnTo>
                  <a:lnTo>
                    <a:pt x="521" y="505"/>
                  </a:lnTo>
                  <a:lnTo>
                    <a:pt x="521" y="499"/>
                  </a:lnTo>
                  <a:lnTo>
                    <a:pt x="521" y="494"/>
                  </a:lnTo>
                  <a:lnTo>
                    <a:pt x="521" y="488"/>
                  </a:lnTo>
                  <a:lnTo>
                    <a:pt x="527" y="482"/>
                  </a:lnTo>
                  <a:lnTo>
                    <a:pt x="527" y="477"/>
                  </a:lnTo>
                  <a:lnTo>
                    <a:pt x="521" y="477"/>
                  </a:lnTo>
                  <a:lnTo>
                    <a:pt x="515" y="477"/>
                  </a:lnTo>
                  <a:lnTo>
                    <a:pt x="510" y="471"/>
                  </a:lnTo>
                  <a:lnTo>
                    <a:pt x="504" y="471"/>
                  </a:lnTo>
                  <a:lnTo>
                    <a:pt x="493" y="471"/>
                  </a:lnTo>
                  <a:lnTo>
                    <a:pt x="487" y="471"/>
                  </a:lnTo>
                  <a:lnTo>
                    <a:pt x="476" y="465"/>
                  </a:lnTo>
                  <a:lnTo>
                    <a:pt x="470" y="465"/>
                  </a:lnTo>
                  <a:lnTo>
                    <a:pt x="459" y="460"/>
                  </a:lnTo>
                  <a:lnTo>
                    <a:pt x="453" y="460"/>
                  </a:lnTo>
                  <a:lnTo>
                    <a:pt x="447" y="460"/>
                  </a:lnTo>
                  <a:lnTo>
                    <a:pt x="442" y="460"/>
                  </a:lnTo>
                  <a:lnTo>
                    <a:pt x="430" y="454"/>
                  </a:lnTo>
                  <a:lnTo>
                    <a:pt x="425" y="454"/>
                  </a:lnTo>
                  <a:lnTo>
                    <a:pt x="413" y="454"/>
                  </a:lnTo>
                  <a:lnTo>
                    <a:pt x="408" y="454"/>
                  </a:lnTo>
                  <a:lnTo>
                    <a:pt x="402" y="448"/>
                  </a:lnTo>
                  <a:lnTo>
                    <a:pt x="396" y="448"/>
                  </a:lnTo>
                  <a:lnTo>
                    <a:pt x="391" y="448"/>
                  </a:lnTo>
                  <a:lnTo>
                    <a:pt x="391" y="454"/>
                  </a:lnTo>
                  <a:lnTo>
                    <a:pt x="385" y="460"/>
                  </a:lnTo>
                  <a:lnTo>
                    <a:pt x="379" y="460"/>
                  </a:lnTo>
                  <a:lnTo>
                    <a:pt x="379" y="465"/>
                  </a:lnTo>
                  <a:lnTo>
                    <a:pt x="374" y="465"/>
                  </a:lnTo>
                  <a:lnTo>
                    <a:pt x="368" y="471"/>
                  </a:lnTo>
                  <a:lnTo>
                    <a:pt x="368" y="477"/>
                  </a:lnTo>
                  <a:lnTo>
                    <a:pt x="379" y="477"/>
                  </a:lnTo>
                  <a:lnTo>
                    <a:pt x="385" y="477"/>
                  </a:lnTo>
                  <a:lnTo>
                    <a:pt x="391" y="477"/>
                  </a:lnTo>
                  <a:lnTo>
                    <a:pt x="396" y="482"/>
                  </a:lnTo>
                  <a:lnTo>
                    <a:pt x="396" y="488"/>
                  </a:lnTo>
                  <a:lnTo>
                    <a:pt x="396" y="494"/>
                  </a:lnTo>
                  <a:lnTo>
                    <a:pt x="396" y="499"/>
                  </a:lnTo>
                  <a:lnTo>
                    <a:pt x="396" y="505"/>
                  </a:lnTo>
                  <a:lnTo>
                    <a:pt x="391" y="505"/>
                  </a:lnTo>
                  <a:lnTo>
                    <a:pt x="385" y="511"/>
                  </a:lnTo>
                  <a:lnTo>
                    <a:pt x="379" y="516"/>
                  </a:lnTo>
                  <a:lnTo>
                    <a:pt x="368" y="516"/>
                  </a:lnTo>
                  <a:lnTo>
                    <a:pt x="368" y="511"/>
                  </a:lnTo>
                  <a:lnTo>
                    <a:pt x="362" y="511"/>
                  </a:lnTo>
                  <a:lnTo>
                    <a:pt x="351" y="511"/>
                  </a:lnTo>
                  <a:lnTo>
                    <a:pt x="340" y="511"/>
                  </a:lnTo>
                  <a:lnTo>
                    <a:pt x="328" y="516"/>
                  </a:lnTo>
                  <a:lnTo>
                    <a:pt x="323" y="516"/>
                  </a:lnTo>
                  <a:lnTo>
                    <a:pt x="317" y="516"/>
                  </a:lnTo>
                  <a:lnTo>
                    <a:pt x="311" y="528"/>
                  </a:lnTo>
                  <a:lnTo>
                    <a:pt x="306" y="528"/>
                  </a:lnTo>
                  <a:lnTo>
                    <a:pt x="306" y="533"/>
                  </a:lnTo>
                  <a:lnTo>
                    <a:pt x="294" y="539"/>
                  </a:lnTo>
                  <a:lnTo>
                    <a:pt x="294" y="545"/>
                  </a:lnTo>
                  <a:lnTo>
                    <a:pt x="289" y="545"/>
                  </a:lnTo>
                  <a:lnTo>
                    <a:pt x="283" y="545"/>
                  </a:lnTo>
                  <a:lnTo>
                    <a:pt x="283" y="539"/>
                  </a:lnTo>
                  <a:lnTo>
                    <a:pt x="283" y="533"/>
                  </a:lnTo>
                  <a:lnTo>
                    <a:pt x="277" y="533"/>
                  </a:lnTo>
                  <a:lnTo>
                    <a:pt x="277" y="528"/>
                  </a:lnTo>
                  <a:lnTo>
                    <a:pt x="277" y="522"/>
                  </a:lnTo>
                  <a:lnTo>
                    <a:pt x="272" y="516"/>
                  </a:lnTo>
                  <a:lnTo>
                    <a:pt x="266" y="516"/>
                  </a:lnTo>
                  <a:lnTo>
                    <a:pt x="266" y="505"/>
                  </a:lnTo>
                  <a:lnTo>
                    <a:pt x="260" y="505"/>
                  </a:lnTo>
                  <a:lnTo>
                    <a:pt x="260" y="499"/>
                  </a:lnTo>
                  <a:lnTo>
                    <a:pt x="255" y="499"/>
                  </a:lnTo>
                  <a:lnTo>
                    <a:pt x="255" y="494"/>
                  </a:lnTo>
                  <a:lnTo>
                    <a:pt x="249" y="494"/>
                  </a:lnTo>
                  <a:lnTo>
                    <a:pt x="243" y="494"/>
                  </a:lnTo>
                  <a:lnTo>
                    <a:pt x="238" y="494"/>
                  </a:lnTo>
                  <a:lnTo>
                    <a:pt x="238" y="499"/>
                  </a:lnTo>
                  <a:lnTo>
                    <a:pt x="232" y="499"/>
                  </a:lnTo>
                  <a:lnTo>
                    <a:pt x="226" y="499"/>
                  </a:lnTo>
                  <a:lnTo>
                    <a:pt x="215" y="505"/>
                  </a:lnTo>
                  <a:lnTo>
                    <a:pt x="209" y="511"/>
                  </a:lnTo>
                  <a:lnTo>
                    <a:pt x="198" y="516"/>
                  </a:lnTo>
                  <a:lnTo>
                    <a:pt x="187" y="516"/>
                  </a:lnTo>
                  <a:lnTo>
                    <a:pt x="181" y="516"/>
                  </a:lnTo>
                  <a:lnTo>
                    <a:pt x="175" y="516"/>
                  </a:lnTo>
                  <a:lnTo>
                    <a:pt x="170" y="516"/>
                  </a:lnTo>
                  <a:lnTo>
                    <a:pt x="164" y="522"/>
                  </a:lnTo>
                  <a:lnTo>
                    <a:pt x="164" y="528"/>
                  </a:lnTo>
                  <a:lnTo>
                    <a:pt x="158" y="533"/>
                  </a:lnTo>
                  <a:lnTo>
                    <a:pt x="158" y="545"/>
                  </a:lnTo>
                  <a:lnTo>
                    <a:pt x="158" y="556"/>
                  </a:lnTo>
                  <a:lnTo>
                    <a:pt x="158" y="562"/>
                  </a:lnTo>
                  <a:lnTo>
                    <a:pt x="158" y="567"/>
                  </a:lnTo>
                  <a:lnTo>
                    <a:pt x="158" y="573"/>
                  </a:lnTo>
                  <a:lnTo>
                    <a:pt x="153" y="579"/>
                  </a:lnTo>
                  <a:lnTo>
                    <a:pt x="153" y="584"/>
                  </a:lnTo>
                  <a:lnTo>
                    <a:pt x="147" y="584"/>
                  </a:lnTo>
                  <a:lnTo>
                    <a:pt x="141" y="584"/>
                  </a:lnTo>
                  <a:lnTo>
                    <a:pt x="141" y="579"/>
                  </a:lnTo>
                  <a:lnTo>
                    <a:pt x="136" y="579"/>
                  </a:lnTo>
                  <a:lnTo>
                    <a:pt x="130" y="573"/>
                  </a:lnTo>
                  <a:lnTo>
                    <a:pt x="124" y="567"/>
                  </a:lnTo>
                  <a:lnTo>
                    <a:pt x="119" y="562"/>
                  </a:lnTo>
                  <a:lnTo>
                    <a:pt x="113" y="562"/>
                  </a:lnTo>
                  <a:lnTo>
                    <a:pt x="113" y="556"/>
                  </a:lnTo>
                  <a:lnTo>
                    <a:pt x="107" y="550"/>
                  </a:lnTo>
                  <a:lnTo>
                    <a:pt x="107" y="545"/>
                  </a:lnTo>
                  <a:lnTo>
                    <a:pt x="107" y="533"/>
                  </a:lnTo>
                  <a:lnTo>
                    <a:pt x="113" y="533"/>
                  </a:lnTo>
                  <a:lnTo>
                    <a:pt x="113" y="528"/>
                  </a:lnTo>
                  <a:lnTo>
                    <a:pt x="113" y="522"/>
                  </a:lnTo>
                  <a:lnTo>
                    <a:pt x="119" y="516"/>
                  </a:lnTo>
                  <a:lnTo>
                    <a:pt x="124" y="511"/>
                  </a:lnTo>
                  <a:lnTo>
                    <a:pt x="124" y="505"/>
                  </a:lnTo>
                  <a:lnTo>
                    <a:pt x="124" y="499"/>
                  </a:lnTo>
                  <a:lnTo>
                    <a:pt x="124" y="494"/>
                  </a:lnTo>
                  <a:lnTo>
                    <a:pt x="124" y="488"/>
                  </a:lnTo>
                  <a:lnTo>
                    <a:pt x="119" y="477"/>
                  </a:lnTo>
                  <a:lnTo>
                    <a:pt x="113" y="471"/>
                  </a:lnTo>
                  <a:lnTo>
                    <a:pt x="113" y="465"/>
                  </a:lnTo>
                  <a:lnTo>
                    <a:pt x="107" y="465"/>
                  </a:lnTo>
                  <a:lnTo>
                    <a:pt x="102" y="460"/>
                  </a:lnTo>
                  <a:lnTo>
                    <a:pt x="102" y="454"/>
                  </a:lnTo>
                  <a:lnTo>
                    <a:pt x="96" y="454"/>
                  </a:lnTo>
                  <a:lnTo>
                    <a:pt x="90" y="454"/>
                  </a:lnTo>
                  <a:lnTo>
                    <a:pt x="85" y="454"/>
                  </a:lnTo>
                  <a:lnTo>
                    <a:pt x="79" y="460"/>
                  </a:lnTo>
                  <a:lnTo>
                    <a:pt x="73" y="460"/>
                  </a:lnTo>
                  <a:lnTo>
                    <a:pt x="68" y="460"/>
                  </a:lnTo>
                  <a:lnTo>
                    <a:pt x="68" y="465"/>
                  </a:lnTo>
                  <a:lnTo>
                    <a:pt x="62" y="465"/>
                  </a:lnTo>
                  <a:lnTo>
                    <a:pt x="51" y="465"/>
                  </a:lnTo>
                  <a:lnTo>
                    <a:pt x="45" y="465"/>
                  </a:lnTo>
                  <a:lnTo>
                    <a:pt x="39" y="460"/>
                  </a:lnTo>
                  <a:lnTo>
                    <a:pt x="34" y="454"/>
                  </a:lnTo>
                  <a:lnTo>
                    <a:pt x="28" y="448"/>
                  </a:lnTo>
                  <a:lnTo>
                    <a:pt x="28" y="443"/>
                  </a:lnTo>
                  <a:lnTo>
                    <a:pt x="22" y="437"/>
                  </a:lnTo>
                  <a:lnTo>
                    <a:pt x="17" y="437"/>
                  </a:lnTo>
                  <a:lnTo>
                    <a:pt x="17" y="431"/>
                  </a:lnTo>
                  <a:lnTo>
                    <a:pt x="11" y="431"/>
                  </a:lnTo>
                  <a:lnTo>
                    <a:pt x="11" y="426"/>
                  </a:lnTo>
                  <a:lnTo>
                    <a:pt x="5" y="420"/>
                  </a:lnTo>
                  <a:lnTo>
                    <a:pt x="0" y="420"/>
                  </a:lnTo>
                  <a:lnTo>
                    <a:pt x="0" y="414"/>
                  </a:lnTo>
                  <a:lnTo>
                    <a:pt x="0" y="409"/>
                  </a:lnTo>
                  <a:lnTo>
                    <a:pt x="0" y="403"/>
                  </a:lnTo>
                  <a:close/>
                </a:path>
              </a:pathLst>
            </a:custGeom>
            <a:solidFill>
              <a:srgbClr val="00CC00"/>
            </a:solidFill>
            <a:ln w="25400">
              <a:solidFill>
                <a:srgbClr val="B4B4B4"/>
              </a:solidFill>
              <a:round/>
              <a:headEnd/>
              <a:tailEnd/>
            </a:ln>
          </p:spPr>
          <p:txBody>
            <a:bodyPr lIns="93296" tIns="46648" rIns="93296" bIns="46648"/>
            <a:lstStyle/>
            <a:p>
              <a:pPr>
                <a:defRPr/>
              </a:pPr>
              <a:endParaRPr lang="en-US" sz="1000" kern="0">
                <a:solidFill>
                  <a:prstClr val="black">
                    <a:lumMod val="65000"/>
                    <a:lumOff val="35000"/>
                  </a:prstClr>
                </a:solidFill>
              </a:endParaRPr>
            </a:p>
          </p:txBody>
        </p:sp>
        <p:sp>
          <p:nvSpPr>
            <p:cNvPr id="21" name="Freeform 20"/>
            <p:cNvSpPr>
              <a:spLocks/>
            </p:cNvSpPr>
            <p:nvPr/>
          </p:nvSpPr>
          <p:spPr bwMode="gray">
            <a:xfrm>
              <a:off x="2752350" y="3979501"/>
              <a:ext cx="834869" cy="1044182"/>
            </a:xfrm>
            <a:custGeom>
              <a:avLst/>
              <a:gdLst>
                <a:gd name="T0" fmla="*/ 2147483647 w 595"/>
                <a:gd name="T1" fmla="*/ 2147483647 h 783"/>
                <a:gd name="T2" fmla="*/ 2147483647 w 595"/>
                <a:gd name="T3" fmla="*/ 2147483647 h 783"/>
                <a:gd name="T4" fmla="*/ 2147483647 w 595"/>
                <a:gd name="T5" fmla="*/ 2147483647 h 783"/>
                <a:gd name="T6" fmla="*/ 2147483647 w 595"/>
                <a:gd name="T7" fmla="*/ 2147483647 h 783"/>
                <a:gd name="T8" fmla="*/ 2147483647 w 595"/>
                <a:gd name="T9" fmla="*/ 2147483647 h 783"/>
                <a:gd name="T10" fmla="*/ 2147483647 w 595"/>
                <a:gd name="T11" fmla="*/ 2147483647 h 783"/>
                <a:gd name="T12" fmla="*/ 2147483647 w 595"/>
                <a:gd name="T13" fmla="*/ 2147483647 h 783"/>
                <a:gd name="T14" fmla="*/ 2147483647 w 595"/>
                <a:gd name="T15" fmla="*/ 2147483647 h 783"/>
                <a:gd name="T16" fmla="*/ 2147483647 w 595"/>
                <a:gd name="T17" fmla="*/ 2147483647 h 783"/>
                <a:gd name="T18" fmla="*/ 2147483647 w 595"/>
                <a:gd name="T19" fmla="*/ 2147483647 h 783"/>
                <a:gd name="T20" fmla="*/ 2147483647 w 595"/>
                <a:gd name="T21" fmla="*/ 2147483647 h 783"/>
                <a:gd name="T22" fmla="*/ 2147483647 w 595"/>
                <a:gd name="T23" fmla="*/ 2147483647 h 783"/>
                <a:gd name="T24" fmla="*/ 2147483647 w 595"/>
                <a:gd name="T25" fmla="*/ 2147483647 h 783"/>
                <a:gd name="T26" fmla="*/ 2147483647 w 595"/>
                <a:gd name="T27" fmla="*/ 2147483647 h 783"/>
                <a:gd name="T28" fmla="*/ 2147483647 w 595"/>
                <a:gd name="T29" fmla="*/ 2147483647 h 783"/>
                <a:gd name="T30" fmla="*/ 2147483647 w 595"/>
                <a:gd name="T31" fmla="*/ 2147483647 h 783"/>
                <a:gd name="T32" fmla="*/ 2147483647 w 595"/>
                <a:gd name="T33" fmla="*/ 2147483647 h 783"/>
                <a:gd name="T34" fmla="*/ 2147483647 w 595"/>
                <a:gd name="T35" fmla="*/ 2147483647 h 783"/>
                <a:gd name="T36" fmla="*/ 2147483647 w 595"/>
                <a:gd name="T37" fmla="*/ 2147483647 h 783"/>
                <a:gd name="T38" fmla="*/ 2147483647 w 595"/>
                <a:gd name="T39" fmla="*/ 2147483647 h 783"/>
                <a:gd name="T40" fmla="*/ 2147483647 w 595"/>
                <a:gd name="T41" fmla="*/ 2147483647 h 783"/>
                <a:gd name="T42" fmla="*/ 2147483647 w 595"/>
                <a:gd name="T43" fmla="*/ 2147483647 h 783"/>
                <a:gd name="T44" fmla="*/ 2147483647 w 595"/>
                <a:gd name="T45" fmla="*/ 2147483647 h 783"/>
                <a:gd name="T46" fmla="*/ 2147483647 w 595"/>
                <a:gd name="T47" fmla="*/ 2147483647 h 783"/>
                <a:gd name="T48" fmla="*/ 2147483647 w 595"/>
                <a:gd name="T49" fmla="*/ 0 h 783"/>
                <a:gd name="T50" fmla="*/ 2147483647 w 595"/>
                <a:gd name="T51" fmla="*/ 2147483647 h 783"/>
                <a:gd name="T52" fmla="*/ 2147483647 w 595"/>
                <a:gd name="T53" fmla="*/ 2147483647 h 783"/>
                <a:gd name="T54" fmla="*/ 2147483647 w 595"/>
                <a:gd name="T55" fmla="*/ 2147483647 h 783"/>
                <a:gd name="T56" fmla="*/ 2147483647 w 595"/>
                <a:gd name="T57" fmla="*/ 2147483647 h 783"/>
                <a:gd name="T58" fmla="*/ 2147483647 w 595"/>
                <a:gd name="T59" fmla="*/ 2147483647 h 783"/>
                <a:gd name="T60" fmla="*/ 2147483647 w 595"/>
                <a:gd name="T61" fmla="*/ 2147483647 h 783"/>
                <a:gd name="T62" fmla="*/ 2147483647 w 595"/>
                <a:gd name="T63" fmla="*/ 2147483647 h 783"/>
                <a:gd name="T64" fmla="*/ 2147483647 w 595"/>
                <a:gd name="T65" fmla="*/ 2147483647 h 783"/>
                <a:gd name="T66" fmla="*/ 2147483647 w 595"/>
                <a:gd name="T67" fmla="*/ 2147483647 h 783"/>
                <a:gd name="T68" fmla="*/ 2147483647 w 595"/>
                <a:gd name="T69" fmla="*/ 2147483647 h 783"/>
                <a:gd name="T70" fmla="*/ 2147483647 w 595"/>
                <a:gd name="T71" fmla="*/ 2147483647 h 783"/>
                <a:gd name="T72" fmla="*/ 2147483647 w 595"/>
                <a:gd name="T73" fmla="*/ 2147483647 h 783"/>
                <a:gd name="T74" fmla="*/ 2147483647 w 595"/>
                <a:gd name="T75" fmla="*/ 2147483647 h 783"/>
                <a:gd name="T76" fmla="*/ 2147483647 w 595"/>
                <a:gd name="T77" fmla="*/ 2147483647 h 783"/>
                <a:gd name="T78" fmla="*/ 2147483647 w 595"/>
                <a:gd name="T79" fmla="*/ 2147483647 h 783"/>
                <a:gd name="T80" fmla="*/ 2147483647 w 595"/>
                <a:gd name="T81" fmla="*/ 2147483647 h 783"/>
                <a:gd name="T82" fmla="*/ 2147483647 w 595"/>
                <a:gd name="T83" fmla="*/ 2147483647 h 783"/>
                <a:gd name="T84" fmla="*/ 2147483647 w 595"/>
                <a:gd name="T85" fmla="*/ 2147483647 h 783"/>
                <a:gd name="T86" fmla="*/ 2147483647 w 595"/>
                <a:gd name="T87" fmla="*/ 2147483647 h 783"/>
                <a:gd name="T88" fmla="*/ 2147483647 w 595"/>
                <a:gd name="T89" fmla="*/ 2147483647 h 783"/>
                <a:gd name="T90" fmla="*/ 2147483647 w 595"/>
                <a:gd name="T91" fmla="*/ 2147483647 h 783"/>
                <a:gd name="T92" fmla="*/ 2147483647 w 595"/>
                <a:gd name="T93" fmla="*/ 2147483647 h 783"/>
                <a:gd name="T94" fmla="*/ 2147483647 w 595"/>
                <a:gd name="T95" fmla="*/ 2147483647 h 783"/>
                <a:gd name="T96" fmla="*/ 2147483647 w 595"/>
                <a:gd name="T97" fmla="*/ 2147483647 h 783"/>
                <a:gd name="T98" fmla="*/ 2147483647 w 595"/>
                <a:gd name="T99" fmla="*/ 2147483647 h 783"/>
                <a:gd name="T100" fmla="*/ 2147483647 w 595"/>
                <a:gd name="T101" fmla="*/ 2147483647 h 783"/>
                <a:gd name="T102" fmla="*/ 2147483647 w 595"/>
                <a:gd name="T103" fmla="*/ 2147483647 h 783"/>
                <a:gd name="T104" fmla="*/ 2147483647 w 595"/>
                <a:gd name="T105" fmla="*/ 2147483647 h 783"/>
                <a:gd name="T106" fmla="*/ 2147483647 w 595"/>
                <a:gd name="T107" fmla="*/ 2147483647 h 783"/>
                <a:gd name="T108" fmla="*/ 2147483647 w 595"/>
                <a:gd name="T109" fmla="*/ 2147483647 h 783"/>
                <a:gd name="T110" fmla="*/ 2147483647 w 595"/>
                <a:gd name="T111" fmla="*/ 2147483647 h 78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95"/>
                <a:gd name="T169" fmla="*/ 0 h 783"/>
                <a:gd name="T170" fmla="*/ 595 w 595"/>
                <a:gd name="T171" fmla="*/ 783 h 78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95" h="783">
                  <a:moveTo>
                    <a:pt x="164" y="726"/>
                  </a:moveTo>
                  <a:lnTo>
                    <a:pt x="159" y="709"/>
                  </a:lnTo>
                  <a:lnTo>
                    <a:pt x="142" y="692"/>
                  </a:lnTo>
                  <a:lnTo>
                    <a:pt x="142" y="686"/>
                  </a:lnTo>
                  <a:lnTo>
                    <a:pt x="130" y="681"/>
                  </a:lnTo>
                  <a:lnTo>
                    <a:pt x="119" y="675"/>
                  </a:lnTo>
                  <a:lnTo>
                    <a:pt x="113" y="675"/>
                  </a:lnTo>
                  <a:lnTo>
                    <a:pt x="102" y="664"/>
                  </a:lnTo>
                  <a:lnTo>
                    <a:pt x="96" y="647"/>
                  </a:lnTo>
                  <a:lnTo>
                    <a:pt x="85" y="630"/>
                  </a:lnTo>
                  <a:lnTo>
                    <a:pt x="85" y="624"/>
                  </a:lnTo>
                  <a:lnTo>
                    <a:pt x="85" y="613"/>
                  </a:lnTo>
                  <a:lnTo>
                    <a:pt x="91" y="601"/>
                  </a:lnTo>
                  <a:lnTo>
                    <a:pt x="91" y="595"/>
                  </a:lnTo>
                  <a:lnTo>
                    <a:pt x="85" y="584"/>
                  </a:lnTo>
                  <a:lnTo>
                    <a:pt x="74" y="578"/>
                  </a:lnTo>
                  <a:lnTo>
                    <a:pt x="62" y="578"/>
                  </a:lnTo>
                  <a:lnTo>
                    <a:pt x="57" y="578"/>
                  </a:lnTo>
                  <a:lnTo>
                    <a:pt x="45" y="578"/>
                  </a:lnTo>
                  <a:lnTo>
                    <a:pt x="34" y="573"/>
                  </a:lnTo>
                  <a:lnTo>
                    <a:pt x="28" y="573"/>
                  </a:lnTo>
                  <a:lnTo>
                    <a:pt x="23" y="567"/>
                  </a:lnTo>
                  <a:lnTo>
                    <a:pt x="17" y="567"/>
                  </a:lnTo>
                  <a:lnTo>
                    <a:pt x="6" y="561"/>
                  </a:lnTo>
                  <a:lnTo>
                    <a:pt x="6" y="556"/>
                  </a:lnTo>
                  <a:lnTo>
                    <a:pt x="0" y="556"/>
                  </a:lnTo>
                  <a:lnTo>
                    <a:pt x="0" y="550"/>
                  </a:lnTo>
                  <a:lnTo>
                    <a:pt x="6" y="550"/>
                  </a:lnTo>
                  <a:lnTo>
                    <a:pt x="11" y="550"/>
                  </a:lnTo>
                  <a:lnTo>
                    <a:pt x="11" y="544"/>
                  </a:lnTo>
                  <a:lnTo>
                    <a:pt x="6" y="539"/>
                  </a:lnTo>
                  <a:lnTo>
                    <a:pt x="11" y="533"/>
                  </a:lnTo>
                  <a:lnTo>
                    <a:pt x="17" y="527"/>
                  </a:lnTo>
                  <a:lnTo>
                    <a:pt x="17" y="533"/>
                  </a:lnTo>
                  <a:lnTo>
                    <a:pt x="28" y="539"/>
                  </a:lnTo>
                  <a:lnTo>
                    <a:pt x="34" y="539"/>
                  </a:lnTo>
                  <a:lnTo>
                    <a:pt x="40" y="527"/>
                  </a:lnTo>
                  <a:lnTo>
                    <a:pt x="34" y="522"/>
                  </a:lnTo>
                  <a:lnTo>
                    <a:pt x="34" y="516"/>
                  </a:lnTo>
                  <a:lnTo>
                    <a:pt x="34" y="510"/>
                  </a:lnTo>
                  <a:lnTo>
                    <a:pt x="28" y="499"/>
                  </a:lnTo>
                  <a:lnTo>
                    <a:pt x="23" y="488"/>
                  </a:lnTo>
                  <a:lnTo>
                    <a:pt x="23" y="482"/>
                  </a:lnTo>
                  <a:lnTo>
                    <a:pt x="23" y="476"/>
                  </a:lnTo>
                  <a:lnTo>
                    <a:pt x="23" y="471"/>
                  </a:lnTo>
                  <a:lnTo>
                    <a:pt x="17" y="454"/>
                  </a:lnTo>
                  <a:lnTo>
                    <a:pt x="17" y="442"/>
                  </a:lnTo>
                  <a:lnTo>
                    <a:pt x="17" y="431"/>
                  </a:lnTo>
                  <a:lnTo>
                    <a:pt x="17" y="425"/>
                  </a:lnTo>
                  <a:lnTo>
                    <a:pt x="11" y="420"/>
                  </a:lnTo>
                  <a:lnTo>
                    <a:pt x="17" y="414"/>
                  </a:lnTo>
                  <a:lnTo>
                    <a:pt x="23" y="403"/>
                  </a:lnTo>
                  <a:lnTo>
                    <a:pt x="28" y="403"/>
                  </a:lnTo>
                  <a:lnTo>
                    <a:pt x="28" y="397"/>
                  </a:lnTo>
                  <a:lnTo>
                    <a:pt x="34" y="391"/>
                  </a:lnTo>
                  <a:lnTo>
                    <a:pt x="34" y="380"/>
                  </a:lnTo>
                  <a:lnTo>
                    <a:pt x="28" y="374"/>
                  </a:lnTo>
                  <a:lnTo>
                    <a:pt x="34" y="369"/>
                  </a:lnTo>
                  <a:lnTo>
                    <a:pt x="45" y="363"/>
                  </a:lnTo>
                  <a:lnTo>
                    <a:pt x="45" y="346"/>
                  </a:lnTo>
                  <a:lnTo>
                    <a:pt x="51" y="335"/>
                  </a:lnTo>
                  <a:lnTo>
                    <a:pt x="51" y="329"/>
                  </a:lnTo>
                  <a:lnTo>
                    <a:pt x="45" y="323"/>
                  </a:lnTo>
                  <a:lnTo>
                    <a:pt x="45" y="318"/>
                  </a:lnTo>
                  <a:lnTo>
                    <a:pt x="45" y="312"/>
                  </a:lnTo>
                  <a:lnTo>
                    <a:pt x="57" y="306"/>
                  </a:lnTo>
                  <a:lnTo>
                    <a:pt x="74" y="306"/>
                  </a:lnTo>
                  <a:lnTo>
                    <a:pt x="74" y="318"/>
                  </a:lnTo>
                  <a:lnTo>
                    <a:pt x="79" y="312"/>
                  </a:lnTo>
                  <a:lnTo>
                    <a:pt x="85" y="312"/>
                  </a:lnTo>
                  <a:lnTo>
                    <a:pt x="91" y="312"/>
                  </a:lnTo>
                  <a:lnTo>
                    <a:pt x="91" y="318"/>
                  </a:lnTo>
                  <a:lnTo>
                    <a:pt x="96" y="318"/>
                  </a:lnTo>
                  <a:lnTo>
                    <a:pt x="102" y="329"/>
                  </a:lnTo>
                  <a:lnTo>
                    <a:pt x="108" y="335"/>
                  </a:lnTo>
                  <a:lnTo>
                    <a:pt x="113" y="335"/>
                  </a:lnTo>
                  <a:lnTo>
                    <a:pt x="119" y="335"/>
                  </a:lnTo>
                  <a:lnTo>
                    <a:pt x="125" y="335"/>
                  </a:lnTo>
                  <a:lnTo>
                    <a:pt x="125" y="329"/>
                  </a:lnTo>
                  <a:lnTo>
                    <a:pt x="130" y="329"/>
                  </a:lnTo>
                  <a:lnTo>
                    <a:pt x="130" y="323"/>
                  </a:lnTo>
                  <a:lnTo>
                    <a:pt x="142" y="318"/>
                  </a:lnTo>
                  <a:lnTo>
                    <a:pt x="147" y="312"/>
                  </a:lnTo>
                  <a:lnTo>
                    <a:pt x="153" y="306"/>
                  </a:lnTo>
                  <a:lnTo>
                    <a:pt x="159" y="306"/>
                  </a:lnTo>
                  <a:lnTo>
                    <a:pt x="159" y="312"/>
                  </a:lnTo>
                  <a:lnTo>
                    <a:pt x="170" y="318"/>
                  </a:lnTo>
                  <a:lnTo>
                    <a:pt x="170" y="312"/>
                  </a:lnTo>
                  <a:lnTo>
                    <a:pt x="170" y="306"/>
                  </a:lnTo>
                  <a:lnTo>
                    <a:pt x="176" y="306"/>
                  </a:lnTo>
                  <a:lnTo>
                    <a:pt x="176" y="301"/>
                  </a:lnTo>
                  <a:lnTo>
                    <a:pt x="176" y="295"/>
                  </a:lnTo>
                  <a:lnTo>
                    <a:pt x="176" y="289"/>
                  </a:lnTo>
                  <a:lnTo>
                    <a:pt x="170" y="284"/>
                  </a:lnTo>
                  <a:lnTo>
                    <a:pt x="170" y="278"/>
                  </a:lnTo>
                  <a:lnTo>
                    <a:pt x="170" y="272"/>
                  </a:lnTo>
                  <a:lnTo>
                    <a:pt x="170" y="267"/>
                  </a:lnTo>
                  <a:lnTo>
                    <a:pt x="176" y="261"/>
                  </a:lnTo>
                  <a:lnTo>
                    <a:pt x="181" y="261"/>
                  </a:lnTo>
                  <a:lnTo>
                    <a:pt x="181" y="255"/>
                  </a:lnTo>
                  <a:lnTo>
                    <a:pt x="187" y="250"/>
                  </a:lnTo>
                  <a:lnTo>
                    <a:pt x="193" y="244"/>
                  </a:lnTo>
                  <a:lnTo>
                    <a:pt x="198" y="244"/>
                  </a:lnTo>
                  <a:lnTo>
                    <a:pt x="198" y="238"/>
                  </a:lnTo>
                  <a:lnTo>
                    <a:pt x="204" y="238"/>
                  </a:lnTo>
                  <a:lnTo>
                    <a:pt x="204" y="233"/>
                  </a:lnTo>
                  <a:lnTo>
                    <a:pt x="210" y="233"/>
                  </a:lnTo>
                  <a:lnTo>
                    <a:pt x="210" y="227"/>
                  </a:lnTo>
                  <a:lnTo>
                    <a:pt x="210" y="221"/>
                  </a:lnTo>
                  <a:lnTo>
                    <a:pt x="215" y="221"/>
                  </a:lnTo>
                  <a:lnTo>
                    <a:pt x="215" y="216"/>
                  </a:lnTo>
                  <a:lnTo>
                    <a:pt x="221" y="210"/>
                  </a:lnTo>
                  <a:lnTo>
                    <a:pt x="227" y="210"/>
                  </a:lnTo>
                  <a:lnTo>
                    <a:pt x="232" y="210"/>
                  </a:lnTo>
                  <a:lnTo>
                    <a:pt x="238" y="210"/>
                  </a:lnTo>
                  <a:lnTo>
                    <a:pt x="244" y="210"/>
                  </a:lnTo>
                  <a:lnTo>
                    <a:pt x="249" y="210"/>
                  </a:lnTo>
                  <a:lnTo>
                    <a:pt x="255" y="204"/>
                  </a:lnTo>
                  <a:lnTo>
                    <a:pt x="255" y="199"/>
                  </a:lnTo>
                  <a:lnTo>
                    <a:pt x="255" y="193"/>
                  </a:lnTo>
                  <a:lnTo>
                    <a:pt x="249" y="193"/>
                  </a:lnTo>
                  <a:lnTo>
                    <a:pt x="249" y="187"/>
                  </a:lnTo>
                  <a:lnTo>
                    <a:pt x="244" y="187"/>
                  </a:lnTo>
                  <a:lnTo>
                    <a:pt x="244" y="182"/>
                  </a:lnTo>
                  <a:lnTo>
                    <a:pt x="238" y="182"/>
                  </a:lnTo>
                  <a:lnTo>
                    <a:pt x="238" y="176"/>
                  </a:lnTo>
                  <a:lnTo>
                    <a:pt x="238" y="170"/>
                  </a:lnTo>
                  <a:lnTo>
                    <a:pt x="238" y="165"/>
                  </a:lnTo>
                  <a:lnTo>
                    <a:pt x="232" y="165"/>
                  </a:lnTo>
                  <a:lnTo>
                    <a:pt x="232" y="159"/>
                  </a:lnTo>
                  <a:lnTo>
                    <a:pt x="227" y="159"/>
                  </a:lnTo>
                  <a:lnTo>
                    <a:pt x="227" y="153"/>
                  </a:lnTo>
                  <a:lnTo>
                    <a:pt x="227" y="148"/>
                  </a:lnTo>
                  <a:lnTo>
                    <a:pt x="227" y="142"/>
                  </a:lnTo>
                  <a:lnTo>
                    <a:pt x="221" y="136"/>
                  </a:lnTo>
                  <a:lnTo>
                    <a:pt x="215" y="131"/>
                  </a:lnTo>
                  <a:lnTo>
                    <a:pt x="215" y="125"/>
                  </a:lnTo>
                  <a:lnTo>
                    <a:pt x="198" y="114"/>
                  </a:lnTo>
                  <a:lnTo>
                    <a:pt x="198" y="108"/>
                  </a:lnTo>
                  <a:lnTo>
                    <a:pt x="193" y="102"/>
                  </a:lnTo>
                  <a:lnTo>
                    <a:pt x="187" y="97"/>
                  </a:lnTo>
                  <a:lnTo>
                    <a:pt x="193" y="97"/>
                  </a:lnTo>
                  <a:lnTo>
                    <a:pt x="198" y="97"/>
                  </a:lnTo>
                  <a:lnTo>
                    <a:pt x="198" y="91"/>
                  </a:lnTo>
                  <a:lnTo>
                    <a:pt x="210" y="85"/>
                  </a:lnTo>
                  <a:lnTo>
                    <a:pt x="210" y="80"/>
                  </a:lnTo>
                  <a:lnTo>
                    <a:pt x="215" y="80"/>
                  </a:lnTo>
                  <a:lnTo>
                    <a:pt x="221" y="68"/>
                  </a:lnTo>
                  <a:lnTo>
                    <a:pt x="227" y="68"/>
                  </a:lnTo>
                  <a:lnTo>
                    <a:pt x="232" y="68"/>
                  </a:lnTo>
                  <a:lnTo>
                    <a:pt x="244" y="63"/>
                  </a:lnTo>
                  <a:lnTo>
                    <a:pt x="255" y="63"/>
                  </a:lnTo>
                  <a:lnTo>
                    <a:pt x="266" y="63"/>
                  </a:lnTo>
                  <a:lnTo>
                    <a:pt x="272" y="63"/>
                  </a:lnTo>
                  <a:lnTo>
                    <a:pt x="272" y="68"/>
                  </a:lnTo>
                  <a:lnTo>
                    <a:pt x="283" y="68"/>
                  </a:lnTo>
                  <a:lnTo>
                    <a:pt x="289" y="63"/>
                  </a:lnTo>
                  <a:lnTo>
                    <a:pt x="295" y="57"/>
                  </a:lnTo>
                  <a:lnTo>
                    <a:pt x="300" y="57"/>
                  </a:lnTo>
                  <a:lnTo>
                    <a:pt x="300" y="51"/>
                  </a:lnTo>
                  <a:lnTo>
                    <a:pt x="300" y="46"/>
                  </a:lnTo>
                  <a:lnTo>
                    <a:pt x="300" y="40"/>
                  </a:lnTo>
                  <a:lnTo>
                    <a:pt x="300" y="34"/>
                  </a:lnTo>
                  <a:lnTo>
                    <a:pt x="295" y="29"/>
                  </a:lnTo>
                  <a:lnTo>
                    <a:pt x="289" y="29"/>
                  </a:lnTo>
                  <a:lnTo>
                    <a:pt x="283" y="29"/>
                  </a:lnTo>
                  <a:lnTo>
                    <a:pt x="272" y="29"/>
                  </a:lnTo>
                  <a:lnTo>
                    <a:pt x="272" y="23"/>
                  </a:lnTo>
                  <a:lnTo>
                    <a:pt x="278" y="17"/>
                  </a:lnTo>
                  <a:lnTo>
                    <a:pt x="283" y="17"/>
                  </a:lnTo>
                  <a:lnTo>
                    <a:pt x="283" y="12"/>
                  </a:lnTo>
                  <a:lnTo>
                    <a:pt x="289" y="12"/>
                  </a:lnTo>
                  <a:lnTo>
                    <a:pt x="295" y="6"/>
                  </a:lnTo>
                  <a:lnTo>
                    <a:pt x="295" y="0"/>
                  </a:lnTo>
                  <a:lnTo>
                    <a:pt x="300" y="0"/>
                  </a:lnTo>
                  <a:lnTo>
                    <a:pt x="306" y="0"/>
                  </a:lnTo>
                  <a:lnTo>
                    <a:pt x="312" y="6"/>
                  </a:lnTo>
                  <a:lnTo>
                    <a:pt x="317" y="6"/>
                  </a:lnTo>
                  <a:lnTo>
                    <a:pt x="329" y="6"/>
                  </a:lnTo>
                  <a:lnTo>
                    <a:pt x="334" y="6"/>
                  </a:lnTo>
                  <a:lnTo>
                    <a:pt x="346" y="12"/>
                  </a:lnTo>
                  <a:lnTo>
                    <a:pt x="351" y="12"/>
                  </a:lnTo>
                  <a:lnTo>
                    <a:pt x="357" y="12"/>
                  </a:lnTo>
                  <a:lnTo>
                    <a:pt x="363" y="12"/>
                  </a:lnTo>
                  <a:lnTo>
                    <a:pt x="374" y="17"/>
                  </a:lnTo>
                  <a:lnTo>
                    <a:pt x="380" y="17"/>
                  </a:lnTo>
                  <a:lnTo>
                    <a:pt x="391" y="23"/>
                  </a:lnTo>
                  <a:lnTo>
                    <a:pt x="397" y="23"/>
                  </a:lnTo>
                  <a:lnTo>
                    <a:pt x="408" y="23"/>
                  </a:lnTo>
                  <a:lnTo>
                    <a:pt x="414" y="23"/>
                  </a:lnTo>
                  <a:lnTo>
                    <a:pt x="419" y="29"/>
                  </a:lnTo>
                  <a:lnTo>
                    <a:pt x="425" y="29"/>
                  </a:lnTo>
                  <a:lnTo>
                    <a:pt x="431" y="29"/>
                  </a:lnTo>
                  <a:lnTo>
                    <a:pt x="431" y="34"/>
                  </a:lnTo>
                  <a:lnTo>
                    <a:pt x="425" y="40"/>
                  </a:lnTo>
                  <a:lnTo>
                    <a:pt x="425" y="46"/>
                  </a:lnTo>
                  <a:lnTo>
                    <a:pt x="425" y="51"/>
                  </a:lnTo>
                  <a:lnTo>
                    <a:pt x="425" y="57"/>
                  </a:lnTo>
                  <a:lnTo>
                    <a:pt x="425" y="68"/>
                  </a:lnTo>
                  <a:lnTo>
                    <a:pt x="431" y="68"/>
                  </a:lnTo>
                  <a:lnTo>
                    <a:pt x="436" y="80"/>
                  </a:lnTo>
                  <a:lnTo>
                    <a:pt x="442" y="80"/>
                  </a:lnTo>
                  <a:lnTo>
                    <a:pt x="448" y="80"/>
                  </a:lnTo>
                  <a:lnTo>
                    <a:pt x="448" y="85"/>
                  </a:lnTo>
                  <a:lnTo>
                    <a:pt x="453" y="85"/>
                  </a:lnTo>
                  <a:lnTo>
                    <a:pt x="453" y="91"/>
                  </a:lnTo>
                  <a:lnTo>
                    <a:pt x="459" y="91"/>
                  </a:lnTo>
                  <a:lnTo>
                    <a:pt x="465" y="91"/>
                  </a:lnTo>
                  <a:lnTo>
                    <a:pt x="470" y="85"/>
                  </a:lnTo>
                  <a:lnTo>
                    <a:pt x="476" y="85"/>
                  </a:lnTo>
                  <a:lnTo>
                    <a:pt x="476" y="80"/>
                  </a:lnTo>
                  <a:lnTo>
                    <a:pt x="482" y="80"/>
                  </a:lnTo>
                  <a:lnTo>
                    <a:pt x="487" y="80"/>
                  </a:lnTo>
                  <a:lnTo>
                    <a:pt x="493" y="74"/>
                  </a:lnTo>
                  <a:lnTo>
                    <a:pt x="504" y="74"/>
                  </a:lnTo>
                  <a:lnTo>
                    <a:pt x="510" y="74"/>
                  </a:lnTo>
                  <a:lnTo>
                    <a:pt x="521" y="74"/>
                  </a:lnTo>
                  <a:lnTo>
                    <a:pt x="527" y="74"/>
                  </a:lnTo>
                  <a:lnTo>
                    <a:pt x="533" y="74"/>
                  </a:lnTo>
                  <a:lnTo>
                    <a:pt x="538" y="74"/>
                  </a:lnTo>
                  <a:lnTo>
                    <a:pt x="544" y="80"/>
                  </a:lnTo>
                  <a:lnTo>
                    <a:pt x="550" y="80"/>
                  </a:lnTo>
                  <a:lnTo>
                    <a:pt x="550" y="85"/>
                  </a:lnTo>
                  <a:lnTo>
                    <a:pt x="550" y="91"/>
                  </a:lnTo>
                  <a:lnTo>
                    <a:pt x="550" y="97"/>
                  </a:lnTo>
                  <a:lnTo>
                    <a:pt x="555" y="97"/>
                  </a:lnTo>
                  <a:lnTo>
                    <a:pt x="555" y="102"/>
                  </a:lnTo>
                  <a:lnTo>
                    <a:pt x="561" y="108"/>
                  </a:lnTo>
                  <a:lnTo>
                    <a:pt x="561" y="114"/>
                  </a:lnTo>
                  <a:lnTo>
                    <a:pt x="567" y="114"/>
                  </a:lnTo>
                  <a:lnTo>
                    <a:pt x="572" y="119"/>
                  </a:lnTo>
                  <a:lnTo>
                    <a:pt x="572" y="125"/>
                  </a:lnTo>
                  <a:lnTo>
                    <a:pt x="584" y="125"/>
                  </a:lnTo>
                  <a:lnTo>
                    <a:pt x="589" y="131"/>
                  </a:lnTo>
                  <a:lnTo>
                    <a:pt x="589" y="136"/>
                  </a:lnTo>
                  <a:lnTo>
                    <a:pt x="595" y="136"/>
                  </a:lnTo>
                  <a:lnTo>
                    <a:pt x="595" y="142"/>
                  </a:lnTo>
                  <a:lnTo>
                    <a:pt x="595" y="159"/>
                  </a:lnTo>
                  <a:lnTo>
                    <a:pt x="584" y="153"/>
                  </a:lnTo>
                  <a:lnTo>
                    <a:pt x="584" y="159"/>
                  </a:lnTo>
                  <a:lnTo>
                    <a:pt x="584" y="165"/>
                  </a:lnTo>
                  <a:lnTo>
                    <a:pt x="578" y="165"/>
                  </a:lnTo>
                  <a:lnTo>
                    <a:pt x="584" y="170"/>
                  </a:lnTo>
                  <a:lnTo>
                    <a:pt x="578" y="170"/>
                  </a:lnTo>
                  <a:lnTo>
                    <a:pt x="578" y="176"/>
                  </a:lnTo>
                  <a:lnTo>
                    <a:pt x="578" y="182"/>
                  </a:lnTo>
                  <a:lnTo>
                    <a:pt x="578" y="187"/>
                  </a:lnTo>
                  <a:lnTo>
                    <a:pt x="572" y="204"/>
                  </a:lnTo>
                  <a:lnTo>
                    <a:pt x="567" y="204"/>
                  </a:lnTo>
                  <a:lnTo>
                    <a:pt x="555" y="199"/>
                  </a:lnTo>
                  <a:lnTo>
                    <a:pt x="555" y="193"/>
                  </a:lnTo>
                  <a:lnTo>
                    <a:pt x="550" y="193"/>
                  </a:lnTo>
                  <a:lnTo>
                    <a:pt x="544" y="193"/>
                  </a:lnTo>
                  <a:lnTo>
                    <a:pt x="538" y="193"/>
                  </a:lnTo>
                  <a:lnTo>
                    <a:pt x="538" y="199"/>
                  </a:lnTo>
                  <a:lnTo>
                    <a:pt x="538" y="204"/>
                  </a:lnTo>
                  <a:lnTo>
                    <a:pt x="538" y="210"/>
                  </a:lnTo>
                  <a:lnTo>
                    <a:pt x="538" y="216"/>
                  </a:lnTo>
                  <a:lnTo>
                    <a:pt x="533" y="216"/>
                  </a:lnTo>
                  <a:lnTo>
                    <a:pt x="527" y="221"/>
                  </a:lnTo>
                  <a:lnTo>
                    <a:pt x="521" y="233"/>
                  </a:lnTo>
                  <a:lnTo>
                    <a:pt x="521" y="238"/>
                  </a:lnTo>
                  <a:lnTo>
                    <a:pt x="510" y="250"/>
                  </a:lnTo>
                  <a:lnTo>
                    <a:pt x="504" y="250"/>
                  </a:lnTo>
                  <a:lnTo>
                    <a:pt x="499" y="255"/>
                  </a:lnTo>
                  <a:lnTo>
                    <a:pt x="493" y="255"/>
                  </a:lnTo>
                  <a:lnTo>
                    <a:pt x="482" y="261"/>
                  </a:lnTo>
                  <a:lnTo>
                    <a:pt x="482" y="267"/>
                  </a:lnTo>
                  <a:lnTo>
                    <a:pt x="476" y="267"/>
                  </a:lnTo>
                  <a:lnTo>
                    <a:pt x="476" y="278"/>
                  </a:lnTo>
                  <a:lnTo>
                    <a:pt x="470" y="284"/>
                  </a:lnTo>
                  <a:lnTo>
                    <a:pt x="465" y="289"/>
                  </a:lnTo>
                  <a:lnTo>
                    <a:pt x="453" y="301"/>
                  </a:lnTo>
                  <a:lnTo>
                    <a:pt x="442" y="306"/>
                  </a:lnTo>
                  <a:lnTo>
                    <a:pt x="442" y="312"/>
                  </a:lnTo>
                  <a:lnTo>
                    <a:pt x="431" y="318"/>
                  </a:lnTo>
                  <a:lnTo>
                    <a:pt x="419" y="329"/>
                  </a:lnTo>
                  <a:lnTo>
                    <a:pt x="414" y="335"/>
                  </a:lnTo>
                  <a:lnTo>
                    <a:pt x="408" y="335"/>
                  </a:lnTo>
                  <a:lnTo>
                    <a:pt x="408" y="340"/>
                  </a:lnTo>
                  <a:lnTo>
                    <a:pt x="391" y="352"/>
                  </a:lnTo>
                  <a:lnTo>
                    <a:pt x="385" y="352"/>
                  </a:lnTo>
                  <a:lnTo>
                    <a:pt x="385" y="357"/>
                  </a:lnTo>
                  <a:lnTo>
                    <a:pt x="380" y="363"/>
                  </a:lnTo>
                  <a:lnTo>
                    <a:pt x="368" y="369"/>
                  </a:lnTo>
                  <a:lnTo>
                    <a:pt x="363" y="374"/>
                  </a:lnTo>
                  <a:lnTo>
                    <a:pt x="363" y="380"/>
                  </a:lnTo>
                  <a:lnTo>
                    <a:pt x="363" y="386"/>
                  </a:lnTo>
                  <a:lnTo>
                    <a:pt x="368" y="386"/>
                  </a:lnTo>
                  <a:lnTo>
                    <a:pt x="368" y="391"/>
                  </a:lnTo>
                  <a:lnTo>
                    <a:pt x="363" y="397"/>
                  </a:lnTo>
                  <a:lnTo>
                    <a:pt x="368" y="403"/>
                  </a:lnTo>
                  <a:lnTo>
                    <a:pt x="363" y="408"/>
                  </a:lnTo>
                  <a:lnTo>
                    <a:pt x="357" y="420"/>
                  </a:lnTo>
                  <a:lnTo>
                    <a:pt x="351" y="414"/>
                  </a:lnTo>
                  <a:lnTo>
                    <a:pt x="351" y="420"/>
                  </a:lnTo>
                  <a:lnTo>
                    <a:pt x="351" y="425"/>
                  </a:lnTo>
                  <a:lnTo>
                    <a:pt x="357" y="431"/>
                  </a:lnTo>
                  <a:lnTo>
                    <a:pt x="363" y="437"/>
                  </a:lnTo>
                  <a:lnTo>
                    <a:pt x="368" y="442"/>
                  </a:lnTo>
                  <a:lnTo>
                    <a:pt x="374" y="448"/>
                  </a:lnTo>
                  <a:lnTo>
                    <a:pt x="380" y="454"/>
                  </a:lnTo>
                  <a:lnTo>
                    <a:pt x="385" y="459"/>
                  </a:lnTo>
                  <a:lnTo>
                    <a:pt x="385" y="465"/>
                  </a:lnTo>
                  <a:lnTo>
                    <a:pt x="385" y="471"/>
                  </a:lnTo>
                  <a:lnTo>
                    <a:pt x="380" y="471"/>
                  </a:lnTo>
                  <a:lnTo>
                    <a:pt x="380" y="476"/>
                  </a:lnTo>
                  <a:lnTo>
                    <a:pt x="374" y="488"/>
                  </a:lnTo>
                  <a:lnTo>
                    <a:pt x="368" y="488"/>
                  </a:lnTo>
                  <a:lnTo>
                    <a:pt x="368" y="493"/>
                  </a:lnTo>
                  <a:lnTo>
                    <a:pt x="368" y="499"/>
                  </a:lnTo>
                  <a:lnTo>
                    <a:pt x="368" y="505"/>
                  </a:lnTo>
                  <a:lnTo>
                    <a:pt x="363" y="510"/>
                  </a:lnTo>
                  <a:lnTo>
                    <a:pt x="357" y="516"/>
                  </a:lnTo>
                  <a:lnTo>
                    <a:pt x="363" y="522"/>
                  </a:lnTo>
                  <a:lnTo>
                    <a:pt x="363" y="527"/>
                  </a:lnTo>
                  <a:lnTo>
                    <a:pt x="363" y="533"/>
                  </a:lnTo>
                  <a:lnTo>
                    <a:pt x="357" y="539"/>
                  </a:lnTo>
                  <a:lnTo>
                    <a:pt x="357" y="550"/>
                  </a:lnTo>
                  <a:lnTo>
                    <a:pt x="351" y="556"/>
                  </a:lnTo>
                  <a:lnTo>
                    <a:pt x="351" y="567"/>
                  </a:lnTo>
                  <a:lnTo>
                    <a:pt x="351" y="578"/>
                  </a:lnTo>
                  <a:lnTo>
                    <a:pt x="351" y="584"/>
                  </a:lnTo>
                  <a:lnTo>
                    <a:pt x="351" y="590"/>
                  </a:lnTo>
                  <a:lnTo>
                    <a:pt x="351" y="595"/>
                  </a:lnTo>
                  <a:lnTo>
                    <a:pt x="351" y="601"/>
                  </a:lnTo>
                  <a:lnTo>
                    <a:pt x="351" y="607"/>
                  </a:lnTo>
                  <a:lnTo>
                    <a:pt x="346" y="613"/>
                  </a:lnTo>
                  <a:lnTo>
                    <a:pt x="346" y="618"/>
                  </a:lnTo>
                  <a:lnTo>
                    <a:pt x="340" y="624"/>
                  </a:lnTo>
                  <a:lnTo>
                    <a:pt x="340" y="630"/>
                  </a:lnTo>
                  <a:lnTo>
                    <a:pt x="334" y="630"/>
                  </a:lnTo>
                  <a:lnTo>
                    <a:pt x="329" y="635"/>
                  </a:lnTo>
                  <a:lnTo>
                    <a:pt x="329" y="641"/>
                  </a:lnTo>
                  <a:lnTo>
                    <a:pt x="323" y="641"/>
                  </a:lnTo>
                  <a:lnTo>
                    <a:pt x="317" y="647"/>
                  </a:lnTo>
                  <a:lnTo>
                    <a:pt x="317" y="652"/>
                  </a:lnTo>
                  <a:lnTo>
                    <a:pt x="312" y="658"/>
                  </a:lnTo>
                  <a:lnTo>
                    <a:pt x="317" y="658"/>
                  </a:lnTo>
                  <a:lnTo>
                    <a:pt x="312" y="658"/>
                  </a:lnTo>
                  <a:lnTo>
                    <a:pt x="312" y="664"/>
                  </a:lnTo>
                  <a:lnTo>
                    <a:pt x="306" y="669"/>
                  </a:lnTo>
                  <a:lnTo>
                    <a:pt x="306" y="675"/>
                  </a:lnTo>
                  <a:lnTo>
                    <a:pt x="312" y="675"/>
                  </a:lnTo>
                  <a:lnTo>
                    <a:pt x="306" y="675"/>
                  </a:lnTo>
                  <a:lnTo>
                    <a:pt x="306" y="681"/>
                  </a:lnTo>
                  <a:lnTo>
                    <a:pt x="300" y="686"/>
                  </a:lnTo>
                  <a:lnTo>
                    <a:pt x="295" y="692"/>
                  </a:lnTo>
                  <a:lnTo>
                    <a:pt x="295" y="698"/>
                  </a:lnTo>
                  <a:lnTo>
                    <a:pt x="295" y="703"/>
                  </a:lnTo>
                  <a:lnTo>
                    <a:pt x="283" y="703"/>
                  </a:lnTo>
                  <a:lnTo>
                    <a:pt x="278" y="709"/>
                  </a:lnTo>
                  <a:lnTo>
                    <a:pt x="278" y="715"/>
                  </a:lnTo>
                  <a:lnTo>
                    <a:pt x="278" y="720"/>
                  </a:lnTo>
                  <a:lnTo>
                    <a:pt x="283" y="726"/>
                  </a:lnTo>
                  <a:lnTo>
                    <a:pt x="283" y="732"/>
                  </a:lnTo>
                  <a:lnTo>
                    <a:pt x="278" y="737"/>
                  </a:lnTo>
                  <a:lnTo>
                    <a:pt x="272" y="743"/>
                  </a:lnTo>
                  <a:lnTo>
                    <a:pt x="266" y="743"/>
                  </a:lnTo>
                  <a:lnTo>
                    <a:pt x="266" y="737"/>
                  </a:lnTo>
                  <a:lnTo>
                    <a:pt x="261" y="737"/>
                  </a:lnTo>
                  <a:lnTo>
                    <a:pt x="255" y="743"/>
                  </a:lnTo>
                  <a:lnTo>
                    <a:pt x="249" y="754"/>
                  </a:lnTo>
                  <a:lnTo>
                    <a:pt x="249" y="760"/>
                  </a:lnTo>
                  <a:lnTo>
                    <a:pt x="249" y="771"/>
                  </a:lnTo>
                  <a:lnTo>
                    <a:pt x="249" y="777"/>
                  </a:lnTo>
                  <a:lnTo>
                    <a:pt x="244" y="777"/>
                  </a:lnTo>
                  <a:lnTo>
                    <a:pt x="244" y="783"/>
                  </a:lnTo>
                  <a:lnTo>
                    <a:pt x="238" y="783"/>
                  </a:lnTo>
                  <a:lnTo>
                    <a:pt x="232" y="783"/>
                  </a:lnTo>
                  <a:lnTo>
                    <a:pt x="232" y="777"/>
                  </a:lnTo>
                  <a:lnTo>
                    <a:pt x="227" y="777"/>
                  </a:lnTo>
                  <a:lnTo>
                    <a:pt x="227" y="771"/>
                  </a:lnTo>
                  <a:lnTo>
                    <a:pt x="227" y="766"/>
                  </a:lnTo>
                  <a:lnTo>
                    <a:pt x="232" y="771"/>
                  </a:lnTo>
                  <a:lnTo>
                    <a:pt x="232" y="766"/>
                  </a:lnTo>
                  <a:lnTo>
                    <a:pt x="227" y="760"/>
                  </a:lnTo>
                  <a:lnTo>
                    <a:pt x="221" y="766"/>
                  </a:lnTo>
                  <a:lnTo>
                    <a:pt x="215" y="766"/>
                  </a:lnTo>
                  <a:lnTo>
                    <a:pt x="215" y="771"/>
                  </a:lnTo>
                  <a:lnTo>
                    <a:pt x="210" y="771"/>
                  </a:lnTo>
                  <a:lnTo>
                    <a:pt x="210" y="766"/>
                  </a:lnTo>
                  <a:lnTo>
                    <a:pt x="204" y="766"/>
                  </a:lnTo>
                  <a:lnTo>
                    <a:pt x="198" y="760"/>
                  </a:lnTo>
                  <a:lnTo>
                    <a:pt x="204" y="754"/>
                  </a:lnTo>
                  <a:lnTo>
                    <a:pt x="204" y="749"/>
                  </a:lnTo>
                  <a:lnTo>
                    <a:pt x="198" y="749"/>
                  </a:lnTo>
                  <a:lnTo>
                    <a:pt x="193" y="749"/>
                  </a:lnTo>
                  <a:lnTo>
                    <a:pt x="187" y="743"/>
                  </a:lnTo>
                  <a:lnTo>
                    <a:pt x="181" y="737"/>
                  </a:lnTo>
                  <a:lnTo>
                    <a:pt x="181" y="732"/>
                  </a:lnTo>
                  <a:lnTo>
                    <a:pt x="176" y="732"/>
                  </a:lnTo>
                  <a:lnTo>
                    <a:pt x="170" y="726"/>
                  </a:lnTo>
                  <a:lnTo>
                    <a:pt x="164" y="726"/>
                  </a:lnTo>
                  <a:close/>
                </a:path>
              </a:pathLst>
            </a:custGeom>
            <a:solidFill>
              <a:srgbClr val="FFC000"/>
            </a:solidFill>
            <a:ln w="25400">
              <a:solidFill>
                <a:srgbClr val="B4B4B4"/>
              </a:solidFill>
              <a:round/>
              <a:headEnd/>
              <a:tailEnd/>
            </a:ln>
          </p:spPr>
          <p:txBody>
            <a:bodyPr lIns="93296" tIns="46648" rIns="93296" bIns="46648"/>
            <a:lstStyle/>
            <a:p>
              <a:pPr>
                <a:defRPr/>
              </a:pPr>
              <a:endParaRPr lang="en-US" sz="1000" kern="0">
                <a:solidFill>
                  <a:prstClr val="black">
                    <a:lumMod val="65000"/>
                    <a:lumOff val="35000"/>
                  </a:prstClr>
                </a:solidFill>
              </a:endParaRPr>
            </a:p>
          </p:txBody>
        </p:sp>
        <p:sp>
          <p:nvSpPr>
            <p:cNvPr id="22" name="Freeform 21"/>
            <p:cNvSpPr>
              <a:spLocks/>
            </p:cNvSpPr>
            <p:nvPr/>
          </p:nvSpPr>
          <p:spPr bwMode="gray">
            <a:xfrm>
              <a:off x="1326898" y="4160765"/>
              <a:ext cx="883189" cy="711014"/>
            </a:xfrm>
            <a:custGeom>
              <a:avLst/>
              <a:gdLst>
                <a:gd name="T0" fmla="*/ 2147483647 w 629"/>
                <a:gd name="T1" fmla="*/ 2147483647 h 533"/>
                <a:gd name="T2" fmla="*/ 2147483647 w 629"/>
                <a:gd name="T3" fmla="*/ 2147483647 h 533"/>
                <a:gd name="T4" fmla="*/ 2147483647 w 629"/>
                <a:gd name="T5" fmla="*/ 2147483647 h 533"/>
                <a:gd name="T6" fmla="*/ 2147483647 w 629"/>
                <a:gd name="T7" fmla="*/ 2147483647 h 533"/>
                <a:gd name="T8" fmla="*/ 2147483647 w 629"/>
                <a:gd name="T9" fmla="*/ 2147483647 h 533"/>
                <a:gd name="T10" fmla="*/ 2147483647 w 629"/>
                <a:gd name="T11" fmla="*/ 2147483647 h 533"/>
                <a:gd name="T12" fmla="*/ 2147483647 w 629"/>
                <a:gd name="T13" fmla="*/ 2147483647 h 533"/>
                <a:gd name="T14" fmla="*/ 2147483647 w 629"/>
                <a:gd name="T15" fmla="*/ 2147483647 h 533"/>
                <a:gd name="T16" fmla="*/ 2147483647 w 629"/>
                <a:gd name="T17" fmla="*/ 2147483647 h 533"/>
                <a:gd name="T18" fmla="*/ 2147483647 w 629"/>
                <a:gd name="T19" fmla="*/ 2147483647 h 533"/>
                <a:gd name="T20" fmla="*/ 2147483647 w 629"/>
                <a:gd name="T21" fmla="*/ 2147483647 h 533"/>
                <a:gd name="T22" fmla="*/ 2147483647 w 629"/>
                <a:gd name="T23" fmla="*/ 2147483647 h 533"/>
                <a:gd name="T24" fmla="*/ 2147483647 w 629"/>
                <a:gd name="T25" fmla="*/ 2147483647 h 533"/>
                <a:gd name="T26" fmla="*/ 2147483647 w 629"/>
                <a:gd name="T27" fmla="*/ 2147483647 h 533"/>
                <a:gd name="T28" fmla="*/ 2147483647 w 629"/>
                <a:gd name="T29" fmla="*/ 2147483647 h 533"/>
                <a:gd name="T30" fmla="*/ 2147483647 w 629"/>
                <a:gd name="T31" fmla="*/ 2147483647 h 533"/>
                <a:gd name="T32" fmla="*/ 2147483647 w 629"/>
                <a:gd name="T33" fmla="*/ 2147483647 h 533"/>
                <a:gd name="T34" fmla="*/ 2147483647 w 629"/>
                <a:gd name="T35" fmla="*/ 2147483647 h 533"/>
                <a:gd name="T36" fmla="*/ 2147483647 w 629"/>
                <a:gd name="T37" fmla="*/ 2147483647 h 533"/>
                <a:gd name="T38" fmla="*/ 2147483647 w 629"/>
                <a:gd name="T39" fmla="*/ 2147483647 h 533"/>
                <a:gd name="T40" fmla="*/ 2147483647 w 629"/>
                <a:gd name="T41" fmla="*/ 2147483647 h 533"/>
                <a:gd name="T42" fmla="*/ 2147483647 w 629"/>
                <a:gd name="T43" fmla="*/ 2147483647 h 533"/>
                <a:gd name="T44" fmla="*/ 2147483647 w 629"/>
                <a:gd name="T45" fmla="*/ 2147483647 h 533"/>
                <a:gd name="T46" fmla="*/ 2147483647 w 629"/>
                <a:gd name="T47" fmla="*/ 2147483647 h 533"/>
                <a:gd name="T48" fmla="*/ 2147483647 w 629"/>
                <a:gd name="T49" fmla="*/ 2147483647 h 533"/>
                <a:gd name="T50" fmla="*/ 2147483647 w 629"/>
                <a:gd name="T51" fmla="*/ 2147483647 h 533"/>
                <a:gd name="T52" fmla="*/ 2147483647 w 629"/>
                <a:gd name="T53" fmla="*/ 2147483647 h 533"/>
                <a:gd name="T54" fmla="*/ 2147483647 w 629"/>
                <a:gd name="T55" fmla="*/ 2147483647 h 533"/>
                <a:gd name="T56" fmla="*/ 2147483647 w 629"/>
                <a:gd name="T57" fmla="*/ 2147483647 h 533"/>
                <a:gd name="T58" fmla="*/ 2147483647 w 629"/>
                <a:gd name="T59" fmla="*/ 2147483647 h 533"/>
                <a:gd name="T60" fmla="*/ 2147483647 w 629"/>
                <a:gd name="T61" fmla="*/ 2147483647 h 533"/>
                <a:gd name="T62" fmla="*/ 2147483647 w 629"/>
                <a:gd name="T63" fmla="*/ 2147483647 h 533"/>
                <a:gd name="T64" fmla="*/ 2147483647 w 629"/>
                <a:gd name="T65" fmla="*/ 2147483647 h 533"/>
                <a:gd name="T66" fmla="*/ 2147483647 w 629"/>
                <a:gd name="T67" fmla="*/ 2147483647 h 533"/>
                <a:gd name="T68" fmla="*/ 2147483647 w 629"/>
                <a:gd name="T69" fmla="*/ 2147483647 h 533"/>
                <a:gd name="T70" fmla="*/ 2147483647 w 629"/>
                <a:gd name="T71" fmla="*/ 2147483647 h 533"/>
                <a:gd name="T72" fmla="*/ 2147483647 w 629"/>
                <a:gd name="T73" fmla="*/ 2147483647 h 533"/>
                <a:gd name="T74" fmla="*/ 2147483647 w 629"/>
                <a:gd name="T75" fmla="*/ 2147483647 h 533"/>
                <a:gd name="T76" fmla="*/ 2147483647 w 629"/>
                <a:gd name="T77" fmla="*/ 2147483647 h 533"/>
                <a:gd name="T78" fmla="*/ 2147483647 w 629"/>
                <a:gd name="T79" fmla="*/ 2147483647 h 533"/>
                <a:gd name="T80" fmla="*/ 2147483647 w 629"/>
                <a:gd name="T81" fmla="*/ 2147483647 h 533"/>
                <a:gd name="T82" fmla="*/ 2147483647 w 629"/>
                <a:gd name="T83" fmla="*/ 2147483647 h 533"/>
                <a:gd name="T84" fmla="*/ 2147483647 w 629"/>
                <a:gd name="T85" fmla="*/ 2147483647 h 533"/>
                <a:gd name="T86" fmla="*/ 2147483647 w 629"/>
                <a:gd name="T87" fmla="*/ 2147483647 h 533"/>
                <a:gd name="T88" fmla="*/ 2147483647 w 629"/>
                <a:gd name="T89" fmla="*/ 2147483647 h 533"/>
                <a:gd name="T90" fmla="*/ 2147483647 w 629"/>
                <a:gd name="T91" fmla="*/ 2147483647 h 533"/>
                <a:gd name="T92" fmla="*/ 2147483647 w 629"/>
                <a:gd name="T93" fmla="*/ 2147483647 h 533"/>
                <a:gd name="T94" fmla="*/ 2147483647 w 629"/>
                <a:gd name="T95" fmla="*/ 2147483647 h 533"/>
                <a:gd name="T96" fmla="*/ 2147483647 w 629"/>
                <a:gd name="T97" fmla="*/ 2147483647 h 533"/>
                <a:gd name="T98" fmla="*/ 2147483647 w 629"/>
                <a:gd name="T99" fmla="*/ 2147483647 h 533"/>
                <a:gd name="T100" fmla="*/ 2147483647 w 629"/>
                <a:gd name="T101" fmla="*/ 2147483647 h 533"/>
                <a:gd name="T102" fmla="*/ 2147483647 w 629"/>
                <a:gd name="T103" fmla="*/ 2147483647 h 533"/>
                <a:gd name="T104" fmla="*/ 2147483647 w 629"/>
                <a:gd name="T105" fmla="*/ 2147483647 h 533"/>
                <a:gd name="T106" fmla="*/ 2147483647 w 629"/>
                <a:gd name="T107" fmla="*/ 2147483647 h 533"/>
                <a:gd name="T108" fmla="*/ 2147483647 w 629"/>
                <a:gd name="T109" fmla="*/ 2147483647 h 533"/>
                <a:gd name="T110" fmla="*/ 2147483647 w 629"/>
                <a:gd name="T111" fmla="*/ 2147483647 h 533"/>
                <a:gd name="T112" fmla="*/ 2147483647 w 629"/>
                <a:gd name="T113" fmla="*/ 2147483647 h 533"/>
                <a:gd name="T114" fmla="*/ 2147483647 w 629"/>
                <a:gd name="T115" fmla="*/ 2147483647 h 533"/>
                <a:gd name="T116" fmla="*/ 2147483647 w 629"/>
                <a:gd name="T117" fmla="*/ 2147483647 h 533"/>
                <a:gd name="T118" fmla="*/ 2147483647 w 629"/>
                <a:gd name="T119" fmla="*/ 2147483647 h 533"/>
                <a:gd name="T120" fmla="*/ 2147483647 w 629"/>
                <a:gd name="T121" fmla="*/ 2147483647 h 53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29"/>
                <a:gd name="T184" fmla="*/ 0 h 533"/>
                <a:gd name="T185" fmla="*/ 629 w 629"/>
                <a:gd name="T186" fmla="*/ 533 h 53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29" h="533">
                  <a:moveTo>
                    <a:pt x="0" y="221"/>
                  </a:moveTo>
                  <a:lnTo>
                    <a:pt x="0" y="216"/>
                  </a:lnTo>
                  <a:lnTo>
                    <a:pt x="12" y="204"/>
                  </a:lnTo>
                  <a:lnTo>
                    <a:pt x="17" y="199"/>
                  </a:lnTo>
                  <a:lnTo>
                    <a:pt x="17" y="193"/>
                  </a:lnTo>
                  <a:lnTo>
                    <a:pt x="17" y="187"/>
                  </a:lnTo>
                  <a:lnTo>
                    <a:pt x="23" y="182"/>
                  </a:lnTo>
                  <a:lnTo>
                    <a:pt x="29" y="176"/>
                  </a:lnTo>
                  <a:lnTo>
                    <a:pt x="29" y="170"/>
                  </a:lnTo>
                  <a:lnTo>
                    <a:pt x="29" y="165"/>
                  </a:lnTo>
                  <a:lnTo>
                    <a:pt x="34" y="159"/>
                  </a:lnTo>
                  <a:lnTo>
                    <a:pt x="34" y="153"/>
                  </a:lnTo>
                  <a:lnTo>
                    <a:pt x="40" y="153"/>
                  </a:lnTo>
                  <a:lnTo>
                    <a:pt x="40" y="142"/>
                  </a:lnTo>
                  <a:lnTo>
                    <a:pt x="40" y="136"/>
                  </a:lnTo>
                  <a:lnTo>
                    <a:pt x="46" y="136"/>
                  </a:lnTo>
                  <a:lnTo>
                    <a:pt x="46" y="131"/>
                  </a:lnTo>
                  <a:lnTo>
                    <a:pt x="51" y="131"/>
                  </a:lnTo>
                  <a:lnTo>
                    <a:pt x="51" y="125"/>
                  </a:lnTo>
                  <a:lnTo>
                    <a:pt x="57" y="125"/>
                  </a:lnTo>
                  <a:lnTo>
                    <a:pt x="63" y="125"/>
                  </a:lnTo>
                  <a:lnTo>
                    <a:pt x="68" y="131"/>
                  </a:lnTo>
                  <a:lnTo>
                    <a:pt x="74" y="131"/>
                  </a:lnTo>
                  <a:lnTo>
                    <a:pt x="74" y="136"/>
                  </a:lnTo>
                  <a:lnTo>
                    <a:pt x="80" y="136"/>
                  </a:lnTo>
                  <a:lnTo>
                    <a:pt x="80" y="142"/>
                  </a:lnTo>
                  <a:lnTo>
                    <a:pt x="85" y="142"/>
                  </a:lnTo>
                  <a:lnTo>
                    <a:pt x="91" y="148"/>
                  </a:lnTo>
                  <a:lnTo>
                    <a:pt x="91" y="153"/>
                  </a:lnTo>
                  <a:lnTo>
                    <a:pt x="91" y="159"/>
                  </a:lnTo>
                  <a:lnTo>
                    <a:pt x="97" y="159"/>
                  </a:lnTo>
                  <a:lnTo>
                    <a:pt x="102" y="165"/>
                  </a:lnTo>
                  <a:lnTo>
                    <a:pt x="102" y="170"/>
                  </a:lnTo>
                  <a:lnTo>
                    <a:pt x="97" y="170"/>
                  </a:lnTo>
                  <a:lnTo>
                    <a:pt x="97" y="182"/>
                  </a:lnTo>
                  <a:lnTo>
                    <a:pt x="97" y="187"/>
                  </a:lnTo>
                  <a:lnTo>
                    <a:pt x="97" y="193"/>
                  </a:lnTo>
                  <a:lnTo>
                    <a:pt x="97" y="199"/>
                  </a:lnTo>
                  <a:lnTo>
                    <a:pt x="102" y="199"/>
                  </a:lnTo>
                  <a:lnTo>
                    <a:pt x="102" y="204"/>
                  </a:lnTo>
                  <a:lnTo>
                    <a:pt x="108" y="210"/>
                  </a:lnTo>
                  <a:lnTo>
                    <a:pt x="114" y="210"/>
                  </a:lnTo>
                  <a:lnTo>
                    <a:pt x="119" y="210"/>
                  </a:lnTo>
                  <a:lnTo>
                    <a:pt x="119" y="204"/>
                  </a:lnTo>
                  <a:lnTo>
                    <a:pt x="125" y="199"/>
                  </a:lnTo>
                  <a:lnTo>
                    <a:pt x="131" y="199"/>
                  </a:lnTo>
                  <a:lnTo>
                    <a:pt x="136" y="199"/>
                  </a:lnTo>
                  <a:lnTo>
                    <a:pt x="136" y="193"/>
                  </a:lnTo>
                  <a:lnTo>
                    <a:pt x="136" y="187"/>
                  </a:lnTo>
                  <a:lnTo>
                    <a:pt x="136" y="182"/>
                  </a:lnTo>
                  <a:lnTo>
                    <a:pt x="131" y="182"/>
                  </a:lnTo>
                  <a:lnTo>
                    <a:pt x="131" y="176"/>
                  </a:lnTo>
                  <a:lnTo>
                    <a:pt x="131" y="170"/>
                  </a:lnTo>
                  <a:lnTo>
                    <a:pt x="136" y="170"/>
                  </a:lnTo>
                  <a:lnTo>
                    <a:pt x="142" y="170"/>
                  </a:lnTo>
                  <a:lnTo>
                    <a:pt x="148" y="170"/>
                  </a:lnTo>
                  <a:lnTo>
                    <a:pt x="153" y="170"/>
                  </a:lnTo>
                  <a:lnTo>
                    <a:pt x="153" y="176"/>
                  </a:lnTo>
                  <a:lnTo>
                    <a:pt x="159" y="176"/>
                  </a:lnTo>
                  <a:lnTo>
                    <a:pt x="165" y="176"/>
                  </a:lnTo>
                  <a:lnTo>
                    <a:pt x="165" y="170"/>
                  </a:lnTo>
                  <a:lnTo>
                    <a:pt x="170" y="170"/>
                  </a:lnTo>
                  <a:lnTo>
                    <a:pt x="176" y="170"/>
                  </a:lnTo>
                  <a:lnTo>
                    <a:pt x="176" y="176"/>
                  </a:lnTo>
                  <a:lnTo>
                    <a:pt x="182" y="170"/>
                  </a:lnTo>
                  <a:lnTo>
                    <a:pt x="193" y="170"/>
                  </a:lnTo>
                  <a:lnTo>
                    <a:pt x="193" y="176"/>
                  </a:lnTo>
                  <a:lnTo>
                    <a:pt x="199" y="182"/>
                  </a:lnTo>
                  <a:lnTo>
                    <a:pt x="204" y="182"/>
                  </a:lnTo>
                  <a:lnTo>
                    <a:pt x="210" y="182"/>
                  </a:lnTo>
                  <a:lnTo>
                    <a:pt x="216" y="182"/>
                  </a:lnTo>
                  <a:lnTo>
                    <a:pt x="216" y="176"/>
                  </a:lnTo>
                  <a:lnTo>
                    <a:pt x="221" y="176"/>
                  </a:lnTo>
                  <a:lnTo>
                    <a:pt x="221" y="170"/>
                  </a:lnTo>
                  <a:lnTo>
                    <a:pt x="227" y="170"/>
                  </a:lnTo>
                  <a:lnTo>
                    <a:pt x="233" y="170"/>
                  </a:lnTo>
                  <a:lnTo>
                    <a:pt x="238" y="165"/>
                  </a:lnTo>
                  <a:lnTo>
                    <a:pt x="244" y="165"/>
                  </a:lnTo>
                  <a:lnTo>
                    <a:pt x="244" y="159"/>
                  </a:lnTo>
                  <a:lnTo>
                    <a:pt x="250" y="159"/>
                  </a:lnTo>
                  <a:lnTo>
                    <a:pt x="261" y="165"/>
                  </a:lnTo>
                  <a:lnTo>
                    <a:pt x="261" y="170"/>
                  </a:lnTo>
                  <a:lnTo>
                    <a:pt x="267" y="170"/>
                  </a:lnTo>
                  <a:lnTo>
                    <a:pt x="272" y="176"/>
                  </a:lnTo>
                  <a:lnTo>
                    <a:pt x="278" y="176"/>
                  </a:lnTo>
                  <a:lnTo>
                    <a:pt x="278" y="182"/>
                  </a:lnTo>
                  <a:lnTo>
                    <a:pt x="284" y="182"/>
                  </a:lnTo>
                  <a:lnTo>
                    <a:pt x="289" y="182"/>
                  </a:lnTo>
                  <a:lnTo>
                    <a:pt x="295" y="187"/>
                  </a:lnTo>
                  <a:lnTo>
                    <a:pt x="306" y="193"/>
                  </a:lnTo>
                  <a:lnTo>
                    <a:pt x="306" y="199"/>
                  </a:lnTo>
                  <a:lnTo>
                    <a:pt x="312" y="199"/>
                  </a:lnTo>
                  <a:lnTo>
                    <a:pt x="312" y="204"/>
                  </a:lnTo>
                  <a:lnTo>
                    <a:pt x="318" y="210"/>
                  </a:lnTo>
                  <a:lnTo>
                    <a:pt x="323" y="210"/>
                  </a:lnTo>
                  <a:lnTo>
                    <a:pt x="329" y="216"/>
                  </a:lnTo>
                  <a:lnTo>
                    <a:pt x="335" y="221"/>
                  </a:lnTo>
                  <a:lnTo>
                    <a:pt x="340" y="221"/>
                  </a:lnTo>
                  <a:lnTo>
                    <a:pt x="340" y="227"/>
                  </a:lnTo>
                  <a:lnTo>
                    <a:pt x="340" y="233"/>
                  </a:lnTo>
                  <a:lnTo>
                    <a:pt x="335" y="238"/>
                  </a:lnTo>
                  <a:lnTo>
                    <a:pt x="329" y="244"/>
                  </a:lnTo>
                  <a:lnTo>
                    <a:pt x="329" y="250"/>
                  </a:lnTo>
                  <a:lnTo>
                    <a:pt x="329" y="255"/>
                  </a:lnTo>
                  <a:lnTo>
                    <a:pt x="335" y="255"/>
                  </a:lnTo>
                  <a:lnTo>
                    <a:pt x="335" y="267"/>
                  </a:lnTo>
                  <a:lnTo>
                    <a:pt x="340" y="267"/>
                  </a:lnTo>
                  <a:lnTo>
                    <a:pt x="346" y="272"/>
                  </a:lnTo>
                  <a:lnTo>
                    <a:pt x="352" y="272"/>
                  </a:lnTo>
                  <a:lnTo>
                    <a:pt x="357" y="267"/>
                  </a:lnTo>
                  <a:lnTo>
                    <a:pt x="363" y="267"/>
                  </a:lnTo>
                  <a:lnTo>
                    <a:pt x="369" y="267"/>
                  </a:lnTo>
                  <a:lnTo>
                    <a:pt x="374" y="267"/>
                  </a:lnTo>
                  <a:lnTo>
                    <a:pt x="374" y="261"/>
                  </a:lnTo>
                  <a:lnTo>
                    <a:pt x="380" y="261"/>
                  </a:lnTo>
                  <a:lnTo>
                    <a:pt x="386" y="255"/>
                  </a:lnTo>
                  <a:lnTo>
                    <a:pt x="391" y="255"/>
                  </a:lnTo>
                  <a:lnTo>
                    <a:pt x="397" y="255"/>
                  </a:lnTo>
                  <a:lnTo>
                    <a:pt x="397" y="250"/>
                  </a:lnTo>
                  <a:lnTo>
                    <a:pt x="403" y="250"/>
                  </a:lnTo>
                  <a:lnTo>
                    <a:pt x="408" y="244"/>
                  </a:lnTo>
                  <a:lnTo>
                    <a:pt x="408" y="238"/>
                  </a:lnTo>
                  <a:lnTo>
                    <a:pt x="414" y="238"/>
                  </a:lnTo>
                  <a:lnTo>
                    <a:pt x="414" y="233"/>
                  </a:lnTo>
                  <a:lnTo>
                    <a:pt x="420" y="233"/>
                  </a:lnTo>
                  <a:lnTo>
                    <a:pt x="420" y="227"/>
                  </a:lnTo>
                  <a:lnTo>
                    <a:pt x="425" y="227"/>
                  </a:lnTo>
                  <a:lnTo>
                    <a:pt x="431" y="221"/>
                  </a:lnTo>
                  <a:lnTo>
                    <a:pt x="437" y="221"/>
                  </a:lnTo>
                  <a:lnTo>
                    <a:pt x="442" y="216"/>
                  </a:lnTo>
                  <a:lnTo>
                    <a:pt x="442" y="210"/>
                  </a:lnTo>
                  <a:lnTo>
                    <a:pt x="448" y="204"/>
                  </a:lnTo>
                  <a:lnTo>
                    <a:pt x="448" y="199"/>
                  </a:lnTo>
                  <a:lnTo>
                    <a:pt x="454" y="193"/>
                  </a:lnTo>
                  <a:lnTo>
                    <a:pt x="454" y="187"/>
                  </a:lnTo>
                  <a:lnTo>
                    <a:pt x="459" y="182"/>
                  </a:lnTo>
                  <a:lnTo>
                    <a:pt x="459" y="176"/>
                  </a:lnTo>
                  <a:lnTo>
                    <a:pt x="459" y="170"/>
                  </a:lnTo>
                  <a:lnTo>
                    <a:pt x="448" y="170"/>
                  </a:lnTo>
                  <a:lnTo>
                    <a:pt x="448" y="165"/>
                  </a:lnTo>
                  <a:lnTo>
                    <a:pt x="442" y="165"/>
                  </a:lnTo>
                  <a:lnTo>
                    <a:pt x="437" y="159"/>
                  </a:lnTo>
                  <a:lnTo>
                    <a:pt x="437" y="153"/>
                  </a:lnTo>
                  <a:lnTo>
                    <a:pt x="431" y="153"/>
                  </a:lnTo>
                  <a:lnTo>
                    <a:pt x="431" y="148"/>
                  </a:lnTo>
                  <a:lnTo>
                    <a:pt x="425" y="142"/>
                  </a:lnTo>
                  <a:lnTo>
                    <a:pt x="420" y="142"/>
                  </a:lnTo>
                  <a:lnTo>
                    <a:pt x="420" y="136"/>
                  </a:lnTo>
                  <a:lnTo>
                    <a:pt x="420" y="131"/>
                  </a:lnTo>
                  <a:lnTo>
                    <a:pt x="414" y="131"/>
                  </a:lnTo>
                  <a:lnTo>
                    <a:pt x="414" y="125"/>
                  </a:lnTo>
                  <a:lnTo>
                    <a:pt x="414" y="114"/>
                  </a:lnTo>
                  <a:lnTo>
                    <a:pt x="414" y="102"/>
                  </a:lnTo>
                  <a:lnTo>
                    <a:pt x="408" y="97"/>
                  </a:lnTo>
                  <a:lnTo>
                    <a:pt x="403" y="91"/>
                  </a:lnTo>
                  <a:lnTo>
                    <a:pt x="397" y="91"/>
                  </a:lnTo>
                  <a:lnTo>
                    <a:pt x="391" y="85"/>
                  </a:lnTo>
                  <a:lnTo>
                    <a:pt x="391" y="80"/>
                  </a:lnTo>
                  <a:lnTo>
                    <a:pt x="397" y="74"/>
                  </a:lnTo>
                  <a:lnTo>
                    <a:pt x="403" y="68"/>
                  </a:lnTo>
                  <a:lnTo>
                    <a:pt x="403" y="63"/>
                  </a:lnTo>
                  <a:lnTo>
                    <a:pt x="403" y="57"/>
                  </a:lnTo>
                  <a:lnTo>
                    <a:pt x="408" y="57"/>
                  </a:lnTo>
                  <a:lnTo>
                    <a:pt x="414" y="57"/>
                  </a:lnTo>
                  <a:lnTo>
                    <a:pt x="420" y="57"/>
                  </a:lnTo>
                  <a:lnTo>
                    <a:pt x="425" y="57"/>
                  </a:lnTo>
                  <a:lnTo>
                    <a:pt x="431" y="57"/>
                  </a:lnTo>
                  <a:lnTo>
                    <a:pt x="437" y="63"/>
                  </a:lnTo>
                  <a:lnTo>
                    <a:pt x="437" y="68"/>
                  </a:lnTo>
                  <a:lnTo>
                    <a:pt x="442" y="68"/>
                  </a:lnTo>
                  <a:lnTo>
                    <a:pt x="442" y="74"/>
                  </a:lnTo>
                  <a:lnTo>
                    <a:pt x="442" y="80"/>
                  </a:lnTo>
                  <a:lnTo>
                    <a:pt x="448" y="80"/>
                  </a:lnTo>
                  <a:lnTo>
                    <a:pt x="448" y="74"/>
                  </a:lnTo>
                  <a:lnTo>
                    <a:pt x="454" y="68"/>
                  </a:lnTo>
                  <a:lnTo>
                    <a:pt x="459" y="68"/>
                  </a:lnTo>
                  <a:lnTo>
                    <a:pt x="459" y="63"/>
                  </a:lnTo>
                  <a:lnTo>
                    <a:pt x="471" y="57"/>
                  </a:lnTo>
                  <a:lnTo>
                    <a:pt x="476" y="57"/>
                  </a:lnTo>
                  <a:lnTo>
                    <a:pt x="476" y="51"/>
                  </a:lnTo>
                  <a:lnTo>
                    <a:pt x="482" y="51"/>
                  </a:lnTo>
                  <a:lnTo>
                    <a:pt x="488" y="46"/>
                  </a:lnTo>
                  <a:lnTo>
                    <a:pt x="493" y="46"/>
                  </a:lnTo>
                  <a:lnTo>
                    <a:pt x="499" y="40"/>
                  </a:lnTo>
                  <a:lnTo>
                    <a:pt x="505" y="40"/>
                  </a:lnTo>
                  <a:lnTo>
                    <a:pt x="510" y="40"/>
                  </a:lnTo>
                  <a:lnTo>
                    <a:pt x="510" y="34"/>
                  </a:lnTo>
                  <a:lnTo>
                    <a:pt x="516" y="29"/>
                  </a:lnTo>
                  <a:lnTo>
                    <a:pt x="522" y="29"/>
                  </a:lnTo>
                  <a:lnTo>
                    <a:pt x="527" y="29"/>
                  </a:lnTo>
                  <a:lnTo>
                    <a:pt x="527" y="23"/>
                  </a:lnTo>
                  <a:lnTo>
                    <a:pt x="533" y="23"/>
                  </a:lnTo>
                  <a:lnTo>
                    <a:pt x="539" y="17"/>
                  </a:lnTo>
                  <a:lnTo>
                    <a:pt x="544" y="17"/>
                  </a:lnTo>
                  <a:lnTo>
                    <a:pt x="550" y="17"/>
                  </a:lnTo>
                  <a:lnTo>
                    <a:pt x="556" y="6"/>
                  </a:lnTo>
                  <a:lnTo>
                    <a:pt x="561" y="6"/>
                  </a:lnTo>
                  <a:lnTo>
                    <a:pt x="567" y="6"/>
                  </a:lnTo>
                  <a:lnTo>
                    <a:pt x="584" y="6"/>
                  </a:lnTo>
                  <a:lnTo>
                    <a:pt x="590" y="6"/>
                  </a:lnTo>
                  <a:lnTo>
                    <a:pt x="601" y="0"/>
                  </a:lnTo>
                  <a:lnTo>
                    <a:pt x="601" y="6"/>
                  </a:lnTo>
                  <a:lnTo>
                    <a:pt x="601" y="17"/>
                  </a:lnTo>
                  <a:lnTo>
                    <a:pt x="607" y="29"/>
                  </a:lnTo>
                  <a:lnTo>
                    <a:pt x="612" y="46"/>
                  </a:lnTo>
                  <a:lnTo>
                    <a:pt x="612" y="51"/>
                  </a:lnTo>
                  <a:lnTo>
                    <a:pt x="618" y="68"/>
                  </a:lnTo>
                  <a:lnTo>
                    <a:pt x="624" y="80"/>
                  </a:lnTo>
                  <a:lnTo>
                    <a:pt x="624" y="91"/>
                  </a:lnTo>
                  <a:lnTo>
                    <a:pt x="624" y="97"/>
                  </a:lnTo>
                  <a:lnTo>
                    <a:pt x="624" y="114"/>
                  </a:lnTo>
                  <a:lnTo>
                    <a:pt x="629" y="125"/>
                  </a:lnTo>
                  <a:lnTo>
                    <a:pt x="629" y="131"/>
                  </a:lnTo>
                  <a:lnTo>
                    <a:pt x="624" y="142"/>
                  </a:lnTo>
                  <a:lnTo>
                    <a:pt x="618" y="153"/>
                  </a:lnTo>
                  <a:lnTo>
                    <a:pt x="618" y="165"/>
                  </a:lnTo>
                  <a:lnTo>
                    <a:pt x="612" y="170"/>
                  </a:lnTo>
                  <a:lnTo>
                    <a:pt x="612" y="182"/>
                  </a:lnTo>
                  <a:lnTo>
                    <a:pt x="612" y="193"/>
                  </a:lnTo>
                  <a:lnTo>
                    <a:pt x="607" y="199"/>
                  </a:lnTo>
                  <a:lnTo>
                    <a:pt x="601" y="210"/>
                  </a:lnTo>
                  <a:lnTo>
                    <a:pt x="601" y="216"/>
                  </a:lnTo>
                  <a:lnTo>
                    <a:pt x="595" y="221"/>
                  </a:lnTo>
                  <a:lnTo>
                    <a:pt x="595" y="227"/>
                  </a:lnTo>
                  <a:lnTo>
                    <a:pt x="595" y="238"/>
                  </a:lnTo>
                  <a:lnTo>
                    <a:pt x="590" y="250"/>
                  </a:lnTo>
                  <a:lnTo>
                    <a:pt x="590" y="261"/>
                  </a:lnTo>
                  <a:lnTo>
                    <a:pt x="584" y="267"/>
                  </a:lnTo>
                  <a:lnTo>
                    <a:pt x="590" y="267"/>
                  </a:lnTo>
                  <a:lnTo>
                    <a:pt x="584" y="267"/>
                  </a:lnTo>
                  <a:lnTo>
                    <a:pt x="578" y="278"/>
                  </a:lnTo>
                  <a:lnTo>
                    <a:pt x="573" y="284"/>
                  </a:lnTo>
                  <a:lnTo>
                    <a:pt x="573" y="295"/>
                  </a:lnTo>
                  <a:lnTo>
                    <a:pt x="573" y="301"/>
                  </a:lnTo>
                  <a:lnTo>
                    <a:pt x="573" y="312"/>
                  </a:lnTo>
                  <a:lnTo>
                    <a:pt x="573" y="318"/>
                  </a:lnTo>
                  <a:lnTo>
                    <a:pt x="567" y="323"/>
                  </a:lnTo>
                  <a:lnTo>
                    <a:pt x="556" y="335"/>
                  </a:lnTo>
                  <a:lnTo>
                    <a:pt x="550" y="340"/>
                  </a:lnTo>
                  <a:lnTo>
                    <a:pt x="550" y="352"/>
                  </a:lnTo>
                  <a:lnTo>
                    <a:pt x="556" y="363"/>
                  </a:lnTo>
                  <a:lnTo>
                    <a:pt x="556" y="374"/>
                  </a:lnTo>
                  <a:lnTo>
                    <a:pt x="550" y="380"/>
                  </a:lnTo>
                  <a:lnTo>
                    <a:pt x="544" y="380"/>
                  </a:lnTo>
                  <a:lnTo>
                    <a:pt x="539" y="391"/>
                  </a:lnTo>
                  <a:lnTo>
                    <a:pt x="539" y="403"/>
                  </a:lnTo>
                  <a:lnTo>
                    <a:pt x="544" y="408"/>
                  </a:lnTo>
                  <a:lnTo>
                    <a:pt x="544" y="414"/>
                  </a:lnTo>
                  <a:lnTo>
                    <a:pt x="539" y="420"/>
                  </a:lnTo>
                  <a:lnTo>
                    <a:pt x="527" y="420"/>
                  </a:lnTo>
                  <a:lnTo>
                    <a:pt x="527" y="425"/>
                  </a:lnTo>
                  <a:lnTo>
                    <a:pt x="522" y="431"/>
                  </a:lnTo>
                  <a:lnTo>
                    <a:pt x="510" y="431"/>
                  </a:lnTo>
                  <a:lnTo>
                    <a:pt x="505" y="431"/>
                  </a:lnTo>
                  <a:lnTo>
                    <a:pt x="499" y="431"/>
                  </a:lnTo>
                  <a:lnTo>
                    <a:pt x="488" y="431"/>
                  </a:lnTo>
                  <a:lnTo>
                    <a:pt x="476" y="431"/>
                  </a:lnTo>
                  <a:lnTo>
                    <a:pt x="471" y="437"/>
                  </a:lnTo>
                  <a:lnTo>
                    <a:pt x="459" y="437"/>
                  </a:lnTo>
                  <a:lnTo>
                    <a:pt x="459" y="448"/>
                  </a:lnTo>
                  <a:lnTo>
                    <a:pt x="454" y="454"/>
                  </a:lnTo>
                  <a:lnTo>
                    <a:pt x="448" y="448"/>
                  </a:lnTo>
                  <a:lnTo>
                    <a:pt x="442" y="448"/>
                  </a:lnTo>
                  <a:lnTo>
                    <a:pt x="437" y="448"/>
                  </a:lnTo>
                  <a:lnTo>
                    <a:pt x="431" y="454"/>
                  </a:lnTo>
                  <a:lnTo>
                    <a:pt x="431" y="459"/>
                  </a:lnTo>
                  <a:lnTo>
                    <a:pt x="431" y="465"/>
                  </a:lnTo>
                  <a:lnTo>
                    <a:pt x="431" y="471"/>
                  </a:lnTo>
                  <a:lnTo>
                    <a:pt x="431" y="477"/>
                  </a:lnTo>
                  <a:lnTo>
                    <a:pt x="420" y="482"/>
                  </a:lnTo>
                  <a:lnTo>
                    <a:pt x="420" y="488"/>
                  </a:lnTo>
                  <a:lnTo>
                    <a:pt x="414" y="488"/>
                  </a:lnTo>
                  <a:lnTo>
                    <a:pt x="408" y="488"/>
                  </a:lnTo>
                  <a:lnTo>
                    <a:pt x="403" y="482"/>
                  </a:lnTo>
                  <a:lnTo>
                    <a:pt x="397" y="482"/>
                  </a:lnTo>
                  <a:lnTo>
                    <a:pt x="391" y="488"/>
                  </a:lnTo>
                  <a:lnTo>
                    <a:pt x="386" y="488"/>
                  </a:lnTo>
                  <a:lnTo>
                    <a:pt x="386" y="494"/>
                  </a:lnTo>
                  <a:lnTo>
                    <a:pt x="380" y="494"/>
                  </a:lnTo>
                  <a:lnTo>
                    <a:pt x="374" y="499"/>
                  </a:lnTo>
                  <a:lnTo>
                    <a:pt x="369" y="499"/>
                  </a:lnTo>
                  <a:lnTo>
                    <a:pt x="363" y="494"/>
                  </a:lnTo>
                  <a:lnTo>
                    <a:pt x="357" y="488"/>
                  </a:lnTo>
                  <a:lnTo>
                    <a:pt x="352" y="482"/>
                  </a:lnTo>
                  <a:lnTo>
                    <a:pt x="346" y="477"/>
                  </a:lnTo>
                  <a:lnTo>
                    <a:pt x="340" y="482"/>
                  </a:lnTo>
                  <a:lnTo>
                    <a:pt x="335" y="482"/>
                  </a:lnTo>
                  <a:lnTo>
                    <a:pt x="335" y="488"/>
                  </a:lnTo>
                  <a:lnTo>
                    <a:pt x="335" y="494"/>
                  </a:lnTo>
                  <a:lnTo>
                    <a:pt x="329" y="494"/>
                  </a:lnTo>
                  <a:lnTo>
                    <a:pt x="329" y="499"/>
                  </a:lnTo>
                  <a:lnTo>
                    <a:pt x="318" y="505"/>
                  </a:lnTo>
                  <a:lnTo>
                    <a:pt x="312" y="505"/>
                  </a:lnTo>
                  <a:lnTo>
                    <a:pt x="306" y="511"/>
                  </a:lnTo>
                  <a:lnTo>
                    <a:pt x="306" y="516"/>
                  </a:lnTo>
                  <a:lnTo>
                    <a:pt x="301" y="516"/>
                  </a:lnTo>
                  <a:lnTo>
                    <a:pt x="295" y="516"/>
                  </a:lnTo>
                  <a:lnTo>
                    <a:pt x="289" y="522"/>
                  </a:lnTo>
                  <a:lnTo>
                    <a:pt x="278" y="528"/>
                  </a:lnTo>
                  <a:lnTo>
                    <a:pt x="267" y="528"/>
                  </a:lnTo>
                  <a:lnTo>
                    <a:pt x="267" y="533"/>
                  </a:lnTo>
                  <a:lnTo>
                    <a:pt x="261" y="533"/>
                  </a:lnTo>
                  <a:lnTo>
                    <a:pt x="255" y="533"/>
                  </a:lnTo>
                  <a:lnTo>
                    <a:pt x="250" y="533"/>
                  </a:lnTo>
                  <a:lnTo>
                    <a:pt x="244" y="528"/>
                  </a:lnTo>
                  <a:lnTo>
                    <a:pt x="238" y="528"/>
                  </a:lnTo>
                  <a:lnTo>
                    <a:pt x="233" y="522"/>
                  </a:lnTo>
                  <a:lnTo>
                    <a:pt x="227" y="522"/>
                  </a:lnTo>
                  <a:lnTo>
                    <a:pt x="221" y="516"/>
                  </a:lnTo>
                  <a:lnTo>
                    <a:pt x="210" y="516"/>
                  </a:lnTo>
                  <a:lnTo>
                    <a:pt x="204" y="511"/>
                  </a:lnTo>
                  <a:lnTo>
                    <a:pt x="199" y="511"/>
                  </a:lnTo>
                  <a:lnTo>
                    <a:pt x="193" y="511"/>
                  </a:lnTo>
                  <a:lnTo>
                    <a:pt x="193" y="505"/>
                  </a:lnTo>
                  <a:lnTo>
                    <a:pt x="176" y="494"/>
                  </a:lnTo>
                  <a:lnTo>
                    <a:pt x="170" y="488"/>
                  </a:lnTo>
                  <a:lnTo>
                    <a:pt x="165" y="488"/>
                  </a:lnTo>
                  <a:lnTo>
                    <a:pt x="159" y="488"/>
                  </a:lnTo>
                  <a:lnTo>
                    <a:pt x="153" y="488"/>
                  </a:lnTo>
                  <a:lnTo>
                    <a:pt x="142" y="488"/>
                  </a:lnTo>
                  <a:lnTo>
                    <a:pt x="142" y="482"/>
                  </a:lnTo>
                  <a:lnTo>
                    <a:pt x="136" y="477"/>
                  </a:lnTo>
                  <a:lnTo>
                    <a:pt x="136" y="471"/>
                  </a:lnTo>
                  <a:lnTo>
                    <a:pt x="136" y="459"/>
                  </a:lnTo>
                  <a:lnTo>
                    <a:pt x="136" y="448"/>
                  </a:lnTo>
                  <a:lnTo>
                    <a:pt x="131" y="442"/>
                  </a:lnTo>
                  <a:lnTo>
                    <a:pt x="125" y="425"/>
                  </a:lnTo>
                  <a:lnTo>
                    <a:pt x="125" y="420"/>
                  </a:lnTo>
                  <a:lnTo>
                    <a:pt x="125" y="414"/>
                  </a:lnTo>
                  <a:lnTo>
                    <a:pt x="125" y="408"/>
                  </a:lnTo>
                  <a:lnTo>
                    <a:pt x="125" y="403"/>
                  </a:lnTo>
                  <a:lnTo>
                    <a:pt x="131" y="408"/>
                  </a:lnTo>
                  <a:lnTo>
                    <a:pt x="136" y="408"/>
                  </a:lnTo>
                  <a:lnTo>
                    <a:pt x="142" y="408"/>
                  </a:lnTo>
                  <a:lnTo>
                    <a:pt x="148" y="403"/>
                  </a:lnTo>
                  <a:lnTo>
                    <a:pt x="148" y="397"/>
                  </a:lnTo>
                  <a:lnTo>
                    <a:pt x="142" y="397"/>
                  </a:lnTo>
                  <a:lnTo>
                    <a:pt x="136" y="391"/>
                  </a:lnTo>
                  <a:lnTo>
                    <a:pt x="131" y="391"/>
                  </a:lnTo>
                  <a:lnTo>
                    <a:pt x="125" y="391"/>
                  </a:lnTo>
                  <a:lnTo>
                    <a:pt x="119" y="386"/>
                  </a:lnTo>
                  <a:lnTo>
                    <a:pt x="114" y="386"/>
                  </a:lnTo>
                  <a:lnTo>
                    <a:pt x="108" y="386"/>
                  </a:lnTo>
                  <a:lnTo>
                    <a:pt x="102" y="380"/>
                  </a:lnTo>
                  <a:lnTo>
                    <a:pt x="97" y="380"/>
                  </a:lnTo>
                  <a:lnTo>
                    <a:pt x="97" y="374"/>
                  </a:lnTo>
                  <a:lnTo>
                    <a:pt x="80" y="357"/>
                  </a:lnTo>
                  <a:lnTo>
                    <a:pt x="74" y="357"/>
                  </a:lnTo>
                  <a:lnTo>
                    <a:pt x="74" y="352"/>
                  </a:lnTo>
                  <a:lnTo>
                    <a:pt x="74" y="346"/>
                  </a:lnTo>
                  <a:lnTo>
                    <a:pt x="74" y="340"/>
                  </a:lnTo>
                  <a:lnTo>
                    <a:pt x="74" y="329"/>
                  </a:lnTo>
                  <a:lnTo>
                    <a:pt x="63" y="318"/>
                  </a:lnTo>
                  <a:lnTo>
                    <a:pt x="57" y="312"/>
                  </a:lnTo>
                  <a:lnTo>
                    <a:pt x="51" y="312"/>
                  </a:lnTo>
                  <a:lnTo>
                    <a:pt x="51" y="306"/>
                  </a:lnTo>
                  <a:lnTo>
                    <a:pt x="46" y="295"/>
                  </a:lnTo>
                  <a:lnTo>
                    <a:pt x="40" y="284"/>
                  </a:lnTo>
                  <a:lnTo>
                    <a:pt x="34" y="284"/>
                  </a:lnTo>
                  <a:lnTo>
                    <a:pt x="34" y="278"/>
                  </a:lnTo>
                  <a:lnTo>
                    <a:pt x="34" y="272"/>
                  </a:lnTo>
                  <a:lnTo>
                    <a:pt x="34" y="267"/>
                  </a:lnTo>
                  <a:lnTo>
                    <a:pt x="34" y="261"/>
                  </a:lnTo>
                  <a:lnTo>
                    <a:pt x="29" y="261"/>
                  </a:lnTo>
                  <a:lnTo>
                    <a:pt x="23" y="261"/>
                  </a:lnTo>
                  <a:lnTo>
                    <a:pt x="12" y="244"/>
                  </a:lnTo>
                  <a:lnTo>
                    <a:pt x="12" y="233"/>
                  </a:lnTo>
                  <a:lnTo>
                    <a:pt x="6" y="233"/>
                  </a:lnTo>
                  <a:lnTo>
                    <a:pt x="6" y="221"/>
                  </a:lnTo>
                  <a:lnTo>
                    <a:pt x="0" y="221"/>
                  </a:lnTo>
                  <a:close/>
                </a:path>
              </a:pathLst>
            </a:custGeom>
            <a:solidFill>
              <a:schemeClr val="bg1">
                <a:lumMod val="95000"/>
              </a:schemeClr>
            </a:solidFill>
            <a:ln w="25400">
              <a:solidFill>
                <a:srgbClr val="B4B4B4"/>
              </a:solidFill>
              <a:round/>
              <a:headEnd/>
              <a:tailEnd/>
            </a:ln>
          </p:spPr>
          <p:txBody>
            <a:bodyPr lIns="93296" tIns="46648" rIns="93296" bIns="46648"/>
            <a:lstStyle/>
            <a:p>
              <a:pPr>
                <a:defRPr/>
              </a:pPr>
              <a:endParaRPr lang="en-US" sz="1000" kern="0">
                <a:solidFill>
                  <a:prstClr val="black">
                    <a:lumMod val="65000"/>
                    <a:lumOff val="35000"/>
                  </a:prstClr>
                </a:solidFill>
              </a:endParaRPr>
            </a:p>
          </p:txBody>
        </p:sp>
        <p:sp>
          <p:nvSpPr>
            <p:cNvPr id="23" name="Freeform 22"/>
            <p:cNvSpPr>
              <a:spLocks/>
            </p:cNvSpPr>
            <p:nvPr/>
          </p:nvSpPr>
          <p:spPr bwMode="gray">
            <a:xfrm>
              <a:off x="1351058" y="3647609"/>
              <a:ext cx="859029" cy="875683"/>
            </a:xfrm>
            <a:custGeom>
              <a:avLst/>
              <a:gdLst>
                <a:gd name="T0" fmla="*/ 2147483647 w 612"/>
                <a:gd name="T1" fmla="*/ 2147483647 h 657"/>
                <a:gd name="T2" fmla="*/ 0 w 612"/>
                <a:gd name="T3" fmla="*/ 2147483647 h 657"/>
                <a:gd name="T4" fmla="*/ 2147483647 w 612"/>
                <a:gd name="T5" fmla="*/ 2147483647 h 657"/>
                <a:gd name="T6" fmla="*/ 2147483647 w 612"/>
                <a:gd name="T7" fmla="*/ 2147483647 h 657"/>
                <a:gd name="T8" fmla="*/ 2147483647 w 612"/>
                <a:gd name="T9" fmla="*/ 2147483647 h 657"/>
                <a:gd name="T10" fmla="*/ 2147483647 w 612"/>
                <a:gd name="T11" fmla="*/ 2147483647 h 657"/>
                <a:gd name="T12" fmla="*/ 2147483647 w 612"/>
                <a:gd name="T13" fmla="*/ 2147483647 h 657"/>
                <a:gd name="T14" fmla="*/ 2147483647 w 612"/>
                <a:gd name="T15" fmla="*/ 2147483647 h 657"/>
                <a:gd name="T16" fmla="*/ 2147483647 w 612"/>
                <a:gd name="T17" fmla="*/ 2147483647 h 657"/>
                <a:gd name="T18" fmla="*/ 2147483647 w 612"/>
                <a:gd name="T19" fmla="*/ 2147483647 h 657"/>
                <a:gd name="T20" fmla="*/ 2147483647 w 612"/>
                <a:gd name="T21" fmla="*/ 2147483647 h 657"/>
                <a:gd name="T22" fmla="*/ 2147483647 w 612"/>
                <a:gd name="T23" fmla="*/ 2147483647 h 657"/>
                <a:gd name="T24" fmla="*/ 2147483647 w 612"/>
                <a:gd name="T25" fmla="*/ 2147483647 h 657"/>
                <a:gd name="T26" fmla="*/ 2147483647 w 612"/>
                <a:gd name="T27" fmla="*/ 2147483647 h 657"/>
                <a:gd name="T28" fmla="*/ 2147483647 w 612"/>
                <a:gd name="T29" fmla="*/ 2147483647 h 657"/>
                <a:gd name="T30" fmla="*/ 2147483647 w 612"/>
                <a:gd name="T31" fmla="*/ 2147483647 h 657"/>
                <a:gd name="T32" fmla="*/ 2147483647 w 612"/>
                <a:gd name="T33" fmla="*/ 2147483647 h 657"/>
                <a:gd name="T34" fmla="*/ 2147483647 w 612"/>
                <a:gd name="T35" fmla="*/ 2147483647 h 657"/>
                <a:gd name="T36" fmla="*/ 2147483647 w 612"/>
                <a:gd name="T37" fmla="*/ 2147483647 h 657"/>
                <a:gd name="T38" fmla="*/ 2147483647 w 612"/>
                <a:gd name="T39" fmla="*/ 2147483647 h 657"/>
                <a:gd name="T40" fmla="*/ 2147483647 w 612"/>
                <a:gd name="T41" fmla="*/ 2147483647 h 657"/>
                <a:gd name="T42" fmla="*/ 2147483647 w 612"/>
                <a:gd name="T43" fmla="*/ 2147483647 h 657"/>
                <a:gd name="T44" fmla="*/ 2147483647 w 612"/>
                <a:gd name="T45" fmla="*/ 2147483647 h 657"/>
                <a:gd name="T46" fmla="*/ 2147483647 w 612"/>
                <a:gd name="T47" fmla="*/ 2147483647 h 657"/>
                <a:gd name="T48" fmla="*/ 2147483647 w 612"/>
                <a:gd name="T49" fmla="*/ 2147483647 h 657"/>
                <a:gd name="T50" fmla="*/ 2147483647 w 612"/>
                <a:gd name="T51" fmla="*/ 2147483647 h 657"/>
                <a:gd name="T52" fmla="*/ 2147483647 w 612"/>
                <a:gd name="T53" fmla="*/ 2147483647 h 657"/>
                <a:gd name="T54" fmla="*/ 2147483647 w 612"/>
                <a:gd name="T55" fmla="*/ 2147483647 h 657"/>
                <a:gd name="T56" fmla="*/ 2147483647 w 612"/>
                <a:gd name="T57" fmla="*/ 2147483647 h 657"/>
                <a:gd name="T58" fmla="*/ 2147483647 w 612"/>
                <a:gd name="T59" fmla="*/ 2147483647 h 657"/>
                <a:gd name="T60" fmla="*/ 2147483647 w 612"/>
                <a:gd name="T61" fmla="*/ 2147483647 h 657"/>
                <a:gd name="T62" fmla="*/ 2147483647 w 612"/>
                <a:gd name="T63" fmla="*/ 2147483647 h 657"/>
                <a:gd name="T64" fmla="*/ 2147483647 w 612"/>
                <a:gd name="T65" fmla="*/ 2147483647 h 657"/>
                <a:gd name="T66" fmla="*/ 2147483647 w 612"/>
                <a:gd name="T67" fmla="*/ 2147483647 h 657"/>
                <a:gd name="T68" fmla="*/ 2147483647 w 612"/>
                <a:gd name="T69" fmla="*/ 2147483647 h 657"/>
                <a:gd name="T70" fmla="*/ 2147483647 w 612"/>
                <a:gd name="T71" fmla="*/ 2147483647 h 657"/>
                <a:gd name="T72" fmla="*/ 2147483647 w 612"/>
                <a:gd name="T73" fmla="*/ 2147483647 h 657"/>
                <a:gd name="T74" fmla="*/ 2147483647 w 612"/>
                <a:gd name="T75" fmla="*/ 2147483647 h 657"/>
                <a:gd name="T76" fmla="*/ 2147483647 w 612"/>
                <a:gd name="T77" fmla="*/ 2147483647 h 657"/>
                <a:gd name="T78" fmla="*/ 2147483647 w 612"/>
                <a:gd name="T79" fmla="*/ 2147483647 h 657"/>
                <a:gd name="T80" fmla="*/ 2147483647 w 612"/>
                <a:gd name="T81" fmla="*/ 2147483647 h 657"/>
                <a:gd name="T82" fmla="*/ 2147483647 w 612"/>
                <a:gd name="T83" fmla="*/ 2147483647 h 657"/>
                <a:gd name="T84" fmla="*/ 2147483647 w 612"/>
                <a:gd name="T85" fmla="*/ 2147483647 h 657"/>
                <a:gd name="T86" fmla="*/ 2147483647 w 612"/>
                <a:gd name="T87" fmla="*/ 2147483647 h 657"/>
                <a:gd name="T88" fmla="*/ 2147483647 w 612"/>
                <a:gd name="T89" fmla="*/ 2147483647 h 657"/>
                <a:gd name="T90" fmla="*/ 2147483647 w 612"/>
                <a:gd name="T91" fmla="*/ 2147483647 h 657"/>
                <a:gd name="T92" fmla="*/ 2147483647 w 612"/>
                <a:gd name="T93" fmla="*/ 2147483647 h 657"/>
                <a:gd name="T94" fmla="*/ 2147483647 w 612"/>
                <a:gd name="T95" fmla="*/ 2147483647 h 657"/>
                <a:gd name="T96" fmla="*/ 2147483647 w 612"/>
                <a:gd name="T97" fmla="*/ 2147483647 h 657"/>
                <a:gd name="T98" fmla="*/ 2147483647 w 612"/>
                <a:gd name="T99" fmla="*/ 2147483647 h 657"/>
                <a:gd name="T100" fmla="*/ 2147483647 w 612"/>
                <a:gd name="T101" fmla="*/ 2147483647 h 657"/>
                <a:gd name="T102" fmla="*/ 2147483647 w 612"/>
                <a:gd name="T103" fmla="*/ 2147483647 h 657"/>
                <a:gd name="T104" fmla="*/ 2147483647 w 612"/>
                <a:gd name="T105" fmla="*/ 2147483647 h 657"/>
                <a:gd name="T106" fmla="*/ 2147483647 w 612"/>
                <a:gd name="T107" fmla="*/ 2147483647 h 657"/>
                <a:gd name="T108" fmla="*/ 2147483647 w 612"/>
                <a:gd name="T109" fmla="*/ 2147483647 h 657"/>
                <a:gd name="T110" fmla="*/ 2147483647 w 612"/>
                <a:gd name="T111" fmla="*/ 2147483647 h 657"/>
                <a:gd name="T112" fmla="*/ 2147483647 w 612"/>
                <a:gd name="T113" fmla="*/ 2147483647 h 657"/>
                <a:gd name="T114" fmla="*/ 2147483647 w 612"/>
                <a:gd name="T115" fmla="*/ 2147483647 h 657"/>
                <a:gd name="T116" fmla="*/ 2147483647 w 612"/>
                <a:gd name="T117" fmla="*/ 2147483647 h 657"/>
                <a:gd name="T118" fmla="*/ 2147483647 w 612"/>
                <a:gd name="T119" fmla="*/ 2147483647 h 657"/>
                <a:gd name="T120" fmla="*/ 2147483647 w 612"/>
                <a:gd name="T121" fmla="*/ 2147483647 h 657"/>
                <a:gd name="T122" fmla="*/ 2147483647 w 612"/>
                <a:gd name="T123" fmla="*/ 2147483647 h 65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12"/>
                <a:gd name="T187" fmla="*/ 0 h 657"/>
                <a:gd name="T188" fmla="*/ 612 w 612"/>
                <a:gd name="T189" fmla="*/ 657 h 657"/>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12" h="657">
                  <a:moveTo>
                    <a:pt x="40" y="510"/>
                  </a:moveTo>
                  <a:lnTo>
                    <a:pt x="40" y="504"/>
                  </a:lnTo>
                  <a:lnTo>
                    <a:pt x="34" y="499"/>
                  </a:lnTo>
                  <a:lnTo>
                    <a:pt x="29" y="493"/>
                  </a:lnTo>
                  <a:lnTo>
                    <a:pt x="23" y="487"/>
                  </a:lnTo>
                  <a:lnTo>
                    <a:pt x="17" y="487"/>
                  </a:lnTo>
                  <a:lnTo>
                    <a:pt x="12" y="487"/>
                  </a:lnTo>
                  <a:lnTo>
                    <a:pt x="12" y="482"/>
                  </a:lnTo>
                  <a:lnTo>
                    <a:pt x="6" y="482"/>
                  </a:lnTo>
                  <a:lnTo>
                    <a:pt x="6" y="476"/>
                  </a:lnTo>
                  <a:lnTo>
                    <a:pt x="0" y="470"/>
                  </a:lnTo>
                  <a:lnTo>
                    <a:pt x="0" y="465"/>
                  </a:lnTo>
                  <a:lnTo>
                    <a:pt x="0" y="459"/>
                  </a:lnTo>
                  <a:lnTo>
                    <a:pt x="0" y="453"/>
                  </a:lnTo>
                  <a:lnTo>
                    <a:pt x="6" y="453"/>
                  </a:lnTo>
                  <a:lnTo>
                    <a:pt x="6" y="448"/>
                  </a:lnTo>
                  <a:lnTo>
                    <a:pt x="6" y="442"/>
                  </a:lnTo>
                  <a:lnTo>
                    <a:pt x="6" y="436"/>
                  </a:lnTo>
                  <a:lnTo>
                    <a:pt x="17" y="436"/>
                  </a:lnTo>
                  <a:lnTo>
                    <a:pt x="23" y="436"/>
                  </a:lnTo>
                  <a:lnTo>
                    <a:pt x="23" y="431"/>
                  </a:lnTo>
                  <a:lnTo>
                    <a:pt x="29" y="425"/>
                  </a:lnTo>
                  <a:lnTo>
                    <a:pt x="29" y="419"/>
                  </a:lnTo>
                  <a:lnTo>
                    <a:pt x="29" y="414"/>
                  </a:lnTo>
                  <a:lnTo>
                    <a:pt x="34" y="408"/>
                  </a:lnTo>
                  <a:lnTo>
                    <a:pt x="34" y="402"/>
                  </a:lnTo>
                  <a:lnTo>
                    <a:pt x="40" y="397"/>
                  </a:lnTo>
                  <a:lnTo>
                    <a:pt x="46" y="391"/>
                  </a:lnTo>
                  <a:lnTo>
                    <a:pt x="46" y="385"/>
                  </a:lnTo>
                  <a:lnTo>
                    <a:pt x="51" y="380"/>
                  </a:lnTo>
                  <a:lnTo>
                    <a:pt x="51" y="374"/>
                  </a:lnTo>
                  <a:lnTo>
                    <a:pt x="51" y="368"/>
                  </a:lnTo>
                  <a:lnTo>
                    <a:pt x="51" y="363"/>
                  </a:lnTo>
                  <a:lnTo>
                    <a:pt x="46" y="363"/>
                  </a:lnTo>
                  <a:lnTo>
                    <a:pt x="46" y="357"/>
                  </a:lnTo>
                  <a:lnTo>
                    <a:pt x="40" y="357"/>
                  </a:lnTo>
                  <a:lnTo>
                    <a:pt x="34" y="351"/>
                  </a:lnTo>
                  <a:lnTo>
                    <a:pt x="34" y="346"/>
                  </a:lnTo>
                  <a:lnTo>
                    <a:pt x="34" y="334"/>
                  </a:lnTo>
                  <a:lnTo>
                    <a:pt x="40" y="329"/>
                  </a:lnTo>
                  <a:lnTo>
                    <a:pt x="40" y="317"/>
                  </a:lnTo>
                  <a:lnTo>
                    <a:pt x="46" y="317"/>
                  </a:lnTo>
                  <a:lnTo>
                    <a:pt x="46" y="306"/>
                  </a:lnTo>
                  <a:lnTo>
                    <a:pt x="46" y="300"/>
                  </a:lnTo>
                  <a:lnTo>
                    <a:pt x="51" y="300"/>
                  </a:lnTo>
                  <a:lnTo>
                    <a:pt x="57" y="300"/>
                  </a:lnTo>
                  <a:lnTo>
                    <a:pt x="57" y="295"/>
                  </a:lnTo>
                  <a:lnTo>
                    <a:pt x="63" y="295"/>
                  </a:lnTo>
                  <a:lnTo>
                    <a:pt x="63" y="289"/>
                  </a:lnTo>
                  <a:lnTo>
                    <a:pt x="63" y="278"/>
                  </a:lnTo>
                  <a:lnTo>
                    <a:pt x="68" y="278"/>
                  </a:lnTo>
                  <a:lnTo>
                    <a:pt x="74" y="272"/>
                  </a:lnTo>
                  <a:lnTo>
                    <a:pt x="74" y="266"/>
                  </a:lnTo>
                  <a:lnTo>
                    <a:pt x="80" y="261"/>
                  </a:lnTo>
                  <a:lnTo>
                    <a:pt x="85" y="249"/>
                  </a:lnTo>
                  <a:lnTo>
                    <a:pt x="91" y="249"/>
                  </a:lnTo>
                  <a:lnTo>
                    <a:pt x="97" y="249"/>
                  </a:lnTo>
                  <a:lnTo>
                    <a:pt x="108" y="249"/>
                  </a:lnTo>
                  <a:lnTo>
                    <a:pt x="136" y="255"/>
                  </a:lnTo>
                  <a:lnTo>
                    <a:pt x="148" y="255"/>
                  </a:lnTo>
                  <a:lnTo>
                    <a:pt x="159" y="255"/>
                  </a:lnTo>
                  <a:lnTo>
                    <a:pt x="165" y="255"/>
                  </a:lnTo>
                  <a:lnTo>
                    <a:pt x="176" y="255"/>
                  </a:lnTo>
                  <a:lnTo>
                    <a:pt x="187" y="255"/>
                  </a:lnTo>
                  <a:lnTo>
                    <a:pt x="187" y="261"/>
                  </a:lnTo>
                  <a:lnTo>
                    <a:pt x="193" y="261"/>
                  </a:lnTo>
                  <a:lnTo>
                    <a:pt x="199" y="261"/>
                  </a:lnTo>
                  <a:lnTo>
                    <a:pt x="199" y="266"/>
                  </a:lnTo>
                  <a:lnTo>
                    <a:pt x="199" y="272"/>
                  </a:lnTo>
                  <a:lnTo>
                    <a:pt x="187" y="272"/>
                  </a:lnTo>
                  <a:lnTo>
                    <a:pt x="182" y="272"/>
                  </a:lnTo>
                  <a:lnTo>
                    <a:pt x="182" y="278"/>
                  </a:lnTo>
                  <a:lnTo>
                    <a:pt x="187" y="283"/>
                  </a:lnTo>
                  <a:lnTo>
                    <a:pt x="187" y="289"/>
                  </a:lnTo>
                  <a:lnTo>
                    <a:pt x="193" y="295"/>
                  </a:lnTo>
                  <a:lnTo>
                    <a:pt x="193" y="300"/>
                  </a:lnTo>
                  <a:lnTo>
                    <a:pt x="199" y="306"/>
                  </a:lnTo>
                  <a:lnTo>
                    <a:pt x="199" y="312"/>
                  </a:lnTo>
                  <a:lnTo>
                    <a:pt x="204" y="312"/>
                  </a:lnTo>
                  <a:lnTo>
                    <a:pt x="204" y="306"/>
                  </a:lnTo>
                  <a:lnTo>
                    <a:pt x="210" y="306"/>
                  </a:lnTo>
                  <a:lnTo>
                    <a:pt x="210" y="300"/>
                  </a:lnTo>
                  <a:lnTo>
                    <a:pt x="216" y="300"/>
                  </a:lnTo>
                  <a:lnTo>
                    <a:pt x="221" y="300"/>
                  </a:lnTo>
                  <a:lnTo>
                    <a:pt x="227" y="295"/>
                  </a:lnTo>
                  <a:lnTo>
                    <a:pt x="233" y="300"/>
                  </a:lnTo>
                  <a:lnTo>
                    <a:pt x="238" y="306"/>
                  </a:lnTo>
                  <a:lnTo>
                    <a:pt x="244" y="306"/>
                  </a:lnTo>
                  <a:lnTo>
                    <a:pt x="250" y="300"/>
                  </a:lnTo>
                  <a:lnTo>
                    <a:pt x="255" y="295"/>
                  </a:lnTo>
                  <a:lnTo>
                    <a:pt x="255" y="289"/>
                  </a:lnTo>
                  <a:lnTo>
                    <a:pt x="261" y="289"/>
                  </a:lnTo>
                  <a:lnTo>
                    <a:pt x="261" y="283"/>
                  </a:lnTo>
                  <a:lnTo>
                    <a:pt x="261" y="278"/>
                  </a:lnTo>
                  <a:lnTo>
                    <a:pt x="261" y="272"/>
                  </a:lnTo>
                  <a:lnTo>
                    <a:pt x="261" y="266"/>
                  </a:lnTo>
                  <a:lnTo>
                    <a:pt x="261" y="261"/>
                  </a:lnTo>
                  <a:lnTo>
                    <a:pt x="267" y="261"/>
                  </a:lnTo>
                  <a:lnTo>
                    <a:pt x="272" y="261"/>
                  </a:lnTo>
                  <a:lnTo>
                    <a:pt x="272" y="255"/>
                  </a:lnTo>
                  <a:lnTo>
                    <a:pt x="272" y="249"/>
                  </a:lnTo>
                  <a:lnTo>
                    <a:pt x="278" y="244"/>
                  </a:lnTo>
                  <a:lnTo>
                    <a:pt x="284" y="238"/>
                  </a:lnTo>
                  <a:lnTo>
                    <a:pt x="284" y="232"/>
                  </a:lnTo>
                  <a:lnTo>
                    <a:pt x="284" y="227"/>
                  </a:lnTo>
                  <a:lnTo>
                    <a:pt x="284" y="221"/>
                  </a:lnTo>
                  <a:lnTo>
                    <a:pt x="284" y="215"/>
                  </a:lnTo>
                  <a:lnTo>
                    <a:pt x="284" y="210"/>
                  </a:lnTo>
                  <a:lnTo>
                    <a:pt x="284" y="204"/>
                  </a:lnTo>
                  <a:lnTo>
                    <a:pt x="289" y="198"/>
                  </a:lnTo>
                  <a:lnTo>
                    <a:pt x="289" y="193"/>
                  </a:lnTo>
                  <a:lnTo>
                    <a:pt x="295" y="193"/>
                  </a:lnTo>
                  <a:lnTo>
                    <a:pt x="295" y="187"/>
                  </a:lnTo>
                  <a:lnTo>
                    <a:pt x="301" y="181"/>
                  </a:lnTo>
                  <a:lnTo>
                    <a:pt x="301" y="176"/>
                  </a:lnTo>
                  <a:lnTo>
                    <a:pt x="306" y="176"/>
                  </a:lnTo>
                  <a:lnTo>
                    <a:pt x="306" y="170"/>
                  </a:lnTo>
                  <a:lnTo>
                    <a:pt x="312" y="159"/>
                  </a:lnTo>
                  <a:lnTo>
                    <a:pt x="312" y="153"/>
                  </a:lnTo>
                  <a:lnTo>
                    <a:pt x="312" y="147"/>
                  </a:lnTo>
                  <a:lnTo>
                    <a:pt x="318" y="142"/>
                  </a:lnTo>
                  <a:lnTo>
                    <a:pt x="318" y="136"/>
                  </a:lnTo>
                  <a:lnTo>
                    <a:pt x="318" y="130"/>
                  </a:lnTo>
                  <a:lnTo>
                    <a:pt x="318" y="125"/>
                  </a:lnTo>
                  <a:lnTo>
                    <a:pt x="318" y="119"/>
                  </a:lnTo>
                  <a:lnTo>
                    <a:pt x="323" y="119"/>
                  </a:lnTo>
                  <a:lnTo>
                    <a:pt x="329" y="108"/>
                  </a:lnTo>
                  <a:lnTo>
                    <a:pt x="329" y="102"/>
                  </a:lnTo>
                  <a:lnTo>
                    <a:pt x="329" y="96"/>
                  </a:lnTo>
                  <a:lnTo>
                    <a:pt x="335" y="96"/>
                  </a:lnTo>
                  <a:lnTo>
                    <a:pt x="340" y="91"/>
                  </a:lnTo>
                  <a:lnTo>
                    <a:pt x="346" y="91"/>
                  </a:lnTo>
                  <a:lnTo>
                    <a:pt x="346" y="85"/>
                  </a:lnTo>
                  <a:lnTo>
                    <a:pt x="346" y="79"/>
                  </a:lnTo>
                  <a:lnTo>
                    <a:pt x="346" y="74"/>
                  </a:lnTo>
                  <a:lnTo>
                    <a:pt x="346" y="68"/>
                  </a:lnTo>
                  <a:lnTo>
                    <a:pt x="346" y="62"/>
                  </a:lnTo>
                  <a:lnTo>
                    <a:pt x="346" y="57"/>
                  </a:lnTo>
                  <a:lnTo>
                    <a:pt x="352" y="57"/>
                  </a:lnTo>
                  <a:lnTo>
                    <a:pt x="352" y="51"/>
                  </a:lnTo>
                  <a:lnTo>
                    <a:pt x="346" y="51"/>
                  </a:lnTo>
                  <a:lnTo>
                    <a:pt x="346" y="45"/>
                  </a:lnTo>
                  <a:lnTo>
                    <a:pt x="340" y="45"/>
                  </a:lnTo>
                  <a:lnTo>
                    <a:pt x="340" y="40"/>
                  </a:lnTo>
                  <a:lnTo>
                    <a:pt x="340" y="34"/>
                  </a:lnTo>
                  <a:lnTo>
                    <a:pt x="340" y="28"/>
                  </a:lnTo>
                  <a:lnTo>
                    <a:pt x="346" y="28"/>
                  </a:lnTo>
                  <a:lnTo>
                    <a:pt x="346" y="23"/>
                  </a:lnTo>
                  <a:lnTo>
                    <a:pt x="352" y="23"/>
                  </a:lnTo>
                  <a:lnTo>
                    <a:pt x="357" y="23"/>
                  </a:lnTo>
                  <a:lnTo>
                    <a:pt x="363" y="17"/>
                  </a:lnTo>
                  <a:lnTo>
                    <a:pt x="363" y="11"/>
                  </a:lnTo>
                  <a:lnTo>
                    <a:pt x="369" y="11"/>
                  </a:lnTo>
                  <a:lnTo>
                    <a:pt x="369" y="6"/>
                  </a:lnTo>
                  <a:lnTo>
                    <a:pt x="374" y="6"/>
                  </a:lnTo>
                  <a:lnTo>
                    <a:pt x="380" y="0"/>
                  </a:lnTo>
                  <a:lnTo>
                    <a:pt x="386" y="0"/>
                  </a:lnTo>
                  <a:lnTo>
                    <a:pt x="386" y="6"/>
                  </a:lnTo>
                  <a:lnTo>
                    <a:pt x="386" y="11"/>
                  </a:lnTo>
                  <a:lnTo>
                    <a:pt x="391" y="11"/>
                  </a:lnTo>
                  <a:lnTo>
                    <a:pt x="391" y="17"/>
                  </a:lnTo>
                  <a:lnTo>
                    <a:pt x="397" y="17"/>
                  </a:lnTo>
                  <a:lnTo>
                    <a:pt x="403" y="11"/>
                  </a:lnTo>
                  <a:lnTo>
                    <a:pt x="408" y="17"/>
                  </a:lnTo>
                  <a:lnTo>
                    <a:pt x="408" y="23"/>
                  </a:lnTo>
                  <a:lnTo>
                    <a:pt x="403" y="28"/>
                  </a:lnTo>
                  <a:lnTo>
                    <a:pt x="397" y="28"/>
                  </a:lnTo>
                  <a:lnTo>
                    <a:pt x="397" y="40"/>
                  </a:lnTo>
                  <a:lnTo>
                    <a:pt x="397" y="45"/>
                  </a:lnTo>
                  <a:lnTo>
                    <a:pt x="397" y="51"/>
                  </a:lnTo>
                  <a:lnTo>
                    <a:pt x="403" y="51"/>
                  </a:lnTo>
                  <a:lnTo>
                    <a:pt x="408" y="51"/>
                  </a:lnTo>
                  <a:lnTo>
                    <a:pt x="414" y="51"/>
                  </a:lnTo>
                  <a:lnTo>
                    <a:pt x="420" y="51"/>
                  </a:lnTo>
                  <a:lnTo>
                    <a:pt x="425" y="51"/>
                  </a:lnTo>
                  <a:lnTo>
                    <a:pt x="431" y="51"/>
                  </a:lnTo>
                  <a:lnTo>
                    <a:pt x="437" y="45"/>
                  </a:lnTo>
                  <a:lnTo>
                    <a:pt x="442" y="40"/>
                  </a:lnTo>
                  <a:lnTo>
                    <a:pt x="454" y="40"/>
                  </a:lnTo>
                  <a:lnTo>
                    <a:pt x="459" y="45"/>
                  </a:lnTo>
                  <a:lnTo>
                    <a:pt x="465" y="51"/>
                  </a:lnTo>
                  <a:lnTo>
                    <a:pt x="471" y="51"/>
                  </a:lnTo>
                  <a:lnTo>
                    <a:pt x="471" y="57"/>
                  </a:lnTo>
                  <a:lnTo>
                    <a:pt x="471" y="62"/>
                  </a:lnTo>
                  <a:lnTo>
                    <a:pt x="476" y="62"/>
                  </a:lnTo>
                  <a:lnTo>
                    <a:pt x="476" y="68"/>
                  </a:lnTo>
                  <a:lnTo>
                    <a:pt x="482" y="68"/>
                  </a:lnTo>
                  <a:lnTo>
                    <a:pt x="488" y="68"/>
                  </a:lnTo>
                  <a:lnTo>
                    <a:pt x="493" y="68"/>
                  </a:lnTo>
                  <a:lnTo>
                    <a:pt x="499" y="68"/>
                  </a:lnTo>
                  <a:lnTo>
                    <a:pt x="499" y="74"/>
                  </a:lnTo>
                  <a:lnTo>
                    <a:pt x="499" y="79"/>
                  </a:lnTo>
                  <a:lnTo>
                    <a:pt x="499" y="85"/>
                  </a:lnTo>
                  <a:lnTo>
                    <a:pt x="505" y="85"/>
                  </a:lnTo>
                  <a:lnTo>
                    <a:pt x="510" y="85"/>
                  </a:lnTo>
                  <a:lnTo>
                    <a:pt x="516" y="85"/>
                  </a:lnTo>
                  <a:lnTo>
                    <a:pt x="522" y="79"/>
                  </a:lnTo>
                  <a:lnTo>
                    <a:pt x="522" y="85"/>
                  </a:lnTo>
                  <a:lnTo>
                    <a:pt x="522" y="91"/>
                  </a:lnTo>
                  <a:lnTo>
                    <a:pt x="527" y="96"/>
                  </a:lnTo>
                  <a:lnTo>
                    <a:pt x="527" y="102"/>
                  </a:lnTo>
                  <a:lnTo>
                    <a:pt x="527" y="108"/>
                  </a:lnTo>
                  <a:lnTo>
                    <a:pt x="533" y="108"/>
                  </a:lnTo>
                  <a:lnTo>
                    <a:pt x="533" y="113"/>
                  </a:lnTo>
                  <a:lnTo>
                    <a:pt x="539" y="113"/>
                  </a:lnTo>
                  <a:lnTo>
                    <a:pt x="544" y="113"/>
                  </a:lnTo>
                  <a:lnTo>
                    <a:pt x="550" y="113"/>
                  </a:lnTo>
                  <a:lnTo>
                    <a:pt x="550" y="108"/>
                  </a:lnTo>
                  <a:lnTo>
                    <a:pt x="556" y="108"/>
                  </a:lnTo>
                  <a:lnTo>
                    <a:pt x="567" y="108"/>
                  </a:lnTo>
                  <a:lnTo>
                    <a:pt x="573" y="108"/>
                  </a:lnTo>
                  <a:lnTo>
                    <a:pt x="578" y="102"/>
                  </a:lnTo>
                  <a:lnTo>
                    <a:pt x="584" y="108"/>
                  </a:lnTo>
                  <a:lnTo>
                    <a:pt x="590" y="108"/>
                  </a:lnTo>
                  <a:lnTo>
                    <a:pt x="595" y="108"/>
                  </a:lnTo>
                  <a:lnTo>
                    <a:pt x="595" y="113"/>
                  </a:lnTo>
                  <a:lnTo>
                    <a:pt x="595" y="119"/>
                  </a:lnTo>
                  <a:lnTo>
                    <a:pt x="601" y="125"/>
                  </a:lnTo>
                  <a:lnTo>
                    <a:pt x="601" y="130"/>
                  </a:lnTo>
                  <a:lnTo>
                    <a:pt x="607" y="130"/>
                  </a:lnTo>
                  <a:lnTo>
                    <a:pt x="607" y="136"/>
                  </a:lnTo>
                  <a:lnTo>
                    <a:pt x="607" y="142"/>
                  </a:lnTo>
                  <a:lnTo>
                    <a:pt x="607" y="147"/>
                  </a:lnTo>
                  <a:lnTo>
                    <a:pt x="612" y="153"/>
                  </a:lnTo>
                  <a:lnTo>
                    <a:pt x="612" y="159"/>
                  </a:lnTo>
                  <a:lnTo>
                    <a:pt x="607" y="164"/>
                  </a:lnTo>
                  <a:lnTo>
                    <a:pt x="607" y="176"/>
                  </a:lnTo>
                  <a:lnTo>
                    <a:pt x="607" y="181"/>
                  </a:lnTo>
                  <a:lnTo>
                    <a:pt x="607" y="187"/>
                  </a:lnTo>
                  <a:lnTo>
                    <a:pt x="601" y="187"/>
                  </a:lnTo>
                  <a:lnTo>
                    <a:pt x="601" y="193"/>
                  </a:lnTo>
                  <a:lnTo>
                    <a:pt x="595" y="204"/>
                  </a:lnTo>
                  <a:lnTo>
                    <a:pt x="595" y="210"/>
                  </a:lnTo>
                  <a:lnTo>
                    <a:pt x="595" y="221"/>
                  </a:lnTo>
                  <a:lnTo>
                    <a:pt x="595" y="232"/>
                  </a:lnTo>
                  <a:lnTo>
                    <a:pt x="590" y="238"/>
                  </a:lnTo>
                  <a:lnTo>
                    <a:pt x="590" y="244"/>
                  </a:lnTo>
                  <a:lnTo>
                    <a:pt x="584" y="249"/>
                  </a:lnTo>
                  <a:lnTo>
                    <a:pt x="584" y="255"/>
                  </a:lnTo>
                  <a:lnTo>
                    <a:pt x="578" y="261"/>
                  </a:lnTo>
                  <a:lnTo>
                    <a:pt x="578" y="266"/>
                  </a:lnTo>
                  <a:lnTo>
                    <a:pt x="578" y="272"/>
                  </a:lnTo>
                  <a:lnTo>
                    <a:pt x="578" y="278"/>
                  </a:lnTo>
                  <a:lnTo>
                    <a:pt x="578" y="283"/>
                  </a:lnTo>
                  <a:lnTo>
                    <a:pt x="578" y="289"/>
                  </a:lnTo>
                  <a:lnTo>
                    <a:pt x="578" y="300"/>
                  </a:lnTo>
                  <a:lnTo>
                    <a:pt x="578" y="306"/>
                  </a:lnTo>
                  <a:lnTo>
                    <a:pt x="578" y="317"/>
                  </a:lnTo>
                  <a:lnTo>
                    <a:pt x="584" y="329"/>
                  </a:lnTo>
                  <a:lnTo>
                    <a:pt x="584" y="334"/>
                  </a:lnTo>
                  <a:lnTo>
                    <a:pt x="584" y="340"/>
                  </a:lnTo>
                  <a:lnTo>
                    <a:pt x="590" y="346"/>
                  </a:lnTo>
                  <a:lnTo>
                    <a:pt x="590" y="351"/>
                  </a:lnTo>
                  <a:lnTo>
                    <a:pt x="590" y="357"/>
                  </a:lnTo>
                  <a:lnTo>
                    <a:pt x="590" y="368"/>
                  </a:lnTo>
                  <a:lnTo>
                    <a:pt x="590" y="374"/>
                  </a:lnTo>
                  <a:lnTo>
                    <a:pt x="595" y="385"/>
                  </a:lnTo>
                  <a:lnTo>
                    <a:pt x="590" y="385"/>
                  </a:lnTo>
                  <a:lnTo>
                    <a:pt x="584" y="385"/>
                  </a:lnTo>
                  <a:lnTo>
                    <a:pt x="573" y="391"/>
                  </a:lnTo>
                  <a:lnTo>
                    <a:pt x="567" y="391"/>
                  </a:lnTo>
                  <a:lnTo>
                    <a:pt x="550" y="391"/>
                  </a:lnTo>
                  <a:lnTo>
                    <a:pt x="544" y="391"/>
                  </a:lnTo>
                  <a:lnTo>
                    <a:pt x="539" y="391"/>
                  </a:lnTo>
                  <a:lnTo>
                    <a:pt x="533" y="402"/>
                  </a:lnTo>
                  <a:lnTo>
                    <a:pt x="527" y="402"/>
                  </a:lnTo>
                  <a:lnTo>
                    <a:pt x="522" y="402"/>
                  </a:lnTo>
                  <a:lnTo>
                    <a:pt x="516" y="408"/>
                  </a:lnTo>
                  <a:lnTo>
                    <a:pt x="510" y="408"/>
                  </a:lnTo>
                  <a:lnTo>
                    <a:pt x="510" y="414"/>
                  </a:lnTo>
                  <a:lnTo>
                    <a:pt x="505" y="414"/>
                  </a:lnTo>
                  <a:lnTo>
                    <a:pt x="499" y="414"/>
                  </a:lnTo>
                  <a:lnTo>
                    <a:pt x="493" y="419"/>
                  </a:lnTo>
                  <a:lnTo>
                    <a:pt x="493" y="425"/>
                  </a:lnTo>
                  <a:lnTo>
                    <a:pt x="488" y="425"/>
                  </a:lnTo>
                  <a:lnTo>
                    <a:pt x="482" y="425"/>
                  </a:lnTo>
                  <a:lnTo>
                    <a:pt x="476" y="431"/>
                  </a:lnTo>
                  <a:lnTo>
                    <a:pt x="471" y="431"/>
                  </a:lnTo>
                  <a:lnTo>
                    <a:pt x="465" y="436"/>
                  </a:lnTo>
                  <a:lnTo>
                    <a:pt x="459" y="436"/>
                  </a:lnTo>
                  <a:lnTo>
                    <a:pt x="459" y="442"/>
                  </a:lnTo>
                  <a:lnTo>
                    <a:pt x="454" y="442"/>
                  </a:lnTo>
                  <a:lnTo>
                    <a:pt x="442" y="448"/>
                  </a:lnTo>
                  <a:lnTo>
                    <a:pt x="442" y="453"/>
                  </a:lnTo>
                  <a:lnTo>
                    <a:pt x="437" y="453"/>
                  </a:lnTo>
                  <a:lnTo>
                    <a:pt x="431" y="459"/>
                  </a:lnTo>
                  <a:lnTo>
                    <a:pt x="431" y="465"/>
                  </a:lnTo>
                  <a:lnTo>
                    <a:pt x="425" y="465"/>
                  </a:lnTo>
                  <a:lnTo>
                    <a:pt x="425" y="459"/>
                  </a:lnTo>
                  <a:lnTo>
                    <a:pt x="425" y="453"/>
                  </a:lnTo>
                  <a:lnTo>
                    <a:pt x="420" y="453"/>
                  </a:lnTo>
                  <a:lnTo>
                    <a:pt x="420" y="448"/>
                  </a:lnTo>
                  <a:lnTo>
                    <a:pt x="414" y="442"/>
                  </a:lnTo>
                  <a:lnTo>
                    <a:pt x="408" y="442"/>
                  </a:lnTo>
                  <a:lnTo>
                    <a:pt x="403" y="442"/>
                  </a:lnTo>
                  <a:lnTo>
                    <a:pt x="397" y="442"/>
                  </a:lnTo>
                  <a:lnTo>
                    <a:pt x="391" y="442"/>
                  </a:lnTo>
                  <a:lnTo>
                    <a:pt x="386" y="442"/>
                  </a:lnTo>
                  <a:lnTo>
                    <a:pt x="386" y="448"/>
                  </a:lnTo>
                  <a:lnTo>
                    <a:pt x="386" y="453"/>
                  </a:lnTo>
                  <a:lnTo>
                    <a:pt x="380" y="459"/>
                  </a:lnTo>
                  <a:lnTo>
                    <a:pt x="374" y="465"/>
                  </a:lnTo>
                  <a:lnTo>
                    <a:pt x="374" y="470"/>
                  </a:lnTo>
                  <a:lnTo>
                    <a:pt x="380" y="476"/>
                  </a:lnTo>
                  <a:lnTo>
                    <a:pt x="386" y="476"/>
                  </a:lnTo>
                  <a:lnTo>
                    <a:pt x="391" y="482"/>
                  </a:lnTo>
                  <a:lnTo>
                    <a:pt x="397" y="487"/>
                  </a:lnTo>
                  <a:lnTo>
                    <a:pt x="397" y="499"/>
                  </a:lnTo>
                  <a:lnTo>
                    <a:pt x="397" y="510"/>
                  </a:lnTo>
                  <a:lnTo>
                    <a:pt x="397" y="516"/>
                  </a:lnTo>
                  <a:lnTo>
                    <a:pt x="403" y="516"/>
                  </a:lnTo>
                  <a:lnTo>
                    <a:pt x="403" y="521"/>
                  </a:lnTo>
                  <a:lnTo>
                    <a:pt x="403" y="527"/>
                  </a:lnTo>
                  <a:lnTo>
                    <a:pt x="408" y="527"/>
                  </a:lnTo>
                  <a:lnTo>
                    <a:pt x="414" y="533"/>
                  </a:lnTo>
                  <a:lnTo>
                    <a:pt x="414" y="538"/>
                  </a:lnTo>
                  <a:lnTo>
                    <a:pt x="420" y="538"/>
                  </a:lnTo>
                  <a:lnTo>
                    <a:pt x="420" y="544"/>
                  </a:lnTo>
                  <a:lnTo>
                    <a:pt x="425" y="550"/>
                  </a:lnTo>
                  <a:lnTo>
                    <a:pt x="431" y="550"/>
                  </a:lnTo>
                  <a:lnTo>
                    <a:pt x="431" y="555"/>
                  </a:lnTo>
                  <a:lnTo>
                    <a:pt x="442" y="555"/>
                  </a:lnTo>
                  <a:lnTo>
                    <a:pt x="442" y="561"/>
                  </a:lnTo>
                  <a:lnTo>
                    <a:pt x="442" y="567"/>
                  </a:lnTo>
                  <a:lnTo>
                    <a:pt x="437" y="572"/>
                  </a:lnTo>
                  <a:lnTo>
                    <a:pt x="437" y="578"/>
                  </a:lnTo>
                  <a:lnTo>
                    <a:pt x="431" y="584"/>
                  </a:lnTo>
                  <a:lnTo>
                    <a:pt x="431" y="589"/>
                  </a:lnTo>
                  <a:lnTo>
                    <a:pt x="425" y="595"/>
                  </a:lnTo>
                  <a:lnTo>
                    <a:pt x="425" y="601"/>
                  </a:lnTo>
                  <a:lnTo>
                    <a:pt x="420" y="606"/>
                  </a:lnTo>
                  <a:lnTo>
                    <a:pt x="414" y="606"/>
                  </a:lnTo>
                  <a:lnTo>
                    <a:pt x="408" y="612"/>
                  </a:lnTo>
                  <a:lnTo>
                    <a:pt x="403" y="612"/>
                  </a:lnTo>
                  <a:lnTo>
                    <a:pt x="403" y="618"/>
                  </a:lnTo>
                  <a:lnTo>
                    <a:pt x="397" y="618"/>
                  </a:lnTo>
                  <a:lnTo>
                    <a:pt x="397" y="623"/>
                  </a:lnTo>
                  <a:lnTo>
                    <a:pt x="391" y="623"/>
                  </a:lnTo>
                  <a:lnTo>
                    <a:pt x="391" y="629"/>
                  </a:lnTo>
                  <a:lnTo>
                    <a:pt x="386" y="635"/>
                  </a:lnTo>
                  <a:lnTo>
                    <a:pt x="380" y="635"/>
                  </a:lnTo>
                  <a:lnTo>
                    <a:pt x="380" y="640"/>
                  </a:lnTo>
                  <a:lnTo>
                    <a:pt x="374" y="640"/>
                  </a:lnTo>
                  <a:lnTo>
                    <a:pt x="369" y="640"/>
                  </a:lnTo>
                  <a:lnTo>
                    <a:pt x="363" y="646"/>
                  </a:lnTo>
                  <a:lnTo>
                    <a:pt x="357" y="646"/>
                  </a:lnTo>
                  <a:lnTo>
                    <a:pt x="357" y="652"/>
                  </a:lnTo>
                  <a:lnTo>
                    <a:pt x="352" y="652"/>
                  </a:lnTo>
                  <a:lnTo>
                    <a:pt x="346" y="652"/>
                  </a:lnTo>
                  <a:lnTo>
                    <a:pt x="340" y="652"/>
                  </a:lnTo>
                  <a:lnTo>
                    <a:pt x="335" y="657"/>
                  </a:lnTo>
                  <a:lnTo>
                    <a:pt x="329" y="657"/>
                  </a:lnTo>
                  <a:lnTo>
                    <a:pt x="323" y="652"/>
                  </a:lnTo>
                  <a:lnTo>
                    <a:pt x="318" y="652"/>
                  </a:lnTo>
                  <a:lnTo>
                    <a:pt x="318" y="640"/>
                  </a:lnTo>
                  <a:lnTo>
                    <a:pt x="312" y="640"/>
                  </a:lnTo>
                  <a:lnTo>
                    <a:pt x="312" y="635"/>
                  </a:lnTo>
                  <a:lnTo>
                    <a:pt x="312" y="629"/>
                  </a:lnTo>
                  <a:lnTo>
                    <a:pt x="318" y="623"/>
                  </a:lnTo>
                  <a:lnTo>
                    <a:pt x="323" y="618"/>
                  </a:lnTo>
                  <a:lnTo>
                    <a:pt x="323" y="612"/>
                  </a:lnTo>
                  <a:lnTo>
                    <a:pt x="323" y="606"/>
                  </a:lnTo>
                  <a:lnTo>
                    <a:pt x="318" y="606"/>
                  </a:lnTo>
                  <a:lnTo>
                    <a:pt x="312" y="601"/>
                  </a:lnTo>
                  <a:lnTo>
                    <a:pt x="306" y="595"/>
                  </a:lnTo>
                  <a:lnTo>
                    <a:pt x="301" y="595"/>
                  </a:lnTo>
                  <a:lnTo>
                    <a:pt x="295" y="589"/>
                  </a:lnTo>
                  <a:lnTo>
                    <a:pt x="295" y="584"/>
                  </a:lnTo>
                  <a:lnTo>
                    <a:pt x="289" y="584"/>
                  </a:lnTo>
                  <a:lnTo>
                    <a:pt x="289" y="578"/>
                  </a:lnTo>
                  <a:lnTo>
                    <a:pt x="278" y="572"/>
                  </a:lnTo>
                  <a:lnTo>
                    <a:pt x="272" y="567"/>
                  </a:lnTo>
                  <a:lnTo>
                    <a:pt x="267" y="567"/>
                  </a:lnTo>
                  <a:lnTo>
                    <a:pt x="261" y="567"/>
                  </a:lnTo>
                  <a:lnTo>
                    <a:pt x="261" y="561"/>
                  </a:lnTo>
                  <a:lnTo>
                    <a:pt x="255" y="561"/>
                  </a:lnTo>
                  <a:lnTo>
                    <a:pt x="250" y="555"/>
                  </a:lnTo>
                  <a:lnTo>
                    <a:pt x="244" y="555"/>
                  </a:lnTo>
                  <a:lnTo>
                    <a:pt x="244" y="550"/>
                  </a:lnTo>
                  <a:lnTo>
                    <a:pt x="233" y="544"/>
                  </a:lnTo>
                  <a:lnTo>
                    <a:pt x="227" y="544"/>
                  </a:lnTo>
                  <a:lnTo>
                    <a:pt x="227" y="550"/>
                  </a:lnTo>
                  <a:lnTo>
                    <a:pt x="221" y="550"/>
                  </a:lnTo>
                  <a:lnTo>
                    <a:pt x="216" y="555"/>
                  </a:lnTo>
                  <a:lnTo>
                    <a:pt x="210" y="555"/>
                  </a:lnTo>
                  <a:lnTo>
                    <a:pt x="204" y="555"/>
                  </a:lnTo>
                  <a:lnTo>
                    <a:pt x="204" y="561"/>
                  </a:lnTo>
                  <a:lnTo>
                    <a:pt x="199" y="561"/>
                  </a:lnTo>
                  <a:lnTo>
                    <a:pt x="199" y="567"/>
                  </a:lnTo>
                  <a:lnTo>
                    <a:pt x="193" y="567"/>
                  </a:lnTo>
                  <a:lnTo>
                    <a:pt x="187" y="567"/>
                  </a:lnTo>
                  <a:lnTo>
                    <a:pt x="182" y="567"/>
                  </a:lnTo>
                  <a:lnTo>
                    <a:pt x="176" y="561"/>
                  </a:lnTo>
                  <a:lnTo>
                    <a:pt x="176" y="555"/>
                  </a:lnTo>
                  <a:lnTo>
                    <a:pt x="165" y="555"/>
                  </a:lnTo>
                  <a:lnTo>
                    <a:pt x="159" y="561"/>
                  </a:lnTo>
                  <a:lnTo>
                    <a:pt x="159" y="555"/>
                  </a:lnTo>
                  <a:lnTo>
                    <a:pt x="153" y="555"/>
                  </a:lnTo>
                  <a:lnTo>
                    <a:pt x="148" y="555"/>
                  </a:lnTo>
                  <a:lnTo>
                    <a:pt x="148" y="561"/>
                  </a:lnTo>
                  <a:lnTo>
                    <a:pt x="142" y="561"/>
                  </a:lnTo>
                  <a:lnTo>
                    <a:pt x="136" y="561"/>
                  </a:lnTo>
                  <a:lnTo>
                    <a:pt x="136" y="555"/>
                  </a:lnTo>
                  <a:lnTo>
                    <a:pt x="131" y="555"/>
                  </a:lnTo>
                  <a:lnTo>
                    <a:pt x="125" y="555"/>
                  </a:lnTo>
                  <a:lnTo>
                    <a:pt x="119" y="555"/>
                  </a:lnTo>
                  <a:lnTo>
                    <a:pt x="114" y="555"/>
                  </a:lnTo>
                  <a:lnTo>
                    <a:pt x="114" y="561"/>
                  </a:lnTo>
                  <a:lnTo>
                    <a:pt x="114" y="567"/>
                  </a:lnTo>
                  <a:lnTo>
                    <a:pt x="119" y="567"/>
                  </a:lnTo>
                  <a:lnTo>
                    <a:pt x="119" y="572"/>
                  </a:lnTo>
                  <a:lnTo>
                    <a:pt x="119" y="578"/>
                  </a:lnTo>
                  <a:lnTo>
                    <a:pt x="119" y="584"/>
                  </a:lnTo>
                  <a:lnTo>
                    <a:pt x="114" y="584"/>
                  </a:lnTo>
                  <a:lnTo>
                    <a:pt x="108" y="584"/>
                  </a:lnTo>
                  <a:lnTo>
                    <a:pt x="102" y="589"/>
                  </a:lnTo>
                  <a:lnTo>
                    <a:pt x="102" y="595"/>
                  </a:lnTo>
                  <a:lnTo>
                    <a:pt x="97" y="595"/>
                  </a:lnTo>
                  <a:lnTo>
                    <a:pt x="91" y="595"/>
                  </a:lnTo>
                  <a:lnTo>
                    <a:pt x="85" y="589"/>
                  </a:lnTo>
                  <a:lnTo>
                    <a:pt x="85" y="584"/>
                  </a:lnTo>
                  <a:lnTo>
                    <a:pt x="80" y="584"/>
                  </a:lnTo>
                  <a:lnTo>
                    <a:pt x="80" y="578"/>
                  </a:lnTo>
                  <a:lnTo>
                    <a:pt x="80" y="572"/>
                  </a:lnTo>
                  <a:lnTo>
                    <a:pt x="80" y="567"/>
                  </a:lnTo>
                  <a:lnTo>
                    <a:pt x="80" y="555"/>
                  </a:lnTo>
                  <a:lnTo>
                    <a:pt x="85" y="555"/>
                  </a:lnTo>
                  <a:lnTo>
                    <a:pt x="85" y="550"/>
                  </a:lnTo>
                  <a:lnTo>
                    <a:pt x="80" y="544"/>
                  </a:lnTo>
                  <a:lnTo>
                    <a:pt x="74" y="544"/>
                  </a:lnTo>
                  <a:lnTo>
                    <a:pt x="74" y="538"/>
                  </a:lnTo>
                  <a:lnTo>
                    <a:pt x="74" y="533"/>
                  </a:lnTo>
                  <a:lnTo>
                    <a:pt x="68" y="527"/>
                  </a:lnTo>
                  <a:lnTo>
                    <a:pt x="63" y="527"/>
                  </a:lnTo>
                  <a:lnTo>
                    <a:pt x="63" y="521"/>
                  </a:lnTo>
                  <a:lnTo>
                    <a:pt x="57" y="521"/>
                  </a:lnTo>
                  <a:lnTo>
                    <a:pt x="57" y="516"/>
                  </a:lnTo>
                  <a:lnTo>
                    <a:pt x="51" y="516"/>
                  </a:lnTo>
                  <a:lnTo>
                    <a:pt x="46" y="510"/>
                  </a:lnTo>
                  <a:lnTo>
                    <a:pt x="40" y="510"/>
                  </a:lnTo>
                  <a:close/>
                </a:path>
              </a:pathLst>
            </a:custGeom>
            <a:solidFill>
              <a:srgbClr val="FFC000"/>
            </a:solidFill>
            <a:ln w="25400">
              <a:solidFill>
                <a:srgbClr val="B4B4B4"/>
              </a:solidFill>
              <a:round/>
              <a:headEnd/>
              <a:tailEnd/>
            </a:ln>
          </p:spPr>
          <p:txBody>
            <a:bodyPr lIns="93296" tIns="46648" rIns="93296" bIns="46648"/>
            <a:lstStyle/>
            <a:p>
              <a:pPr>
                <a:defRPr/>
              </a:pPr>
              <a:endParaRPr lang="en-US" sz="1000" kern="0">
                <a:solidFill>
                  <a:prstClr val="black">
                    <a:lumMod val="65000"/>
                    <a:lumOff val="35000"/>
                  </a:prstClr>
                </a:solidFill>
              </a:endParaRPr>
            </a:p>
          </p:txBody>
        </p:sp>
        <p:sp>
          <p:nvSpPr>
            <p:cNvPr id="24" name="Freeform 23"/>
            <p:cNvSpPr>
              <a:spLocks/>
            </p:cNvSpPr>
            <p:nvPr/>
          </p:nvSpPr>
          <p:spPr bwMode="gray">
            <a:xfrm>
              <a:off x="2305387" y="3882487"/>
              <a:ext cx="805340" cy="559110"/>
            </a:xfrm>
            <a:custGeom>
              <a:avLst/>
              <a:gdLst>
                <a:gd name="T0" fmla="*/ 2147483647 w 573"/>
                <a:gd name="T1" fmla="*/ 2147483647 h 419"/>
                <a:gd name="T2" fmla="*/ 2147483647 w 573"/>
                <a:gd name="T3" fmla="*/ 2147483647 h 419"/>
                <a:gd name="T4" fmla="*/ 2147483647 w 573"/>
                <a:gd name="T5" fmla="*/ 2147483647 h 419"/>
                <a:gd name="T6" fmla="*/ 2147483647 w 573"/>
                <a:gd name="T7" fmla="*/ 2147483647 h 419"/>
                <a:gd name="T8" fmla="*/ 2147483647 w 573"/>
                <a:gd name="T9" fmla="*/ 2147483647 h 419"/>
                <a:gd name="T10" fmla="*/ 2147483647 w 573"/>
                <a:gd name="T11" fmla="*/ 2147483647 h 419"/>
                <a:gd name="T12" fmla="*/ 2147483647 w 573"/>
                <a:gd name="T13" fmla="*/ 2147483647 h 419"/>
                <a:gd name="T14" fmla="*/ 2147483647 w 573"/>
                <a:gd name="T15" fmla="*/ 2147483647 h 419"/>
                <a:gd name="T16" fmla="*/ 2147483647 w 573"/>
                <a:gd name="T17" fmla="*/ 2147483647 h 419"/>
                <a:gd name="T18" fmla="*/ 2147483647 w 573"/>
                <a:gd name="T19" fmla="*/ 2147483647 h 419"/>
                <a:gd name="T20" fmla="*/ 2147483647 w 573"/>
                <a:gd name="T21" fmla="*/ 2147483647 h 419"/>
                <a:gd name="T22" fmla="*/ 0 w 573"/>
                <a:gd name="T23" fmla="*/ 2147483647 h 419"/>
                <a:gd name="T24" fmla="*/ 2147483647 w 573"/>
                <a:gd name="T25" fmla="*/ 2147483647 h 419"/>
                <a:gd name="T26" fmla="*/ 2147483647 w 573"/>
                <a:gd name="T27" fmla="*/ 2147483647 h 419"/>
                <a:gd name="T28" fmla="*/ 2147483647 w 573"/>
                <a:gd name="T29" fmla="*/ 2147483647 h 419"/>
                <a:gd name="T30" fmla="*/ 2147483647 w 573"/>
                <a:gd name="T31" fmla="*/ 2147483647 h 419"/>
                <a:gd name="T32" fmla="*/ 2147483647 w 573"/>
                <a:gd name="T33" fmla="*/ 2147483647 h 419"/>
                <a:gd name="T34" fmla="*/ 2147483647 w 573"/>
                <a:gd name="T35" fmla="*/ 2147483647 h 419"/>
                <a:gd name="T36" fmla="*/ 2147483647 w 573"/>
                <a:gd name="T37" fmla="*/ 2147483647 h 419"/>
                <a:gd name="T38" fmla="*/ 2147483647 w 573"/>
                <a:gd name="T39" fmla="*/ 0 h 419"/>
                <a:gd name="T40" fmla="*/ 2147483647 w 573"/>
                <a:gd name="T41" fmla="*/ 2147483647 h 419"/>
                <a:gd name="T42" fmla="*/ 2147483647 w 573"/>
                <a:gd name="T43" fmla="*/ 2147483647 h 419"/>
                <a:gd name="T44" fmla="*/ 2147483647 w 573"/>
                <a:gd name="T45" fmla="*/ 2147483647 h 419"/>
                <a:gd name="T46" fmla="*/ 2147483647 w 573"/>
                <a:gd name="T47" fmla="*/ 2147483647 h 419"/>
                <a:gd name="T48" fmla="*/ 2147483647 w 573"/>
                <a:gd name="T49" fmla="*/ 2147483647 h 419"/>
                <a:gd name="T50" fmla="*/ 2147483647 w 573"/>
                <a:gd name="T51" fmla="*/ 2147483647 h 419"/>
                <a:gd name="T52" fmla="*/ 2147483647 w 573"/>
                <a:gd name="T53" fmla="*/ 2147483647 h 419"/>
                <a:gd name="T54" fmla="*/ 2147483647 w 573"/>
                <a:gd name="T55" fmla="*/ 2147483647 h 419"/>
                <a:gd name="T56" fmla="*/ 2147483647 w 573"/>
                <a:gd name="T57" fmla="*/ 2147483647 h 419"/>
                <a:gd name="T58" fmla="*/ 2147483647 w 573"/>
                <a:gd name="T59" fmla="*/ 2147483647 h 419"/>
                <a:gd name="T60" fmla="*/ 2147483647 w 573"/>
                <a:gd name="T61" fmla="*/ 2147483647 h 419"/>
                <a:gd name="T62" fmla="*/ 2147483647 w 573"/>
                <a:gd name="T63" fmla="*/ 2147483647 h 419"/>
                <a:gd name="T64" fmla="*/ 2147483647 w 573"/>
                <a:gd name="T65" fmla="*/ 2147483647 h 419"/>
                <a:gd name="T66" fmla="*/ 2147483647 w 573"/>
                <a:gd name="T67" fmla="*/ 2147483647 h 419"/>
                <a:gd name="T68" fmla="*/ 2147483647 w 573"/>
                <a:gd name="T69" fmla="*/ 2147483647 h 419"/>
                <a:gd name="T70" fmla="*/ 2147483647 w 573"/>
                <a:gd name="T71" fmla="*/ 2147483647 h 419"/>
                <a:gd name="T72" fmla="*/ 2147483647 w 573"/>
                <a:gd name="T73" fmla="*/ 2147483647 h 419"/>
                <a:gd name="T74" fmla="*/ 2147483647 w 573"/>
                <a:gd name="T75" fmla="*/ 2147483647 h 419"/>
                <a:gd name="T76" fmla="*/ 2147483647 w 573"/>
                <a:gd name="T77" fmla="*/ 2147483647 h 419"/>
                <a:gd name="T78" fmla="*/ 2147483647 w 573"/>
                <a:gd name="T79" fmla="*/ 2147483647 h 419"/>
                <a:gd name="T80" fmla="*/ 2147483647 w 573"/>
                <a:gd name="T81" fmla="*/ 2147483647 h 419"/>
                <a:gd name="T82" fmla="*/ 2147483647 w 573"/>
                <a:gd name="T83" fmla="*/ 2147483647 h 419"/>
                <a:gd name="T84" fmla="*/ 2147483647 w 573"/>
                <a:gd name="T85" fmla="*/ 2147483647 h 419"/>
                <a:gd name="T86" fmla="*/ 2147483647 w 573"/>
                <a:gd name="T87" fmla="*/ 2147483647 h 419"/>
                <a:gd name="T88" fmla="*/ 2147483647 w 573"/>
                <a:gd name="T89" fmla="*/ 2147483647 h 419"/>
                <a:gd name="T90" fmla="*/ 2147483647 w 573"/>
                <a:gd name="T91" fmla="*/ 2147483647 h 419"/>
                <a:gd name="T92" fmla="*/ 2147483647 w 573"/>
                <a:gd name="T93" fmla="*/ 2147483647 h 419"/>
                <a:gd name="T94" fmla="*/ 2147483647 w 573"/>
                <a:gd name="T95" fmla="*/ 2147483647 h 419"/>
                <a:gd name="T96" fmla="*/ 2147483647 w 573"/>
                <a:gd name="T97" fmla="*/ 2147483647 h 419"/>
                <a:gd name="T98" fmla="*/ 2147483647 w 573"/>
                <a:gd name="T99" fmla="*/ 2147483647 h 419"/>
                <a:gd name="T100" fmla="*/ 2147483647 w 573"/>
                <a:gd name="T101" fmla="*/ 2147483647 h 419"/>
                <a:gd name="T102" fmla="*/ 2147483647 w 573"/>
                <a:gd name="T103" fmla="*/ 2147483647 h 419"/>
                <a:gd name="T104" fmla="*/ 2147483647 w 573"/>
                <a:gd name="T105" fmla="*/ 2147483647 h 419"/>
                <a:gd name="T106" fmla="*/ 2147483647 w 573"/>
                <a:gd name="T107" fmla="*/ 2147483647 h 419"/>
                <a:gd name="T108" fmla="*/ 2147483647 w 573"/>
                <a:gd name="T109" fmla="*/ 2147483647 h 419"/>
                <a:gd name="T110" fmla="*/ 2147483647 w 573"/>
                <a:gd name="T111" fmla="*/ 2147483647 h 419"/>
                <a:gd name="T112" fmla="*/ 2147483647 w 573"/>
                <a:gd name="T113" fmla="*/ 2147483647 h 419"/>
                <a:gd name="T114" fmla="*/ 2147483647 w 573"/>
                <a:gd name="T115" fmla="*/ 2147483647 h 419"/>
                <a:gd name="T116" fmla="*/ 2147483647 w 573"/>
                <a:gd name="T117" fmla="*/ 2147483647 h 419"/>
                <a:gd name="T118" fmla="*/ 2147483647 w 573"/>
                <a:gd name="T119" fmla="*/ 2147483647 h 41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73"/>
                <a:gd name="T181" fmla="*/ 0 h 419"/>
                <a:gd name="T182" fmla="*/ 573 w 573"/>
                <a:gd name="T183" fmla="*/ 419 h 41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73" h="419">
                  <a:moveTo>
                    <a:pt x="153" y="374"/>
                  </a:moveTo>
                  <a:lnTo>
                    <a:pt x="148" y="374"/>
                  </a:lnTo>
                  <a:lnTo>
                    <a:pt x="142" y="374"/>
                  </a:lnTo>
                  <a:lnTo>
                    <a:pt x="136" y="374"/>
                  </a:lnTo>
                  <a:lnTo>
                    <a:pt x="131" y="374"/>
                  </a:lnTo>
                  <a:lnTo>
                    <a:pt x="125" y="374"/>
                  </a:lnTo>
                  <a:lnTo>
                    <a:pt x="125" y="368"/>
                  </a:lnTo>
                  <a:lnTo>
                    <a:pt x="119" y="368"/>
                  </a:lnTo>
                  <a:lnTo>
                    <a:pt x="114" y="362"/>
                  </a:lnTo>
                  <a:lnTo>
                    <a:pt x="114" y="351"/>
                  </a:lnTo>
                  <a:lnTo>
                    <a:pt x="108" y="345"/>
                  </a:lnTo>
                  <a:lnTo>
                    <a:pt x="108" y="340"/>
                  </a:lnTo>
                  <a:lnTo>
                    <a:pt x="108" y="328"/>
                  </a:lnTo>
                  <a:lnTo>
                    <a:pt x="108" y="323"/>
                  </a:lnTo>
                  <a:lnTo>
                    <a:pt x="102" y="323"/>
                  </a:lnTo>
                  <a:lnTo>
                    <a:pt x="97" y="323"/>
                  </a:lnTo>
                  <a:lnTo>
                    <a:pt x="97" y="317"/>
                  </a:lnTo>
                  <a:lnTo>
                    <a:pt x="97" y="311"/>
                  </a:lnTo>
                  <a:lnTo>
                    <a:pt x="97" y="306"/>
                  </a:lnTo>
                  <a:lnTo>
                    <a:pt x="91" y="306"/>
                  </a:lnTo>
                  <a:lnTo>
                    <a:pt x="85" y="306"/>
                  </a:lnTo>
                  <a:lnTo>
                    <a:pt x="80" y="306"/>
                  </a:lnTo>
                  <a:lnTo>
                    <a:pt x="80" y="300"/>
                  </a:lnTo>
                  <a:lnTo>
                    <a:pt x="80" y="294"/>
                  </a:lnTo>
                  <a:lnTo>
                    <a:pt x="80" y="289"/>
                  </a:lnTo>
                  <a:lnTo>
                    <a:pt x="85" y="283"/>
                  </a:lnTo>
                  <a:lnTo>
                    <a:pt x="85" y="277"/>
                  </a:lnTo>
                  <a:lnTo>
                    <a:pt x="80" y="277"/>
                  </a:lnTo>
                  <a:lnTo>
                    <a:pt x="80" y="266"/>
                  </a:lnTo>
                  <a:lnTo>
                    <a:pt x="80" y="260"/>
                  </a:lnTo>
                  <a:lnTo>
                    <a:pt x="74" y="255"/>
                  </a:lnTo>
                  <a:lnTo>
                    <a:pt x="68" y="255"/>
                  </a:lnTo>
                  <a:lnTo>
                    <a:pt x="68" y="249"/>
                  </a:lnTo>
                  <a:lnTo>
                    <a:pt x="63" y="249"/>
                  </a:lnTo>
                  <a:lnTo>
                    <a:pt x="57" y="243"/>
                  </a:lnTo>
                  <a:lnTo>
                    <a:pt x="57" y="238"/>
                  </a:lnTo>
                  <a:lnTo>
                    <a:pt x="51" y="238"/>
                  </a:lnTo>
                  <a:lnTo>
                    <a:pt x="46" y="238"/>
                  </a:lnTo>
                  <a:lnTo>
                    <a:pt x="40" y="238"/>
                  </a:lnTo>
                  <a:lnTo>
                    <a:pt x="40" y="232"/>
                  </a:lnTo>
                  <a:lnTo>
                    <a:pt x="40" y="226"/>
                  </a:lnTo>
                  <a:lnTo>
                    <a:pt x="40" y="221"/>
                  </a:lnTo>
                  <a:lnTo>
                    <a:pt x="46" y="221"/>
                  </a:lnTo>
                  <a:lnTo>
                    <a:pt x="40" y="215"/>
                  </a:lnTo>
                  <a:lnTo>
                    <a:pt x="40" y="209"/>
                  </a:lnTo>
                  <a:lnTo>
                    <a:pt x="46" y="204"/>
                  </a:lnTo>
                  <a:lnTo>
                    <a:pt x="46" y="198"/>
                  </a:lnTo>
                  <a:lnTo>
                    <a:pt x="51" y="192"/>
                  </a:lnTo>
                  <a:lnTo>
                    <a:pt x="57" y="187"/>
                  </a:lnTo>
                  <a:lnTo>
                    <a:pt x="63" y="187"/>
                  </a:lnTo>
                  <a:lnTo>
                    <a:pt x="63" y="181"/>
                  </a:lnTo>
                  <a:lnTo>
                    <a:pt x="68" y="181"/>
                  </a:lnTo>
                  <a:lnTo>
                    <a:pt x="68" y="175"/>
                  </a:lnTo>
                  <a:lnTo>
                    <a:pt x="68" y="170"/>
                  </a:lnTo>
                  <a:lnTo>
                    <a:pt x="74" y="164"/>
                  </a:lnTo>
                  <a:lnTo>
                    <a:pt x="74" y="158"/>
                  </a:lnTo>
                  <a:lnTo>
                    <a:pt x="68" y="153"/>
                  </a:lnTo>
                  <a:lnTo>
                    <a:pt x="63" y="153"/>
                  </a:lnTo>
                  <a:lnTo>
                    <a:pt x="57" y="147"/>
                  </a:lnTo>
                  <a:lnTo>
                    <a:pt x="51" y="147"/>
                  </a:lnTo>
                  <a:lnTo>
                    <a:pt x="46" y="147"/>
                  </a:lnTo>
                  <a:lnTo>
                    <a:pt x="40" y="141"/>
                  </a:lnTo>
                  <a:lnTo>
                    <a:pt x="34" y="141"/>
                  </a:lnTo>
                  <a:lnTo>
                    <a:pt x="29" y="136"/>
                  </a:lnTo>
                  <a:lnTo>
                    <a:pt x="23" y="136"/>
                  </a:lnTo>
                  <a:lnTo>
                    <a:pt x="17" y="136"/>
                  </a:lnTo>
                  <a:lnTo>
                    <a:pt x="12" y="136"/>
                  </a:lnTo>
                  <a:lnTo>
                    <a:pt x="12" y="141"/>
                  </a:lnTo>
                  <a:lnTo>
                    <a:pt x="6" y="141"/>
                  </a:lnTo>
                  <a:lnTo>
                    <a:pt x="0" y="141"/>
                  </a:lnTo>
                  <a:lnTo>
                    <a:pt x="0" y="136"/>
                  </a:lnTo>
                  <a:lnTo>
                    <a:pt x="0" y="130"/>
                  </a:lnTo>
                  <a:lnTo>
                    <a:pt x="0" y="124"/>
                  </a:lnTo>
                  <a:lnTo>
                    <a:pt x="0" y="119"/>
                  </a:lnTo>
                  <a:lnTo>
                    <a:pt x="0" y="113"/>
                  </a:lnTo>
                  <a:lnTo>
                    <a:pt x="6" y="113"/>
                  </a:lnTo>
                  <a:lnTo>
                    <a:pt x="6" y="107"/>
                  </a:lnTo>
                  <a:lnTo>
                    <a:pt x="12" y="102"/>
                  </a:lnTo>
                  <a:lnTo>
                    <a:pt x="12" y="96"/>
                  </a:lnTo>
                  <a:lnTo>
                    <a:pt x="12" y="90"/>
                  </a:lnTo>
                  <a:lnTo>
                    <a:pt x="12" y="85"/>
                  </a:lnTo>
                  <a:lnTo>
                    <a:pt x="17" y="85"/>
                  </a:lnTo>
                  <a:lnTo>
                    <a:pt x="23" y="90"/>
                  </a:lnTo>
                  <a:lnTo>
                    <a:pt x="23" y="96"/>
                  </a:lnTo>
                  <a:lnTo>
                    <a:pt x="23" y="102"/>
                  </a:lnTo>
                  <a:lnTo>
                    <a:pt x="29" y="102"/>
                  </a:lnTo>
                  <a:lnTo>
                    <a:pt x="29" y="107"/>
                  </a:lnTo>
                  <a:lnTo>
                    <a:pt x="29" y="113"/>
                  </a:lnTo>
                  <a:lnTo>
                    <a:pt x="34" y="113"/>
                  </a:lnTo>
                  <a:lnTo>
                    <a:pt x="40" y="113"/>
                  </a:lnTo>
                  <a:lnTo>
                    <a:pt x="46" y="113"/>
                  </a:lnTo>
                  <a:lnTo>
                    <a:pt x="51" y="107"/>
                  </a:lnTo>
                  <a:lnTo>
                    <a:pt x="57" y="102"/>
                  </a:lnTo>
                  <a:lnTo>
                    <a:pt x="63" y="96"/>
                  </a:lnTo>
                  <a:lnTo>
                    <a:pt x="68" y="96"/>
                  </a:lnTo>
                  <a:lnTo>
                    <a:pt x="68" y="90"/>
                  </a:lnTo>
                  <a:lnTo>
                    <a:pt x="80" y="85"/>
                  </a:lnTo>
                  <a:lnTo>
                    <a:pt x="85" y="79"/>
                  </a:lnTo>
                  <a:lnTo>
                    <a:pt x="91" y="73"/>
                  </a:lnTo>
                  <a:lnTo>
                    <a:pt x="97" y="73"/>
                  </a:lnTo>
                  <a:lnTo>
                    <a:pt x="97" y="62"/>
                  </a:lnTo>
                  <a:lnTo>
                    <a:pt x="102" y="62"/>
                  </a:lnTo>
                  <a:lnTo>
                    <a:pt x="108" y="56"/>
                  </a:lnTo>
                  <a:lnTo>
                    <a:pt x="114" y="56"/>
                  </a:lnTo>
                  <a:lnTo>
                    <a:pt x="114" y="51"/>
                  </a:lnTo>
                  <a:lnTo>
                    <a:pt x="125" y="45"/>
                  </a:lnTo>
                  <a:lnTo>
                    <a:pt x="125" y="39"/>
                  </a:lnTo>
                  <a:lnTo>
                    <a:pt x="125" y="34"/>
                  </a:lnTo>
                  <a:lnTo>
                    <a:pt x="131" y="34"/>
                  </a:lnTo>
                  <a:lnTo>
                    <a:pt x="136" y="28"/>
                  </a:lnTo>
                  <a:lnTo>
                    <a:pt x="142" y="28"/>
                  </a:lnTo>
                  <a:lnTo>
                    <a:pt x="142" y="22"/>
                  </a:lnTo>
                  <a:lnTo>
                    <a:pt x="148" y="17"/>
                  </a:lnTo>
                  <a:lnTo>
                    <a:pt x="153" y="17"/>
                  </a:lnTo>
                  <a:lnTo>
                    <a:pt x="153" y="11"/>
                  </a:lnTo>
                  <a:lnTo>
                    <a:pt x="159" y="11"/>
                  </a:lnTo>
                  <a:lnTo>
                    <a:pt x="159" y="5"/>
                  </a:lnTo>
                  <a:lnTo>
                    <a:pt x="165" y="5"/>
                  </a:lnTo>
                  <a:lnTo>
                    <a:pt x="165" y="0"/>
                  </a:lnTo>
                  <a:lnTo>
                    <a:pt x="171" y="0"/>
                  </a:lnTo>
                  <a:lnTo>
                    <a:pt x="182" y="0"/>
                  </a:lnTo>
                  <a:lnTo>
                    <a:pt x="188" y="0"/>
                  </a:lnTo>
                  <a:lnTo>
                    <a:pt x="193" y="0"/>
                  </a:lnTo>
                  <a:lnTo>
                    <a:pt x="199" y="0"/>
                  </a:lnTo>
                  <a:lnTo>
                    <a:pt x="205" y="5"/>
                  </a:lnTo>
                  <a:lnTo>
                    <a:pt x="210" y="11"/>
                  </a:lnTo>
                  <a:lnTo>
                    <a:pt x="216" y="22"/>
                  </a:lnTo>
                  <a:lnTo>
                    <a:pt x="222" y="28"/>
                  </a:lnTo>
                  <a:lnTo>
                    <a:pt x="222" y="34"/>
                  </a:lnTo>
                  <a:lnTo>
                    <a:pt x="222" y="39"/>
                  </a:lnTo>
                  <a:lnTo>
                    <a:pt x="222" y="45"/>
                  </a:lnTo>
                  <a:lnTo>
                    <a:pt x="227" y="45"/>
                  </a:lnTo>
                  <a:lnTo>
                    <a:pt x="233" y="51"/>
                  </a:lnTo>
                  <a:lnTo>
                    <a:pt x="233" y="56"/>
                  </a:lnTo>
                  <a:lnTo>
                    <a:pt x="239" y="56"/>
                  </a:lnTo>
                  <a:lnTo>
                    <a:pt x="239" y="62"/>
                  </a:lnTo>
                  <a:lnTo>
                    <a:pt x="244" y="62"/>
                  </a:lnTo>
                  <a:lnTo>
                    <a:pt x="250" y="68"/>
                  </a:lnTo>
                  <a:lnTo>
                    <a:pt x="250" y="73"/>
                  </a:lnTo>
                  <a:lnTo>
                    <a:pt x="256" y="79"/>
                  </a:lnTo>
                  <a:lnTo>
                    <a:pt x="261" y="85"/>
                  </a:lnTo>
                  <a:lnTo>
                    <a:pt x="267" y="90"/>
                  </a:lnTo>
                  <a:lnTo>
                    <a:pt x="273" y="90"/>
                  </a:lnTo>
                  <a:lnTo>
                    <a:pt x="284" y="90"/>
                  </a:lnTo>
                  <a:lnTo>
                    <a:pt x="290" y="90"/>
                  </a:lnTo>
                  <a:lnTo>
                    <a:pt x="290" y="85"/>
                  </a:lnTo>
                  <a:lnTo>
                    <a:pt x="295" y="85"/>
                  </a:lnTo>
                  <a:lnTo>
                    <a:pt x="301" y="85"/>
                  </a:lnTo>
                  <a:lnTo>
                    <a:pt x="307" y="79"/>
                  </a:lnTo>
                  <a:lnTo>
                    <a:pt x="312" y="79"/>
                  </a:lnTo>
                  <a:lnTo>
                    <a:pt x="318" y="79"/>
                  </a:lnTo>
                  <a:lnTo>
                    <a:pt x="324" y="79"/>
                  </a:lnTo>
                  <a:lnTo>
                    <a:pt x="324" y="85"/>
                  </a:lnTo>
                  <a:lnTo>
                    <a:pt x="329" y="90"/>
                  </a:lnTo>
                  <a:lnTo>
                    <a:pt x="335" y="90"/>
                  </a:lnTo>
                  <a:lnTo>
                    <a:pt x="335" y="96"/>
                  </a:lnTo>
                  <a:lnTo>
                    <a:pt x="341" y="102"/>
                  </a:lnTo>
                  <a:lnTo>
                    <a:pt x="346" y="113"/>
                  </a:lnTo>
                  <a:lnTo>
                    <a:pt x="346" y="119"/>
                  </a:lnTo>
                  <a:lnTo>
                    <a:pt x="346" y="124"/>
                  </a:lnTo>
                  <a:lnTo>
                    <a:pt x="346" y="130"/>
                  </a:lnTo>
                  <a:lnTo>
                    <a:pt x="346" y="136"/>
                  </a:lnTo>
                  <a:lnTo>
                    <a:pt x="341" y="141"/>
                  </a:lnTo>
                  <a:lnTo>
                    <a:pt x="335" y="147"/>
                  </a:lnTo>
                  <a:lnTo>
                    <a:pt x="335" y="153"/>
                  </a:lnTo>
                  <a:lnTo>
                    <a:pt x="335" y="158"/>
                  </a:lnTo>
                  <a:lnTo>
                    <a:pt x="329" y="158"/>
                  </a:lnTo>
                  <a:lnTo>
                    <a:pt x="329" y="170"/>
                  </a:lnTo>
                  <a:lnTo>
                    <a:pt x="329" y="175"/>
                  </a:lnTo>
                  <a:lnTo>
                    <a:pt x="335" y="181"/>
                  </a:lnTo>
                  <a:lnTo>
                    <a:pt x="335" y="187"/>
                  </a:lnTo>
                  <a:lnTo>
                    <a:pt x="341" y="187"/>
                  </a:lnTo>
                  <a:lnTo>
                    <a:pt x="346" y="192"/>
                  </a:lnTo>
                  <a:lnTo>
                    <a:pt x="352" y="198"/>
                  </a:lnTo>
                  <a:lnTo>
                    <a:pt x="358" y="204"/>
                  </a:lnTo>
                  <a:lnTo>
                    <a:pt x="363" y="204"/>
                  </a:lnTo>
                  <a:lnTo>
                    <a:pt x="363" y="209"/>
                  </a:lnTo>
                  <a:lnTo>
                    <a:pt x="369" y="209"/>
                  </a:lnTo>
                  <a:lnTo>
                    <a:pt x="375" y="209"/>
                  </a:lnTo>
                  <a:lnTo>
                    <a:pt x="375" y="204"/>
                  </a:lnTo>
                  <a:lnTo>
                    <a:pt x="380" y="198"/>
                  </a:lnTo>
                  <a:lnTo>
                    <a:pt x="380" y="192"/>
                  </a:lnTo>
                  <a:lnTo>
                    <a:pt x="380" y="187"/>
                  </a:lnTo>
                  <a:lnTo>
                    <a:pt x="380" y="181"/>
                  </a:lnTo>
                  <a:lnTo>
                    <a:pt x="380" y="170"/>
                  </a:lnTo>
                  <a:lnTo>
                    <a:pt x="380" y="158"/>
                  </a:lnTo>
                  <a:lnTo>
                    <a:pt x="386" y="153"/>
                  </a:lnTo>
                  <a:lnTo>
                    <a:pt x="386" y="147"/>
                  </a:lnTo>
                  <a:lnTo>
                    <a:pt x="392" y="141"/>
                  </a:lnTo>
                  <a:lnTo>
                    <a:pt x="397" y="141"/>
                  </a:lnTo>
                  <a:lnTo>
                    <a:pt x="403" y="141"/>
                  </a:lnTo>
                  <a:lnTo>
                    <a:pt x="409" y="141"/>
                  </a:lnTo>
                  <a:lnTo>
                    <a:pt x="420" y="141"/>
                  </a:lnTo>
                  <a:lnTo>
                    <a:pt x="431" y="136"/>
                  </a:lnTo>
                  <a:lnTo>
                    <a:pt x="437" y="130"/>
                  </a:lnTo>
                  <a:lnTo>
                    <a:pt x="448" y="124"/>
                  </a:lnTo>
                  <a:lnTo>
                    <a:pt x="454" y="124"/>
                  </a:lnTo>
                  <a:lnTo>
                    <a:pt x="460" y="124"/>
                  </a:lnTo>
                  <a:lnTo>
                    <a:pt x="460" y="119"/>
                  </a:lnTo>
                  <a:lnTo>
                    <a:pt x="465" y="119"/>
                  </a:lnTo>
                  <a:lnTo>
                    <a:pt x="471" y="119"/>
                  </a:lnTo>
                  <a:lnTo>
                    <a:pt x="477" y="119"/>
                  </a:lnTo>
                  <a:lnTo>
                    <a:pt x="477" y="124"/>
                  </a:lnTo>
                  <a:lnTo>
                    <a:pt x="482" y="124"/>
                  </a:lnTo>
                  <a:lnTo>
                    <a:pt x="482" y="130"/>
                  </a:lnTo>
                  <a:lnTo>
                    <a:pt x="488" y="130"/>
                  </a:lnTo>
                  <a:lnTo>
                    <a:pt x="488" y="141"/>
                  </a:lnTo>
                  <a:lnTo>
                    <a:pt x="494" y="141"/>
                  </a:lnTo>
                  <a:lnTo>
                    <a:pt x="499" y="147"/>
                  </a:lnTo>
                  <a:lnTo>
                    <a:pt x="499" y="153"/>
                  </a:lnTo>
                  <a:lnTo>
                    <a:pt x="499" y="158"/>
                  </a:lnTo>
                  <a:lnTo>
                    <a:pt x="505" y="158"/>
                  </a:lnTo>
                  <a:lnTo>
                    <a:pt x="505" y="164"/>
                  </a:lnTo>
                  <a:lnTo>
                    <a:pt x="505" y="170"/>
                  </a:lnTo>
                  <a:lnTo>
                    <a:pt x="511" y="175"/>
                  </a:lnTo>
                  <a:lnTo>
                    <a:pt x="516" y="181"/>
                  </a:lnTo>
                  <a:lnTo>
                    <a:pt x="516" y="187"/>
                  </a:lnTo>
                  <a:lnTo>
                    <a:pt x="533" y="198"/>
                  </a:lnTo>
                  <a:lnTo>
                    <a:pt x="533" y="204"/>
                  </a:lnTo>
                  <a:lnTo>
                    <a:pt x="539" y="209"/>
                  </a:lnTo>
                  <a:lnTo>
                    <a:pt x="545" y="215"/>
                  </a:lnTo>
                  <a:lnTo>
                    <a:pt x="545" y="221"/>
                  </a:lnTo>
                  <a:lnTo>
                    <a:pt x="545" y="226"/>
                  </a:lnTo>
                  <a:lnTo>
                    <a:pt x="545" y="232"/>
                  </a:lnTo>
                  <a:lnTo>
                    <a:pt x="550" y="232"/>
                  </a:lnTo>
                  <a:lnTo>
                    <a:pt x="550" y="238"/>
                  </a:lnTo>
                  <a:lnTo>
                    <a:pt x="556" y="238"/>
                  </a:lnTo>
                  <a:lnTo>
                    <a:pt x="556" y="243"/>
                  </a:lnTo>
                  <a:lnTo>
                    <a:pt x="556" y="249"/>
                  </a:lnTo>
                  <a:lnTo>
                    <a:pt x="556" y="255"/>
                  </a:lnTo>
                  <a:lnTo>
                    <a:pt x="562" y="255"/>
                  </a:lnTo>
                  <a:lnTo>
                    <a:pt x="562" y="260"/>
                  </a:lnTo>
                  <a:lnTo>
                    <a:pt x="567" y="260"/>
                  </a:lnTo>
                  <a:lnTo>
                    <a:pt x="567" y="266"/>
                  </a:lnTo>
                  <a:lnTo>
                    <a:pt x="573" y="266"/>
                  </a:lnTo>
                  <a:lnTo>
                    <a:pt x="573" y="272"/>
                  </a:lnTo>
                  <a:lnTo>
                    <a:pt x="573" y="277"/>
                  </a:lnTo>
                  <a:lnTo>
                    <a:pt x="567" y="283"/>
                  </a:lnTo>
                  <a:lnTo>
                    <a:pt x="562" y="283"/>
                  </a:lnTo>
                  <a:lnTo>
                    <a:pt x="556" y="283"/>
                  </a:lnTo>
                  <a:lnTo>
                    <a:pt x="550" y="283"/>
                  </a:lnTo>
                  <a:lnTo>
                    <a:pt x="545" y="283"/>
                  </a:lnTo>
                  <a:lnTo>
                    <a:pt x="539" y="283"/>
                  </a:lnTo>
                  <a:lnTo>
                    <a:pt x="533" y="289"/>
                  </a:lnTo>
                  <a:lnTo>
                    <a:pt x="533" y="294"/>
                  </a:lnTo>
                  <a:lnTo>
                    <a:pt x="528" y="294"/>
                  </a:lnTo>
                  <a:lnTo>
                    <a:pt x="528" y="300"/>
                  </a:lnTo>
                  <a:lnTo>
                    <a:pt x="528" y="306"/>
                  </a:lnTo>
                  <a:lnTo>
                    <a:pt x="522" y="306"/>
                  </a:lnTo>
                  <a:lnTo>
                    <a:pt x="522" y="311"/>
                  </a:lnTo>
                  <a:lnTo>
                    <a:pt x="516" y="311"/>
                  </a:lnTo>
                  <a:lnTo>
                    <a:pt x="516" y="317"/>
                  </a:lnTo>
                  <a:lnTo>
                    <a:pt x="511" y="317"/>
                  </a:lnTo>
                  <a:lnTo>
                    <a:pt x="505" y="323"/>
                  </a:lnTo>
                  <a:lnTo>
                    <a:pt x="499" y="328"/>
                  </a:lnTo>
                  <a:lnTo>
                    <a:pt x="499" y="334"/>
                  </a:lnTo>
                  <a:lnTo>
                    <a:pt x="494" y="334"/>
                  </a:lnTo>
                  <a:lnTo>
                    <a:pt x="488" y="340"/>
                  </a:lnTo>
                  <a:lnTo>
                    <a:pt x="488" y="345"/>
                  </a:lnTo>
                  <a:lnTo>
                    <a:pt x="488" y="351"/>
                  </a:lnTo>
                  <a:lnTo>
                    <a:pt x="488" y="357"/>
                  </a:lnTo>
                  <a:lnTo>
                    <a:pt x="494" y="362"/>
                  </a:lnTo>
                  <a:lnTo>
                    <a:pt x="494" y="368"/>
                  </a:lnTo>
                  <a:lnTo>
                    <a:pt x="494" y="374"/>
                  </a:lnTo>
                  <a:lnTo>
                    <a:pt x="494" y="379"/>
                  </a:lnTo>
                  <a:lnTo>
                    <a:pt x="488" y="379"/>
                  </a:lnTo>
                  <a:lnTo>
                    <a:pt x="488" y="385"/>
                  </a:lnTo>
                  <a:lnTo>
                    <a:pt x="488" y="391"/>
                  </a:lnTo>
                  <a:lnTo>
                    <a:pt x="477" y="385"/>
                  </a:lnTo>
                  <a:lnTo>
                    <a:pt x="477" y="379"/>
                  </a:lnTo>
                  <a:lnTo>
                    <a:pt x="471" y="379"/>
                  </a:lnTo>
                  <a:lnTo>
                    <a:pt x="465" y="385"/>
                  </a:lnTo>
                  <a:lnTo>
                    <a:pt x="460" y="391"/>
                  </a:lnTo>
                  <a:lnTo>
                    <a:pt x="448" y="396"/>
                  </a:lnTo>
                  <a:lnTo>
                    <a:pt x="448" y="402"/>
                  </a:lnTo>
                  <a:lnTo>
                    <a:pt x="443" y="402"/>
                  </a:lnTo>
                  <a:lnTo>
                    <a:pt x="443" y="408"/>
                  </a:lnTo>
                  <a:lnTo>
                    <a:pt x="437" y="408"/>
                  </a:lnTo>
                  <a:lnTo>
                    <a:pt x="431" y="408"/>
                  </a:lnTo>
                  <a:lnTo>
                    <a:pt x="426" y="408"/>
                  </a:lnTo>
                  <a:lnTo>
                    <a:pt x="420" y="402"/>
                  </a:lnTo>
                  <a:lnTo>
                    <a:pt x="414" y="391"/>
                  </a:lnTo>
                  <a:lnTo>
                    <a:pt x="409" y="391"/>
                  </a:lnTo>
                  <a:lnTo>
                    <a:pt x="409" y="385"/>
                  </a:lnTo>
                  <a:lnTo>
                    <a:pt x="403" y="385"/>
                  </a:lnTo>
                  <a:lnTo>
                    <a:pt x="397" y="385"/>
                  </a:lnTo>
                  <a:lnTo>
                    <a:pt x="392" y="391"/>
                  </a:lnTo>
                  <a:lnTo>
                    <a:pt x="392" y="379"/>
                  </a:lnTo>
                  <a:lnTo>
                    <a:pt x="386" y="379"/>
                  </a:lnTo>
                  <a:lnTo>
                    <a:pt x="380" y="374"/>
                  </a:lnTo>
                  <a:lnTo>
                    <a:pt x="380" y="368"/>
                  </a:lnTo>
                  <a:lnTo>
                    <a:pt x="375" y="368"/>
                  </a:lnTo>
                  <a:lnTo>
                    <a:pt x="375" y="362"/>
                  </a:lnTo>
                  <a:lnTo>
                    <a:pt x="369" y="362"/>
                  </a:lnTo>
                  <a:lnTo>
                    <a:pt x="369" y="357"/>
                  </a:lnTo>
                  <a:lnTo>
                    <a:pt x="363" y="357"/>
                  </a:lnTo>
                  <a:lnTo>
                    <a:pt x="363" y="351"/>
                  </a:lnTo>
                  <a:lnTo>
                    <a:pt x="358" y="351"/>
                  </a:lnTo>
                  <a:lnTo>
                    <a:pt x="358" y="345"/>
                  </a:lnTo>
                  <a:lnTo>
                    <a:pt x="358" y="340"/>
                  </a:lnTo>
                  <a:lnTo>
                    <a:pt x="352" y="340"/>
                  </a:lnTo>
                  <a:lnTo>
                    <a:pt x="352" y="334"/>
                  </a:lnTo>
                  <a:lnTo>
                    <a:pt x="352" y="328"/>
                  </a:lnTo>
                  <a:lnTo>
                    <a:pt x="352" y="323"/>
                  </a:lnTo>
                  <a:lnTo>
                    <a:pt x="346" y="323"/>
                  </a:lnTo>
                  <a:lnTo>
                    <a:pt x="335" y="323"/>
                  </a:lnTo>
                  <a:lnTo>
                    <a:pt x="335" y="317"/>
                  </a:lnTo>
                  <a:lnTo>
                    <a:pt x="329" y="317"/>
                  </a:lnTo>
                  <a:lnTo>
                    <a:pt x="329" y="311"/>
                  </a:lnTo>
                  <a:lnTo>
                    <a:pt x="324" y="311"/>
                  </a:lnTo>
                  <a:lnTo>
                    <a:pt x="318" y="306"/>
                  </a:lnTo>
                  <a:lnTo>
                    <a:pt x="312" y="306"/>
                  </a:lnTo>
                  <a:lnTo>
                    <a:pt x="307" y="300"/>
                  </a:lnTo>
                  <a:lnTo>
                    <a:pt x="301" y="300"/>
                  </a:lnTo>
                  <a:lnTo>
                    <a:pt x="295" y="300"/>
                  </a:lnTo>
                  <a:lnTo>
                    <a:pt x="295" y="306"/>
                  </a:lnTo>
                  <a:lnTo>
                    <a:pt x="290" y="306"/>
                  </a:lnTo>
                  <a:lnTo>
                    <a:pt x="290" y="311"/>
                  </a:lnTo>
                  <a:lnTo>
                    <a:pt x="290" y="317"/>
                  </a:lnTo>
                  <a:lnTo>
                    <a:pt x="295" y="334"/>
                  </a:lnTo>
                  <a:lnTo>
                    <a:pt x="295" y="340"/>
                  </a:lnTo>
                  <a:lnTo>
                    <a:pt x="295" y="351"/>
                  </a:lnTo>
                  <a:lnTo>
                    <a:pt x="295" y="357"/>
                  </a:lnTo>
                  <a:lnTo>
                    <a:pt x="290" y="362"/>
                  </a:lnTo>
                  <a:lnTo>
                    <a:pt x="290" y="368"/>
                  </a:lnTo>
                  <a:lnTo>
                    <a:pt x="278" y="374"/>
                  </a:lnTo>
                  <a:lnTo>
                    <a:pt x="278" y="379"/>
                  </a:lnTo>
                  <a:lnTo>
                    <a:pt x="273" y="379"/>
                  </a:lnTo>
                  <a:lnTo>
                    <a:pt x="273" y="385"/>
                  </a:lnTo>
                  <a:lnTo>
                    <a:pt x="273" y="391"/>
                  </a:lnTo>
                  <a:lnTo>
                    <a:pt x="278" y="391"/>
                  </a:lnTo>
                  <a:lnTo>
                    <a:pt x="278" y="396"/>
                  </a:lnTo>
                  <a:lnTo>
                    <a:pt x="278" y="402"/>
                  </a:lnTo>
                  <a:lnTo>
                    <a:pt x="278" y="408"/>
                  </a:lnTo>
                  <a:lnTo>
                    <a:pt x="278" y="413"/>
                  </a:lnTo>
                  <a:lnTo>
                    <a:pt x="278" y="419"/>
                  </a:lnTo>
                  <a:lnTo>
                    <a:pt x="273" y="419"/>
                  </a:lnTo>
                  <a:lnTo>
                    <a:pt x="267" y="419"/>
                  </a:lnTo>
                  <a:lnTo>
                    <a:pt x="267" y="413"/>
                  </a:lnTo>
                  <a:lnTo>
                    <a:pt x="261" y="408"/>
                  </a:lnTo>
                  <a:lnTo>
                    <a:pt x="250" y="402"/>
                  </a:lnTo>
                  <a:lnTo>
                    <a:pt x="239" y="396"/>
                  </a:lnTo>
                  <a:lnTo>
                    <a:pt x="233" y="396"/>
                  </a:lnTo>
                  <a:lnTo>
                    <a:pt x="227" y="396"/>
                  </a:lnTo>
                  <a:lnTo>
                    <a:pt x="222" y="396"/>
                  </a:lnTo>
                  <a:lnTo>
                    <a:pt x="222" y="391"/>
                  </a:lnTo>
                  <a:lnTo>
                    <a:pt x="216" y="391"/>
                  </a:lnTo>
                  <a:lnTo>
                    <a:pt x="210" y="391"/>
                  </a:lnTo>
                  <a:lnTo>
                    <a:pt x="210" y="385"/>
                  </a:lnTo>
                  <a:lnTo>
                    <a:pt x="205" y="385"/>
                  </a:lnTo>
                  <a:lnTo>
                    <a:pt x="193" y="385"/>
                  </a:lnTo>
                  <a:lnTo>
                    <a:pt x="193" y="379"/>
                  </a:lnTo>
                  <a:lnTo>
                    <a:pt x="188" y="385"/>
                  </a:lnTo>
                  <a:lnTo>
                    <a:pt x="182" y="385"/>
                  </a:lnTo>
                  <a:lnTo>
                    <a:pt x="176" y="391"/>
                  </a:lnTo>
                  <a:lnTo>
                    <a:pt x="171" y="391"/>
                  </a:lnTo>
                  <a:lnTo>
                    <a:pt x="171" y="385"/>
                  </a:lnTo>
                  <a:lnTo>
                    <a:pt x="165" y="379"/>
                  </a:lnTo>
                  <a:lnTo>
                    <a:pt x="165" y="374"/>
                  </a:lnTo>
                  <a:lnTo>
                    <a:pt x="159" y="374"/>
                  </a:lnTo>
                  <a:lnTo>
                    <a:pt x="153" y="374"/>
                  </a:lnTo>
                  <a:close/>
                </a:path>
              </a:pathLst>
            </a:custGeom>
            <a:solidFill>
              <a:schemeClr val="bg1">
                <a:lumMod val="95000"/>
              </a:schemeClr>
            </a:solidFill>
            <a:ln w="25400">
              <a:solidFill>
                <a:srgbClr val="B4B4B4"/>
              </a:solidFill>
              <a:round/>
              <a:headEnd/>
              <a:tailEnd/>
            </a:ln>
          </p:spPr>
          <p:txBody>
            <a:bodyPr lIns="93296" tIns="46648" rIns="93296" bIns="46648"/>
            <a:lstStyle/>
            <a:p>
              <a:pPr>
                <a:defRPr/>
              </a:pPr>
              <a:endParaRPr lang="en-US" sz="1000" kern="0">
                <a:solidFill>
                  <a:prstClr val="black">
                    <a:lumMod val="65000"/>
                    <a:lumOff val="35000"/>
                  </a:prstClr>
                </a:solidFill>
              </a:endParaRPr>
            </a:p>
          </p:txBody>
        </p:sp>
        <p:sp>
          <p:nvSpPr>
            <p:cNvPr id="25" name="Freeform 24"/>
            <p:cNvSpPr>
              <a:spLocks/>
            </p:cNvSpPr>
            <p:nvPr/>
          </p:nvSpPr>
          <p:spPr bwMode="gray">
            <a:xfrm>
              <a:off x="2234248" y="2800009"/>
              <a:ext cx="446964" cy="453160"/>
            </a:xfrm>
            <a:custGeom>
              <a:avLst/>
              <a:gdLst>
                <a:gd name="T0" fmla="*/ 0 w 318"/>
                <a:gd name="T1" fmla="*/ 2147483647 h 340"/>
                <a:gd name="T2" fmla="*/ 2147483647 w 318"/>
                <a:gd name="T3" fmla="*/ 2147483647 h 340"/>
                <a:gd name="T4" fmla="*/ 2147483647 w 318"/>
                <a:gd name="T5" fmla="*/ 2147483647 h 340"/>
                <a:gd name="T6" fmla="*/ 2147483647 w 318"/>
                <a:gd name="T7" fmla="*/ 2147483647 h 340"/>
                <a:gd name="T8" fmla="*/ 2147483647 w 318"/>
                <a:gd name="T9" fmla="*/ 2147483647 h 340"/>
                <a:gd name="T10" fmla="*/ 2147483647 w 318"/>
                <a:gd name="T11" fmla="*/ 2147483647 h 340"/>
                <a:gd name="T12" fmla="*/ 2147483647 w 318"/>
                <a:gd name="T13" fmla="*/ 2147483647 h 340"/>
                <a:gd name="T14" fmla="*/ 2147483647 w 318"/>
                <a:gd name="T15" fmla="*/ 2147483647 h 340"/>
                <a:gd name="T16" fmla="*/ 2147483647 w 318"/>
                <a:gd name="T17" fmla="*/ 2147483647 h 340"/>
                <a:gd name="T18" fmla="*/ 2147483647 w 318"/>
                <a:gd name="T19" fmla="*/ 2147483647 h 340"/>
                <a:gd name="T20" fmla="*/ 2147483647 w 318"/>
                <a:gd name="T21" fmla="*/ 2147483647 h 340"/>
                <a:gd name="T22" fmla="*/ 2147483647 w 318"/>
                <a:gd name="T23" fmla="*/ 2147483647 h 340"/>
                <a:gd name="T24" fmla="*/ 2147483647 w 318"/>
                <a:gd name="T25" fmla="*/ 2147483647 h 340"/>
                <a:gd name="T26" fmla="*/ 2147483647 w 318"/>
                <a:gd name="T27" fmla="*/ 2147483647 h 340"/>
                <a:gd name="T28" fmla="*/ 2147483647 w 318"/>
                <a:gd name="T29" fmla="*/ 2147483647 h 340"/>
                <a:gd name="T30" fmla="*/ 2147483647 w 318"/>
                <a:gd name="T31" fmla="*/ 2147483647 h 340"/>
                <a:gd name="T32" fmla="*/ 2147483647 w 318"/>
                <a:gd name="T33" fmla="*/ 2147483647 h 340"/>
                <a:gd name="T34" fmla="*/ 2147483647 w 318"/>
                <a:gd name="T35" fmla="*/ 2147483647 h 340"/>
                <a:gd name="T36" fmla="*/ 2147483647 w 318"/>
                <a:gd name="T37" fmla="*/ 2147483647 h 340"/>
                <a:gd name="T38" fmla="*/ 2147483647 w 318"/>
                <a:gd name="T39" fmla="*/ 2147483647 h 340"/>
                <a:gd name="T40" fmla="*/ 2147483647 w 318"/>
                <a:gd name="T41" fmla="*/ 2147483647 h 340"/>
                <a:gd name="T42" fmla="*/ 2147483647 w 318"/>
                <a:gd name="T43" fmla="*/ 2147483647 h 340"/>
                <a:gd name="T44" fmla="*/ 2147483647 w 318"/>
                <a:gd name="T45" fmla="*/ 2147483647 h 340"/>
                <a:gd name="T46" fmla="*/ 2147483647 w 318"/>
                <a:gd name="T47" fmla="*/ 2147483647 h 340"/>
                <a:gd name="T48" fmla="*/ 2147483647 w 318"/>
                <a:gd name="T49" fmla="*/ 2147483647 h 340"/>
                <a:gd name="T50" fmla="*/ 2147483647 w 318"/>
                <a:gd name="T51" fmla="*/ 2147483647 h 340"/>
                <a:gd name="T52" fmla="*/ 2147483647 w 318"/>
                <a:gd name="T53" fmla="*/ 2147483647 h 340"/>
                <a:gd name="T54" fmla="*/ 2147483647 w 318"/>
                <a:gd name="T55" fmla="*/ 2147483647 h 340"/>
                <a:gd name="T56" fmla="*/ 2147483647 w 318"/>
                <a:gd name="T57" fmla="*/ 2147483647 h 340"/>
                <a:gd name="T58" fmla="*/ 2147483647 w 318"/>
                <a:gd name="T59" fmla="*/ 2147483647 h 340"/>
                <a:gd name="T60" fmla="*/ 2147483647 w 318"/>
                <a:gd name="T61" fmla="*/ 2147483647 h 340"/>
                <a:gd name="T62" fmla="*/ 2147483647 w 318"/>
                <a:gd name="T63" fmla="*/ 2147483647 h 340"/>
                <a:gd name="T64" fmla="*/ 2147483647 w 318"/>
                <a:gd name="T65" fmla="*/ 2147483647 h 340"/>
                <a:gd name="T66" fmla="*/ 2147483647 w 318"/>
                <a:gd name="T67" fmla="*/ 2147483647 h 340"/>
                <a:gd name="T68" fmla="*/ 2147483647 w 318"/>
                <a:gd name="T69" fmla="*/ 2147483647 h 340"/>
                <a:gd name="T70" fmla="*/ 2147483647 w 318"/>
                <a:gd name="T71" fmla="*/ 2147483647 h 340"/>
                <a:gd name="T72" fmla="*/ 2147483647 w 318"/>
                <a:gd name="T73" fmla="*/ 2147483647 h 340"/>
                <a:gd name="T74" fmla="*/ 2147483647 w 318"/>
                <a:gd name="T75" fmla="*/ 2147483647 h 340"/>
                <a:gd name="T76" fmla="*/ 2147483647 w 318"/>
                <a:gd name="T77" fmla="*/ 2147483647 h 340"/>
                <a:gd name="T78" fmla="*/ 2147483647 w 318"/>
                <a:gd name="T79" fmla="*/ 2147483647 h 340"/>
                <a:gd name="T80" fmla="*/ 2147483647 w 318"/>
                <a:gd name="T81" fmla="*/ 2147483647 h 340"/>
                <a:gd name="T82" fmla="*/ 2147483647 w 318"/>
                <a:gd name="T83" fmla="*/ 2147483647 h 340"/>
                <a:gd name="T84" fmla="*/ 2147483647 w 318"/>
                <a:gd name="T85" fmla="*/ 2147483647 h 34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18"/>
                <a:gd name="T130" fmla="*/ 0 h 340"/>
                <a:gd name="T131" fmla="*/ 318 w 318"/>
                <a:gd name="T132" fmla="*/ 340 h 34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18" h="340">
                  <a:moveTo>
                    <a:pt x="23" y="340"/>
                  </a:moveTo>
                  <a:lnTo>
                    <a:pt x="0" y="340"/>
                  </a:lnTo>
                  <a:lnTo>
                    <a:pt x="6" y="176"/>
                  </a:lnTo>
                  <a:lnTo>
                    <a:pt x="12" y="79"/>
                  </a:lnTo>
                  <a:lnTo>
                    <a:pt x="12" y="57"/>
                  </a:lnTo>
                  <a:lnTo>
                    <a:pt x="34" y="51"/>
                  </a:lnTo>
                  <a:lnTo>
                    <a:pt x="68" y="57"/>
                  </a:lnTo>
                  <a:lnTo>
                    <a:pt x="85" y="57"/>
                  </a:lnTo>
                  <a:lnTo>
                    <a:pt x="91" y="57"/>
                  </a:lnTo>
                  <a:lnTo>
                    <a:pt x="131" y="91"/>
                  </a:lnTo>
                  <a:lnTo>
                    <a:pt x="148" y="102"/>
                  </a:lnTo>
                  <a:lnTo>
                    <a:pt x="153" y="108"/>
                  </a:lnTo>
                  <a:lnTo>
                    <a:pt x="216" y="28"/>
                  </a:lnTo>
                  <a:lnTo>
                    <a:pt x="222" y="23"/>
                  </a:lnTo>
                  <a:lnTo>
                    <a:pt x="227" y="17"/>
                  </a:lnTo>
                  <a:lnTo>
                    <a:pt x="244" y="17"/>
                  </a:lnTo>
                  <a:lnTo>
                    <a:pt x="256" y="17"/>
                  </a:lnTo>
                  <a:lnTo>
                    <a:pt x="261" y="17"/>
                  </a:lnTo>
                  <a:lnTo>
                    <a:pt x="284" y="0"/>
                  </a:lnTo>
                  <a:lnTo>
                    <a:pt x="307" y="17"/>
                  </a:lnTo>
                  <a:lnTo>
                    <a:pt x="318" y="23"/>
                  </a:lnTo>
                  <a:lnTo>
                    <a:pt x="312" y="28"/>
                  </a:lnTo>
                  <a:lnTo>
                    <a:pt x="301" y="34"/>
                  </a:lnTo>
                  <a:lnTo>
                    <a:pt x="301" y="40"/>
                  </a:lnTo>
                  <a:lnTo>
                    <a:pt x="295" y="40"/>
                  </a:lnTo>
                  <a:lnTo>
                    <a:pt x="290" y="45"/>
                  </a:lnTo>
                  <a:lnTo>
                    <a:pt x="290" y="51"/>
                  </a:lnTo>
                  <a:lnTo>
                    <a:pt x="290" y="57"/>
                  </a:lnTo>
                  <a:lnTo>
                    <a:pt x="290" y="62"/>
                  </a:lnTo>
                  <a:lnTo>
                    <a:pt x="290" y="74"/>
                  </a:lnTo>
                  <a:lnTo>
                    <a:pt x="290" y="108"/>
                  </a:lnTo>
                  <a:lnTo>
                    <a:pt x="290" y="125"/>
                  </a:lnTo>
                  <a:lnTo>
                    <a:pt x="290" y="136"/>
                  </a:lnTo>
                  <a:lnTo>
                    <a:pt x="290" y="142"/>
                  </a:lnTo>
                  <a:lnTo>
                    <a:pt x="290" y="153"/>
                  </a:lnTo>
                  <a:lnTo>
                    <a:pt x="290" y="164"/>
                  </a:lnTo>
                  <a:lnTo>
                    <a:pt x="290" y="176"/>
                  </a:lnTo>
                  <a:lnTo>
                    <a:pt x="290" y="187"/>
                  </a:lnTo>
                  <a:lnTo>
                    <a:pt x="284" y="198"/>
                  </a:lnTo>
                  <a:lnTo>
                    <a:pt x="284" y="204"/>
                  </a:lnTo>
                  <a:lnTo>
                    <a:pt x="284" y="215"/>
                  </a:lnTo>
                  <a:lnTo>
                    <a:pt x="284" y="221"/>
                  </a:lnTo>
                  <a:lnTo>
                    <a:pt x="273" y="244"/>
                  </a:lnTo>
                  <a:lnTo>
                    <a:pt x="273" y="249"/>
                  </a:lnTo>
                  <a:lnTo>
                    <a:pt x="267" y="255"/>
                  </a:lnTo>
                  <a:lnTo>
                    <a:pt x="261" y="255"/>
                  </a:lnTo>
                  <a:lnTo>
                    <a:pt x="261" y="261"/>
                  </a:lnTo>
                  <a:lnTo>
                    <a:pt x="256" y="266"/>
                  </a:lnTo>
                  <a:lnTo>
                    <a:pt x="256" y="272"/>
                  </a:lnTo>
                  <a:lnTo>
                    <a:pt x="250" y="272"/>
                  </a:lnTo>
                  <a:lnTo>
                    <a:pt x="250" y="278"/>
                  </a:lnTo>
                  <a:lnTo>
                    <a:pt x="244" y="278"/>
                  </a:lnTo>
                  <a:lnTo>
                    <a:pt x="244" y="283"/>
                  </a:lnTo>
                  <a:lnTo>
                    <a:pt x="244" y="289"/>
                  </a:lnTo>
                  <a:lnTo>
                    <a:pt x="239" y="295"/>
                  </a:lnTo>
                  <a:lnTo>
                    <a:pt x="233" y="295"/>
                  </a:lnTo>
                  <a:lnTo>
                    <a:pt x="227" y="300"/>
                  </a:lnTo>
                  <a:lnTo>
                    <a:pt x="222" y="300"/>
                  </a:lnTo>
                  <a:lnTo>
                    <a:pt x="222" y="306"/>
                  </a:lnTo>
                  <a:lnTo>
                    <a:pt x="216" y="306"/>
                  </a:lnTo>
                  <a:lnTo>
                    <a:pt x="216" y="312"/>
                  </a:lnTo>
                  <a:lnTo>
                    <a:pt x="210" y="312"/>
                  </a:lnTo>
                  <a:lnTo>
                    <a:pt x="204" y="312"/>
                  </a:lnTo>
                  <a:lnTo>
                    <a:pt x="204" y="317"/>
                  </a:lnTo>
                  <a:lnTo>
                    <a:pt x="193" y="317"/>
                  </a:lnTo>
                  <a:lnTo>
                    <a:pt x="193" y="323"/>
                  </a:lnTo>
                  <a:lnTo>
                    <a:pt x="187" y="323"/>
                  </a:lnTo>
                  <a:lnTo>
                    <a:pt x="176" y="329"/>
                  </a:lnTo>
                  <a:lnTo>
                    <a:pt x="170" y="329"/>
                  </a:lnTo>
                  <a:lnTo>
                    <a:pt x="148" y="334"/>
                  </a:lnTo>
                  <a:lnTo>
                    <a:pt x="142" y="340"/>
                  </a:lnTo>
                  <a:lnTo>
                    <a:pt x="136" y="340"/>
                  </a:lnTo>
                  <a:lnTo>
                    <a:pt x="125" y="340"/>
                  </a:lnTo>
                  <a:lnTo>
                    <a:pt x="114" y="340"/>
                  </a:lnTo>
                  <a:lnTo>
                    <a:pt x="108" y="340"/>
                  </a:lnTo>
                  <a:lnTo>
                    <a:pt x="102" y="340"/>
                  </a:lnTo>
                  <a:lnTo>
                    <a:pt x="91" y="340"/>
                  </a:lnTo>
                  <a:lnTo>
                    <a:pt x="80" y="340"/>
                  </a:lnTo>
                  <a:lnTo>
                    <a:pt x="68" y="340"/>
                  </a:lnTo>
                  <a:lnTo>
                    <a:pt x="63" y="340"/>
                  </a:lnTo>
                  <a:lnTo>
                    <a:pt x="57" y="340"/>
                  </a:lnTo>
                  <a:lnTo>
                    <a:pt x="46" y="340"/>
                  </a:lnTo>
                  <a:lnTo>
                    <a:pt x="40" y="340"/>
                  </a:lnTo>
                  <a:lnTo>
                    <a:pt x="34" y="340"/>
                  </a:lnTo>
                  <a:lnTo>
                    <a:pt x="29" y="340"/>
                  </a:lnTo>
                  <a:lnTo>
                    <a:pt x="23" y="340"/>
                  </a:lnTo>
                  <a:close/>
                </a:path>
              </a:pathLst>
            </a:custGeom>
            <a:solidFill>
              <a:schemeClr val="bg1">
                <a:lumMod val="95000"/>
              </a:schemeClr>
            </a:solidFill>
            <a:ln w="25400">
              <a:solidFill>
                <a:srgbClr val="B4B4B4"/>
              </a:solidFill>
              <a:round/>
              <a:headEnd/>
              <a:tailEnd/>
            </a:ln>
          </p:spPr>
          <p:txBody>
            <a:bodyPr lIns="93296" tIns="46648" rIns="93296" bIns="46648"/>
            <a:lstStyle/>
            <a:p>
              <a:pPr>
                <a:defRPr/>
              </a:pPr>
              <a:endParaRPr lang="en-US" sz="1000" kern="0">
                <a:solidFill>
                  <a:prstClr val="black">
                    <a:lumMod val="65000"/>
                    <a:lumOff val="35000"/>
                  </a:prstClr>
                </a:solidFill>
              </a:endParaRPr>
            </a:p>
          </p:txBody>
        </p:sp>
        <p:sp>
          <p:nvSpPr>
            <p:cNvPr id="26" name="Freeform 25"/>
            <p:cNvSpPr>
              <a:spLocks/>
            </p:cNvSpPr>
            <p:nvPr/>
          </p:nvSpPr>
          <p:spPr bwMode="gray">
            <a:xfrm>
              <a:off x="2322835" y="2331531"/>
              <a:ext cx="1853624" cy="1239488"/>
            </a:xfrm>
            <a:custGeom>
              <a:avLst/>
              <a:gdLst>
                <a:gd name="T0" fmla="*/ 2147483647 w 1321"/>
                <a:gd name="T1" fmla="*/ 2147483647 h 929"/>
                <a:gd name="T2" fmla="*/ 2147483647 w 1321"/>
                <a:gd name="T3" fmla="*/ 2147483647 h 929"/>
                <a:gd name="T4" fmla="*/ 2147483647 w 1321"/>
                <a:gd name="T5" fmla="*/ 2147483647 h 929"/>
                <a:gd name="T6" fmla="*/ 2147483647 w 1321"/>
                <a:gd name="T7" fmla="*/ 2147483647 h 929"/>
                <a:gd name="T8" fmla="*/ 2147483647 w 1321"/>
                <a:gd name="T9" fmla="*/ 2147483647 h 929"/>
                <a:gd name="T10" fmla="*/ 2147483647 w 1321"/>
                <a:gd name="T11" fmla="*/ 2147483647 h 929"/>
                <a:gd name="T12" fmla="*/ 2147483647 w 1321"/>
                <a:gd name="T13" fmla="*/ 2147483647 h 929"/>
                <a:gd name="T14" fmla="*/ 2147483647 w 1321"/>
                <a:gd name="T15" fmla="*/ 2147483647 h 929"/>
                <a:gd name="T16" fmla="*/ 2147483647 w 1321"/>
                <a:gd name="T17" fmla="*/ 2147483647 h 929"/>
                <a:gd name="T18" fmla="*/ 2147483647 w 1321"/>
                <a:gd name="T19" fmla="*/ 2147483647 h 929"/>
                <a:gd name="T20" fmla="*/ 2147483647 w 1321"/>
                <a:gd name="T21" fmla="*/ 2147483647 h 929"/>
                <a:gd name="T22" fmla="*/ 2147483647 w 1321"/>
                <a:gd name="T23" fmla="*/ 2147483647 h 929"/>
                <a:gd name="T24" fmla="*/ 2147483647 w 1321"/>
                <a:gd name="T25" fmla="*/ 2147483647 h 929"/>
                <a:gd name="T26" fmla="*/ 2147483647 w 1321"/>
                <a:gd name="T27" fmla="*/ 2147483647 h 929"/>
                <a:gd name="T28" fmla="*/ 2147483647 w 1321"/>
                <a:gd name="T29" fmla="*/ 2147483647 h 929"/>
                <a:gd name="T30" fmla="*/ 2147483647 w 1321"/>
                <a:gd name="T31" fmla="*/ 2147483647 h 929"/>
                <a:gd name="T32" fmla="*/ 2147483647 w 1321"/>
                <a:gd name="T33" fmla="*/ 2147483647 h 929"/>
                <a:gd name="T34" fmla="*/ 2147483647 w 1321"/>
                <a:gd name="T35" fmla="*/ 2147483647 h 929"/>
                <a:gd name="T36" fmla="*/ 2147483647 w 1321"/>
                <a:gd name="T37" fmla="*/ 2147483647 h 929"/>
                <a:gd name="T38" fmla="*/ 2147483647 w 1321"/>
                <a:gd name="T39" fmla="*/ 2147483647 h 929"/>
                <a:gd name="T40" fmla="*/ 2147483647 w 1321"/>
                <a:gd name="T41" fmla="*/ 2147483647 h 929"/>
                <a:gd name="T42" fmla="*/ 2147483647 w 1321"/>
                <a:gd name="T43" fmla="*/ 2147483647 h 929"/>
                <a:gd name="T44" fmla="*/ 2147483647 w 1321"/>
                <a:gd name="T45" fmla="*/ 2147483647 h 929"/>
                <a:gd name="T46" fmla="*/ 2147483647 w 1321"/>
                <a:gd name="T47" fmla="*/ 0 h 929"/>
                <a:gd name="T48" fmla="*/ 2147483647 w 1321"/>
                <a:gd name="T49" fmla="*/ 2147483647 h 929"/>
                <a:gd name="T50" fmla="*/ 2147483647 w 1321"/>
                <a:gd name="T51" fmla="*/ 2147483647 h 929"/>
                <a:gd name="T52" fmla="*/ 2147483647 w 1321"/>
                <a:gd name="T53" fmla="*/ 2147483647 h 929"/>
                <a:gd name="T54" fmla="*/ 2147483647 w 1321"/>
                <a:gd name="T55" fmla="*/ 2147483647 h 929"/>
                <a:gd name="T56" fmla="*/ 2147483647 w 1321"/>
                <a:gd name="T57" fmla="*/ 2147483647 h 929"/>
                <a:gd name="T58" fmla="*/ 2147483647 w 1321"/>
                <a:gd name="T59" fmla="*/ 2147483647 h 929"/>
                <a:gd name="T60" fmla="*/ 2147483647 w 1321"/>
                <a:gd name="T61" fmla="*/ 2147483647 h 929"/>
                <a:gd name="T62" fmla="*/ 2147483647 w 1321"/>
                <a:gd name="T63" fmla="*/ 2147483647 h 929"/>
                <a:gd name="T64" fmla="*/ 2147483647 w 1321"/>
                <a:gd name="T65" fmla="*/ 2147483647 h 929"/>
                <a:gd name="T66" fmla="*/ 2147483647 w 1321"/>
                <a:gd name="T67" fmla="*/ 2147483647 h 929"/>
                <a:gd name="T68" fmla="*/ 2147483647 w 1321"/>
                <a:gd name="T69" fmla="*/ 2147483647 h 929"/>
                <a:gd name="T70" fmla="*/ 2147483647 w 1321"/>
                <a:gd name="T71" fmla="*/ 2147483647 h 929"/>
                <a:gd name="T72" fmla="*/ 2147483647 w 1321"/>
                <a:gd name="T73" fmla="*/ 2147483647 h 929"/>
                <a:gd name="T74" fmla="*/ 2147483647 w 1321"/>
                <a:gd name="T75" fmla="*/ 2147483647 h 929"/>
                <a:gd name="T76" fmla="*/ 2147483647 w 1321"/>
                <a:gd name="T77" fmla="*/ 2147483647 h 929"/>
                <a:gd name="T78" fmla="*/ 2147483647 w 1321"/>
                <a:gd name="T79" fmla="*/ 2147483647 h 929"/>
                <a:gd name="T80" fmla="*/ 2147483647 w 1321"/>
                <a:gd name="T81" fmla="*/ 2147483647 h 929"/>
                <a:gd name="T82" fmla="*/ 2147483647 w 1321"/>
                <a:gd name="T83" fmla="*/ 2147483647 h 929"/>
                <a:gd name="T84" fmla="*/ 2147483647 w 1321"/>
                <a:gd name="T85" fmla="*/ 2147483647 h 929"/>
                <a:gd name="T86" fmla="*/ 2147483647 w 1321"/>
                <a:gd name="T87" fmla="*/ 2147483647 h 929"/>
                <a:gd name="T88" fmla="*/ 2147483647 w 1321"/>
                <a:gd name="T89" fmla="*/ 2147483647 h 929"/>
                <a:gd name="T90" fmla="*/ 2147483647 w 1321"/>
                <a:gd name="T91" fmla="*/ 2147483647 h 929"/>
                <a:gd name="T92" fmla="*/ 2147483647 w 1321"/>
                <a:gd name="T93" fmla="*/ 2147483647 h 929"/>
                <a:gd name="T94" fmla="*/ 2147483647 w 1321"/>
                <a:gd name="T95" fmla="*/ 2147483647 h 929"/>
                <a:gd name="T96" fmla="*/ 2147483647 w 1321"/>
                <a:gd name="T97" fmla="*/ 2147483647 h 929"/>
                <a:gd name="T98" fmla="*/ 2147483647 w 1321"/>
                <a:gd name="T99" fmla="*/ 2147483647 h 929"/>
                <a:gd name="T100" fmla="*/ 2147483647 w 1321"/>
                <a:gd name="T101" fmla="*/ 2147483647 h 929"/>
                <a:gd name="T102" fmla="*/ 2147483647 w 1321"/>
                <a:gd name="T103" fmla="*/ 2147483647 h 929"/>
                <a:gd name="T104" fmla="*/ 2147483647 w 1321"/>
                <a:gd name="T105" fmla="*/ 2147483647 h 929"/>
                <a:gd name="T106" fmla="*/ 2147483647 w 1321"/>
                <a:gd name="T107" fmla="*/ 2147483647 h 929"/>
                <a:gd name="T108" fmla="*/ 2147483647 w 1321"/>
                <a:gd name="T109" fmla="*/ 2147483647 h 929"/>
                <a:gd name="T110" fmla="*/ 2147483647 w 1321"/>
                <a:gd name="T111" fmla="*/ 2147483647 h 929"/>
                <a:gd name="T112" fmla="*/ 2147483647 w 1321"/>
                <a:gd name="T113" fmla="*/ 2147483647 h 929"/>
                <a:gd name="T114" fmla="*/ 2147483647 w 1321"/>
                <a:gd name="T115" fmla="*/ 2147483647 h 929"/>
                <a:gd name="T116" fmla="*/ 2147483647 w 1321"/>
                <a:gd name="T117" fmla="*/ 2147483647 h 9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321"/>
                <a:gd name="T178" fmla="*/ 0 h 929"/>
                <a:gd name="T179" fmla="*/ 1321 w 1321"/>
                <a:gd name="T180" fmla="*/ 929 h 92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321" h="929">
                  <a:moveTo>
                    <a:pt x="238" y="827"/>
                  </a:moveTo>
                  <a:lnTo>
                    <a:pt x="232" y="827"/>
                  </a:lnTo>
                  <a:lnTo>
                    <a:pt x="227" y="827"/>
                  </a:lnTo>
                  <a:lnTo>
                    <a:pt x="215" y="827"/>
                  </a:lnTo>
                  <a:lnTo>
                    <a:pt x="204" y="827"/>
                  </a:lnTo>
                  <a:lnTo>
                    <a:pt x="198" y="827"/>
                  </a:lnTo>
                  <a:lnTo>
                    <a:pt x="193" y="827"/>
                  </a:lnTo>
                  <a:lnTo>
                    <a:pt x="181" y="827"/>
                  </a:lnTo>
                  <a:lnTo>
                    <a:pt x="170" y="827"/>
                  </a:lnTo>
                  <a:lnTo>
                    <a:pt x="159" y="833"/>
                  </a:lnTo>
                  <a:lnTo>
                    <a:pt x="153" y="833"/>
                  </a:lnTo>
                  <a:lnTo>
                    <a:pt x="147" y="833"/>
                  </a:lnTo>
                  <a:lnTo>
                    <a:pt x="141" y="833"/>
                  </a:lnTo>
                  <a:lnTo>
                    <a:pt x="136" y="833"/>
                  </a:lnTo>
                  <a:lnTo>
                    <a:pt x="124" y="838"/>
                  </a:lnTo>
                  <a:lnTo>
                    <a:pt x="119" y="838"/>
                  </a:lnTo>
                  <a:lnTo>
                    <a:pt x="113" y="844"/>
                  </a:lnTo>
                  <a:lnTo>
                    <a:pt x="102" y="844"/>
                  </a:lnTo>
                  <a:lnTo>
                    <a:pt x="96" y="844"/>
                  </a:lnTo>
                  <a:lnTo>
                    <a:pt x="96" y="850"/>
                  </a:lnTo>
                  <a:lnTo>
                    <a:pt x="85" y="850"/>
                  </a:lnTo>
                  <a:lnTo>
                    <a:pt x="85" y="855"/>
                  </a:lnTo>
                  <a:lnTo>
                    <a:pt x="79" y="855"/>
                  </a:lnTo>
                  <a:lnTo>
                    <a:pt x="73" y="855"/>
                  </a:lnTo>
                  <a:lnTo>
                    <a:pt x="68" y="855"/>
                  </a:lnTo>
                  <a:lnTo>
                    <a:pt x="56" y="855"/>
                  </a:lnTo>
                  <a:lnTo>
                    <a:pt x="56" y="861"/>
                  </a:lnTo>
                  <a:lnTo>
                    <a:pt x="51" y="861"/>
                  </a:lnTo>
                  <a:lnTo>
                    <a:pt x="39" y="861"/>
                  </a:lnTo>
                  <a:lnTo>
                    <a:pt x="39" y="867"/>
                  </a:lnTo>
                  <a:lnTo>
                    <a:pt x="34" y="872"/>
                  </a:lnTo>
                  <a:lnTo>
                    <a:pt x="28" y="872"/>
                  </a:lnTo>
                  <a:lnTo>
                    <a:pt x="22" y="872"/>
                  </a:lnTo>
                  <a:lnTo>
                    <a:pt x="17" y="878"/>
                  </a:lnTo>
                  <a:lnTo>
                    <a:pt x="17" y="884"/>
                  </a:lnTo>
                  <a:lnTo>
                    <a:pt x="11" y="884"/>
                  </a:lnTo>
                  <a:lnTo>
                    <a:pt x="5" y="884"/>
                  </a:lnTo>
                  <a:lnTo>
                    <a:pt x="5" y="878"/>
                  </a:lnTo>
                  <a:lnTo>
                    <a:pt x="5" y="872"/>
                  </a:lnTo>
                  <a:lnTo>
                    <a:pt x="5" y="861"/>
                  </a:lnTo>
                  <a:lnTo>
                    <a:pt x="11" y="855"/>
                  </a:lnTo>
                  <a:lnTo>
                    <a:pt x="11" y="844"/>
                  </a:lnTo>
                  <a:lnTo>
                    <a:pt x="11" y="838"/>
                  </a:lnTo>
                  <a:lnTo>
                    <a:pt x="11" y="833"/>
                  </a:lnTo>
                  <a:lnTo>
                    <a:pt x="11" y="827"/>
                  </a:lnTo>
                  <a:lnTo>
                    <a:pt x="17" y="827"/>
                  </a:lnTo>
                  <a:lnTo>
                    <a:pt x="17" y="821"/>
                  </a:lnTo>
                  <a:lnTo>
                    <a:pt x="17" y="816"/>
                  </a:lnTo>
                  <a:lnTo>
                    <a:pt x="17" y="810"/>
                  </a:lnTo>
                  <a:lnTo>
                    <a:pt x="17" y="804"/>
                  </a:lnTo>
                  <a:lnTo>
                    <a:pt x="17" y="799"/>
                  </a:lnTo>
                  <a:lnTo>
                    <a:pt x="17" y="787"/>
                  </a:lnTo>
                  <a:lnTo>
                    <a:pt x="22" y="787"/>
                  </a:lnTo>
                  <a:lnTo>
                    <a:pt x="22" y="782"/>
                  </a:lnTo>
                  <a:lnTo>
                    <a:pt x="17" y="782"/>
                  </a:lnTo>
                  <a:lnTo>
                    <a:pt x="17" y="776"/>
                  </a:lnTo>
                  <a:lnTo>
                    <a:pt x="11" y="770"/>
                  </a:lnTo>
                  <a:lnTo>
                    <a:pt x="11" y="765"/>
                  </a:lnTo>
                  <a:lnTo>
                    <a:pt x="11" y="759"/>
                  </a:lnTo>
                  <a:lnTo>
                    <a:pt x="11" y="753"/>
                  </a:lnTo>
                  <a:lnTo>
                    <a:pt x="5" y="748"/>
                  </a:lnTo>
                  <a:lnTo>
                    <a:pt x="0" y="742"/>
                  </a:lnTo>
                  <a:lnTo>
                    <a:pt x="0" y="736"/>
                  </a:lnTo>
                  <a:lnTo>
                    <a:pt x="5" y="731"/>
                  </a:lnTo>
                  <a:lnTo>
                    <a:pt x="11" y="714"/>
                  </a:lnTo>
                  <a:lnTo>
                    <a:pt x="17" y="708"/>
                  </a:lnTo>
                  <a:lnTo>
                    <a:pt x="17" y="702"/>
                  </a:lnTo>
                  <a:lnTo>
                    <a:pt x="28" y="691"/>
                  </a:lnTo>
                  <a:lnTo>
                    <a:pt x="39" y="691"/>
                  </a:lnTo>
                  <a:lnTo>
                    <a:pt x="45" y="691"/>
                  </a:lnTo>
                  <a:lnTo>
                    <a:pt x="51" y="691"/>
                  </a:lnTo>
                  <a:lnTo>
                    <a:pt x="62" y="691"/>
                  </a:lnTo>
                  <a:lnTo>
                    <a:pt x="73" y="691"/>
                  </a:lnTo>
                  <a:lnTo>
                    <a:pt x="79" y="691"/>
                  </a:lnTo>
                  <a:lnTo>
                    <a:pt x="85" y="685"/>
                  </a:lnTo>
                  <a:lnTo>
                    <a:pt x="107" y="680"/>
                  </a:lnTo>
                  <a:lnTo>
                    <a:pt x="113" y="680"/>
                  </a:lnTo>
                  <a:lnTo>
                    <a:pt x="124" y="674"/>
                  </a:lnTo>
                  <a:lnTo>
                    <a:pt x="130" y="674"/>
                  </a:lnTo>
                  <a:lnTo>
                    <a:pt x="130" y="668"/>
                  </a:lnTo>
                  <a:lnTo>
                    <a:pt x="141" y="668"/>
                  </a:lnTo>
                  <a:lnTo>
                    <a:pt x="141" y="663"/>
                  </a:lnTo>
                  <a:lnTo>
                    <a:pt x="147" y="663"/>
                  </a:lnTo>
                  <a:lnTo>
                    <a:pt x="153" y="663"/>
                  </a:lnTo>
                  <a:lnTo>
                    <a:pt x="153" y="657"/>
                  </a:lnTo>
                  <a:lnTo>
                    <a:pt x="159" y="657"/>
                  </a:lnTo>
                  <a:lnTo>
                    <a:pt x="159" y="651"/>
                  </a:lnTo>
                  <a:lnTo>
                    <a:pt x="164" y="651"/>
                  </a:lnTo>
                  <a:lnTo>
                    <a:pt x="170" y="646"/>
                  </a:lnTo>
                  <a:lnTo>
                    <a:pt x="176" y="646"/>
                  </a:lnTo>
                  <a:lnTo>
                    <a:pt x="181" y="640"/>
                  </a:lnTo>
                  <a:lnTo>
                    <a:pt x="181" y="634"/>
                  </a:lnTo>
                  <a:lnTo>
                    <a:pt x="181" y="629"/>
                  </a:lnTo>
                  <a:lnTo>
                    <a:pt x="187" y="629"/>
                  </a:lnTo>
                  <a:lnTo>
                    <a:pt x="187" y="623"/>
                  </a:lnTo>
                  <a:lnTo>
                    <a:pt x="193" y="623"/>
                  </a:lnTo>
                  <a:lnTo>
                    <a:pt x="193" y="617"/>
                  </a:lnTo>
                  <a:lnTo>
                    <a:pt x="198" y="612"/>
                  </a:lnTo>
                  <a:lnTo>
                    <a:pt x="198" y="606"/>
                  </a:lnTo>
                  <a:lnTo>
                    <a:pt x="204" y="606"/>
                  </a:lnTo>
                  <a:lnTo>
                    <a:pt x="210" y="600"/>
                  </a:lnTo>
                  <a:lnTo>
                    <a:pt x="210" y="595"/>
                  </a:lnTo>
                  <a:lnTo>
                    <a:pt x="221" y="572"/>
                  </a:lnTo>
                  <a:lnTo>
                    <a:pt x="221" y="566"/>
                  </a:lnTo>
                  <a:lnTo>
                    <a:pt x="221" y="555"/>
                  </a:lnTo>
                  <a:lnTo>
                    <a:pt x="221" y="549"/>
                  </a:lnTo>
                  <a:lnTo>
                    <a:pt x="227" y="538"/>
                  </a:lnTo>
                  <a:lnTo>
                    <a:pt x="227" y="527"/>
                  </a:lnTo>
                  <a:lnTo>
                    <a:pt x="227" y="515"/>
                  </a:lnTo>
                  <a:lnTo>
                    <a:pt x="227" y="504"/>
                  </a:lnTo>
                  <a:lnTo>
                    <a:pt x="227" y="493"/>
                  </a:lnTo>
                  <a:lnTo>
                    <a:pt x="227" y="487"/>
                  </a:lnTo>
                  <a:lnTo>
                    <a:pt x="227" y="476"/>
                  </a:lnTo>
                  <a:lnTo>
                    <a:pt x="227" y="459"/>
                  </a:lnTo>
                  <a:lnTo>
                    <a:pt x="227" y="425"/>
                  </a:lnTo>
                  <a:lnTo>
                    <a:pt x="227" y="413"/>
                  </a:lnTo>
                  <a:lnTo>
                    <a:pt x="227" y="408"/>
                  </a:lnTo>
                  <a:lnTo>
                    <a:pt x="227" y="402"/>
                  </a:lnTo>
                  <a:lnTo>
                    <a:pt x="227" y="396"/>
                  </a:lnTo>
                  <a:lnTo>
                    <a:pt x="232" y="391"/>
                  </a:lnTo>
                  <a:lnTo>
                    <a:pt x="238" y="391"/>
                  </a:lnTo>
                  <a:lnTo>
                    <a:pt x="238" y="385"/>
                  </a:lnTo>
                  <a:lnTo>
                    <a:pt x="249" y="379"/>
                  </a:lnTo>
                  <a:lnTo>
                    <a:pt x="255" y="374"/>
                  </a:lnTo>
                  <a:lnTo>
                    <a:pt x="244" y="368"/>
                  </a:lnTo>
                  <a:lnTo>
                    <a:pt x="249" y="368"/>
                  </a:lnTo>
                  <a:lnTo>
                    <a:pt x="255" y="368"/>
                  </a:lnTo>
                  <a:lnTo>
                    <a:pt x="255" y="362"/>
                  </a:lnTo>
                  <a:lnTo>
                    <a:pt x="261" y="362"/>
                  </a:lnTo>
                  <a:lnTo>
                    <a:pt x="266" y="362"/>
                  </a:lnTo>
                  <a:lnTo>
                    <a:pt x="272" y="362"/>
                  </a:lnTo>
                  <a:lnTo>
                    <a:pt x="278" y="368"/>
                  </a:lnTo>
                  <a:lnTo>
                    <a:pt x="278" y="374"/>
                  </a:lnTo>
                  <a:lnTo>
                    <a:pt x="283" y="374"/>
                  </a:lnTo>
                  <a:lnTo>
                    <a:pt x="289" y="374"/>
                  </a:lnTo>
                  <a:lnTo>
                    <a:pt x="295" y="374"/>
                  </a:lnTo>
                  <a:lnTo>
                    <a:pt x="300" y="374"/>
                  </a:lnTo>
                  <a:lnTo>
                    <a:pt x="300" y="379"/>
                  </a:lnTo>
                  <a:lnTo>
                    <a:pt x="306" y="379"/>
                  </a:lnTo>
                  <a:lnTo>
                    <a:pt x="312" y="385"/>
                  </a:lnTo>
                  <a:lnTo>
                    <a:pt x="323" y="379"/>
                  </a:lnTo>
                  <a:lnTo>
                    <a:pt x="329" y="374"/>
                  </a:lnTo>
                  <a:lnTo>
                    <a:pt x="334" y="374"/>
                  </a:lnTo>
                  <a:lnTo>
                    <a:pt x="334" y="368"/>
                  </a:lnTo>
                  <a:lnTo>
                    <a:pt x="340" y="368"/>
                  </a:lnTo>
                  <a:lnTo>
                    <a:pt x="340" y="362"/>
                  </a:lnTo>
                  <a:lnTo>
                    <a:pt x="340" y="357"/>
                  </a:lnTo>
                  <a:lnTo>
                    <a:pt x="351" y="357"/>
                  </a:lnTo>
                  <a:lnTo>
                    <a:pt x="357" y="357"/>
                  </a:lnTo>
                  <a:lnTo>
                    <a:pt x="363" y="357"/>
                  </a:lnTo>
                  <a:lnTo>
                    <a:pt x="368" y="357"/>
                  </a:lnTo>
                  <a:lnTo>
                    <a:pt x="374" y="357"/>
                  </a:lnTo>
                  <a:lnTo>
                    <a:pt x="380" y="362"/>
                  </a:lnTo>
                  <a:lnTo>
                    <a:pt x="380" y="368"/>
                  </a:lnTo>
                  <a:lnTo>
                    <a:pt x="385" y="374"/>
                  </a:lnTo>
                  <a:lnTo>
                    <a:pt x="385" y="379"/>
                  </a:lnTo>
                  <a:lnTo>
                    <a:pt x="391" y="379"/>
                  </a:lnTo>
                  <a:lnTo>
                    <a:pt x="391" y="385"/>
                  </a:lnTo>
                  <a:lnTo>
                    <a:pt x="391" y="391"/>
                  </a:lnTo>
                  <a:lnTo>
                    <a:pt x="391" y="396"/>
                  </a:lnTo>
                  <a:lnTo>
                    <a:pt x="397" y="402"/>
                  </a:lnTo>
                  <a:lnTo>
                    <a:pt x="397" y="408"/>
                  </a:lnTo>
                  <a:lnTo>
                    <a:pt x="397" y="413"/>
                  </a:lnTo>
                  <a:lnTo>
                    <a:pt x="402" y="413"/>
                  </a:lnTo>
                  <a:lnTo>
                    <a:pt x="408" y="419"/>
                  </a:lnTo>
                  <a:lnTo>
                    <a:pt x="408" y="425"/>
                  </a:lnTo>
                  <a:lnTo>
                    <a:pt x="414" y="430"/>
                  </a:lnTo>
                  <a:lnTo>
                    <a:pt x="419" y="436"/>
                  </a:lnTo>
                  <a:lnTo>
                    <a:pt x="419" y="442"/>
                  </a:lnTo>
                  <a:lnTo>
                    <a:pt x="419" y="447"/>
                  </a:lnTo>
                  <a:lnTo>
                    <a:pt x="419" y="453"/>
                  </a:lnTo>
                  <a:lnTo>
                    <a:pt x="419" y="459"/>
                  </a:lnTo>
                  <a:lnTo>
                    <a:pt x="414" y="476"/>
                  </a:lnTo>
                  <a:lnTo>
                    <a:pt x="414" y="481"/>
                  </a:lnTo>
                  <a:lnTo>
                    <a:pt x="419" y="493"/>
                  </a:lnTo>
                  <a:lnTo>
                    <a:pt x="425" y="493"/>
                  </a:lnTo>
                  <a:lnTo>
                    <a:pt x="431" y="487"/>
                  </a:lnTo>
                  <a:lnTo>
                    <a:pt x="436" y="481"/>
                  </a:lnTo>
                  <a:lnTo>
                    <a:pt x="436" y="476"/>
                  </a:lnTo>
                  <a:lnTo>
                    <a:pt x="442" y="476"/>
                  </a:lnTo>
                  <a:lnTo>
                    <a:pt x="448" y="470"/>
                  </a:lnTo>
                  <a:lnTo>
                    <a:pt x="448" y="464"/>
                  </a:lnTo>
                  <a:lnTo>
                    <a:pt x="453" y="464"/>
                  </a:lnTo>
                  <a:lnTo>
                    <a:pt x="453" y="459"/>
                  </a:lnTo>
                  <a:lnTo>
                    <a:pt x="459" y="453"/>
                  </a:lnTo>
                  <a:lnTo>
                    <a:pt x="465" y="453"/>
                  </a:lnTo>
                  <a:lnTo>
                    <a:pt x="465" y="447"/>
                  </a:lnTo>
                  <a:lnTo>
                    <a:pt x="470" y="447"/>
                  </a:lnTo>
                  <a:lnTo>
                    <a:pt x="476" y="447"/>
                  </a:lnTo>
                  <a:lnTo>
                    <a:pt x="482" y="442"/>
                  </a:lnTo>
                  <a:lnTo>
                    <a:pt x="487" y="447"/>
                  </a:lnTo>
                  <a:lnTo>
                    <a:pt x="499" y="447"/>
                  </a:lnTo>
                  <a:lnTo>
                    <a:pt x="504" y="447"/>
                  </a:lnTo>
                  <a:lnTo>
                    <a:pt x="510" y="453"/>
                  </a:lnTo>
                  <a:lnTo>
                    <a:pt x="516" y="459"/>
                  </a:lnTo>
                  <a:lnTo>
                    <a:pt x="521" y="464"/>
                  </a:lnTo>
                  <a:lnTo>
                    <a:pt x="521" y="470"/>
                  </a:lnTo>
                  <a:lnTo>
                    <a:pt x="527" y="476"/>
                  </a:lnTo>
                  <a:lnTo>
                    <a:pt x="527" y="481"/>
                  </a:lnTo>
                  <a:lnTo>
                    <a:pt x="533" y="481"/>
                  </a:lnTo>
                  <a:lnTo>
                    <a:pt x="538" y="487"/>
                  </a:lnTo>
                  <a:lnTo>
                    <a:pt x="544" y="493"/>
                  </a:lnTo>
                  <a:lnTo>
                    <a:pt x="550" y="493"/>
                  </a:lnTo>
                  <a:lnTo>
                    <a:pt x="561" y="493"/>
                  </a:lnTo>
                  <a:lnTo>
                    <a:pt x="567" y="493"/>
                  </a:lnTo>
                  <a:lnTo>
                    <a:pt x="572" y="493"/>
                  </a:lnTo>
                  <a:lnTo>
                    <a:pt x="578" y="493"/>
                  </a:lnTo>
                  <a:lnTo>
                    <a:pt x="578" y="487"/>
                  </a:lnTo>
                  <a:lnTo>
                    <a:pt x="584" y="481"/>
                  </a:lnTo>
                  <a:lnTo>
                    <a:pt x="589" y="481"/>
                  </a:lnTo>
                  <a:lnTo>
                    <a:pt x="589" y="476"/>
                  </a:lnTo>
                  <a:lnTo>
                    <a:pt x="589" y="470"/>
                  </a:lnTo>
                  <a:lnTo>
                    <a:pt x="589" y="464"/>
                  </a:lnTo>
                  <a:lnTo>
                    <a:pt x="595" y="459"/>
                  </a:lnTo>
                  <a:lnTo>
                    <a:pt x="595" y="453"/>
                  </a:lnTo>
                  <a:lnTo>
                    <a:pt x="601" y="447"/>
                  </a:lnTo>
                  <a:lnTo>
                    <a:pt x="601" y="442"/>
                  </a:lnTo>
                  <a:lnTo>
                    <a:pt x="606" y="436"/>
                  </a:lnTo>
                  <a:lnTo>
                    <a:pt x="606" y="430"/>
                  </a:lnTo>
                  <a:lnTo>
                    <a:pt x="606" y="425"/>
                  </a:lnTo>
                  <a:lnTo>
                    <a:pt x="612" y="419"/>
                  </a:lnTo>
                  <a:lnTo>
                    <a:pt x="612" y="413"/>
                  </a:lnTo>
                  <a:lnTo>
                    <a:pt x="618" y="413"/>
                  </a:lnTo>
                  <a:lnTo>
                    <a:pt x="618" y="408"/>
                  </a:lnTo>
                  <a:lnTo>
                    <a:pt x="618" y="402"/>
                  </a:lnTo>
                  <a:lnTo>
                    <a:pt x="623" y="396"/>
                  </a:lnTo>
                  <a:lnTo>
                    <a:pt x="629" y="391"/>
                  </a:lnTo>
                  <a:lnTo>
                    <a:pt x="629" y="385"/>
                  </a:lnTo>
                  <a:lnTo>
                    <a:pt x="629" y="379"/>
                  </a:lnTo>
                  <a:lnTo>
                    <a:pt x="629" y="374"/>
                  </a:lnTo>
                  <a:lnTo>
                    <a:pt x="623" y="368"/>
                  </a:lnTo>
                  <a:lnTo>
                    <a:pt x="618" y="368"/>
                  </a:lnTo>
                  <a:lnTo>
                    <a:pt x="618" y="362"/>
                  </a:lnTo>
                  <a:lnTo>
                    <a:pt x="612" y="362"/>
                  </a:lnTo>
                  <a:lnTo>
                    <a:pt x="606" y="362"/>
                  </a:lnTo>
                  <a:lnTo>
                    <a:pt x="606" y="357"/>
                  </a:lnTo>
                  <a:lnTo>
                    <a:pt x="601" y="351"/>
                  </a:lnTo>
                  <a:lnTo>
                    <a:pt x="589" y="340"/>
                  </a:lnTo>
                  <a:lnTo>
                    <a:pt x="584" y="334"/>
                  </a:lnTo>
                  <a:lnTo>
                    <a:pt x="584" y="328"/>
                  </a:lnTo>
                  <a:lnTo>
                    <a:pt x="578" y="328"/>
                  </a:lnTo>
                  <a:lnTo>
                    <a:pt x="578" y="323"/>
                  </a:lnTo>
                  <a:lnTo>
                    <a:pt x="578" y="317"/>
                  </a:lnTo>
                  <a:lnTo>
                    <a:pt x="578" y="311"/>
                  </a:lnTo>
                  <a:lnTo>
                    <a:pt x="578" y="300"/>
                  </a:lnTo>
                  <a:lnTo>
                    <a:pt x="578" y="294"/>
                  </a:lnTo>
                  <a:lnTo>
                    <a:pt x="578" y="289"/>
                  </a:lnTo>
                  <a:lnTo>
                    <a:pt x="584" y="277"/>
                  </a:lnTo>
                  <a:lnTo>
                    <a:pt x="589" y="266"/>
                  </a:lnTo>
                  <a:lnTo>
                    <a:pt x="589" y="260"/>
                  </a:lnTo>
                  <a:lnTo>
                    <a:pt x="589" y="255"/>
                  </a:lnTo>
                  <a:lnTo>
                    <a:pt x="595" y="249"/>
                  </a:lnTo>
                  <a:lnTo>
                    <a:pt x="601" y="243"/>
                  </a:lnTo>
                  <a:lnTo>
                    <a:pt x="601" y="232"/>
                  </a:lnTo>
                  <a:lnTo>
                    <a:pt x="601" y="221"/>
                  </a:lnTo>
                  <a:lnTo>
                    <a:pt x="601" y="215"/>
                  </a:lnTo>
                  <a:lnTo>
                    <a:pt x="601" y="192"/>
                  </a:lnTo>
                  <a:lnTo>
                    <a:pt x="601" y="181"/>
                  </a:lnTo>
                  <a:lnTo>
                    <a:pt x="601" y="175"/>
                  </a:lnTo>
                  <a:lnTo>
                    <a:pt x="601" y="170"/>
                  </a:lnTo>
                  <a:lnTo>
                    <a:pt x="606" y="164"/>
                  </a:lnTo>
                  <a:lnTo>
                    <a:pt x="606" y="158"/>
                  </a:lnTo>
                  <a:lnTo>
                    <a:pt x="606" y="153"/>
                  </a:lnTo>
                  <a:lnTo>
                    <a:pt x="612" y="153"/>
                  </a:lnTo>
                  <a:lnTo>
                    <a:pt x="612" y="147"/>
                  </a:lnTo>
                  <a:lnTo>
                    <a:pt x="618" y="141"/>
                  </a:lnTo>
                  <a:lnTo>
                    <a:pt x="618" y="136"/>
                  </a:lnTo>
                  <a:lnTo>
                    <a:pt x="618" y="130"/>
                  </a:lnTo>
                  <a:lnTo>
                    <a:pt x="618" y="124"/>
                  </a:lnTo>
                  <a:lnTo>
                    <a:pt x="618" y="119"/>
                  </a:lnTo>
                  <a:lnTo>
                    <a:pt x="618" y="96"/>
                  </a:lnTo>
                  <a:lnTo>
                    <a:pt x="618" y="90"/>
                  </a:lnTo>
                  <a:lnTo>
                    <a:pt x="618" y="85"/>
                  </a:lnTo>
                  <a:lnTo>
                    <a:pt x="618" y="79"/>
                  </a:lnTo>
                  <a:lnTo>
                    <a:pt x="618" y="73"/>
                  </a:lnTo>
                  <a:lnTo>
                    <a:pt x="623" y="68"/>
                  </a:lnTo>
                  <a:lnTo>
                    <a:pt x="629" y="62"/>
                  </a:lnTo>
                  <a:lnTo>
                    <a:pt x="635" y="62"/>
                  </a:lnTo>
                  <a:lnTo>
                    <a:pt x="640" y="56"/>
                  </a:lnTo>
                  <a:lnTo>
                    <a:pt x="646" y="51"/>
                  </a:lnTo>
                  <a:lnTo>
                    <a:pt x="646" y="45"/>
                  </a:lnTo>
                  <a:lnTo>
                    <a:pt x="652" y="39"/>
                  </a:lnTo>
                  <a:lnTo>
                    <a:pt x="652" y="34"/>
                  </a:lnTo>
                  <a:lnTo>
                    <a:pt x="652" y="17"/>
                  </a:lnTo>
                  <a:lnTo>
                    <a:pt x="652" y="11"/>
                  </a:lnTo>
                  <a:lnTo>
                    <a:pt x="652" y="5"/>
                  </a:lnTo>
                  <a:lnTo>
                    <a:pt x="652" y="0"/>
                  </a:lnTo>
                  <a:lnTo>
                    <a:pt x="657" y="0"/>
                  </a:lnTo>
                  <a:lnTo>
                    <a:pt x="663" y="0"/>
                  </a:lnTo>
                  <a:lnTo>
                    <a:pt x="663" y="5"/>
                  </a:lnTo>
                  <a:lnTo>
                    <a:pt x="669" y="11"/>
                  </a:lnTo>
                  <a:lnTo>
                    <a:pt x="680" y="11"/>
                  </a:lnTo>
                  <a:lnTo>
                    <a:pt x="686" y="11"/>
                  </a:lnTo>
                  <a:lnTo>
                    <a:pt x="691" y="11"/>
                  </a:lnTo>
                  <a:lnTo>
                    <a:pt x="697" y="11"/>
                  </a:lnTo>
                  <a:lnTo>
                    <a:pt x="703" y="17"/>
                  </a:lnTo>
                  <a:lnTo>
                    <a:pt x="708" y="17"/>
                  </a:lnTo>
                  <a:lnTo>
                    <a:pt x="708" y="22"/>
                  </a:lnTo>
                  <a:lnTo>
                    <a:pt x="714" y="22"/>
                  </a:lnTo>
                  <a:lnTo>
                    <a:pt x="714" y="28"/>
                  </a:lnTo>
                  <a:lnTo>
                    <a:pt x="714" y="34"/>
                  </a:lnTo>
                  <a:lnTo>
                    <a:pt x="714" y="39"/>
                  </a:lnTo>
                  <a:lnTo>
                    <a:pt x="714" y="45"/>
                  </a:lnTo>
                  <a:lnTo>
                    <a:pt x="714" y="51"/>
                  </a:lnTo>
                  <a:lnTo>
                    <a:pt x="714" y="56"/>
                  </a:lnTo>
                  <a:lnTo>
                    <a:pt x="720" y="62"/>
                  </a:lnTo>
                  <a:lnTo>
                    <a:pt x="720" y="68"/>
                  </a:lnTo>
                  <a:lnTo>
                    <a:pt x="720" y="73"/>
                  </a:lnTo>
                  <a:lnTo>
                    <a:pt x="725" y="79"/>
                  </a:lnTo>
                  <a:lnTo>
                    <a:pt x="725" y="85"/>
                  </a:lnTo>
                  <a:lnTo>
                    <a:pt x="725" y="90"/>
                  </a:lnTo>
                  <a:lnTo>
                    <a:pt x="725" y="96"/>
                  </a:lnTo>
                  <a:lnTo>
                    <a:pt x="725" y="102"/>
                  </a:lnTo>
                  <a:lnTo>
                    <a:pt x="725" y="113"/>
                  </a:lnTo>
                  <a:lnTo>
                    <a:pt x="725" y="124"/>
                  </a:lnTo>
                  <a:lnTo>
                    <a:pt x="725" y="130"/>
                  </a:lnTo>
                  <a:lnTo>
                    <a:pt x="725" y="136"/>
                  </a:lnTo>
                  <a:lnTo>
                    <a:pt x="731" y="141"/>
                  </a:lnTo>
                  <a:lnTo>
                    <a:pt x="731" y="147"/>
                  </a:lnTo>
                  <a:lnTo>
                    <a:pt x="737" y="141"/>
                  </a:lnTo>
                  <a:lnTo>
                    <a:pt x="742" y="136"/>
                  </a:lnTo>
                  <a:lnTo>
                    <a:pt x="748" y="136"/>
                  </a:lnTo>
                  <a:lnTo>
                    <a:pt x="754" y="130"/>
                  </a:lnTo>
                  <a:lnTo>
                    <a:pt x="759" y="124"/>
                  </a:lnTo>
                  <a:lnTo>
                    <a:pt x="765" y="124"/>
                  </a:lnTo>
                  <a:lnTo>
                    <a:pt x="771" y="124"/>
                  </a:lnTo>
                  <a:lnTo>
                    <a:pt x="782" y="130"/>
                  </a:lnTo>
                  <a:lnTo>
                    <a:pt x="788" y="130"/>
                  </a:lnTo>
                  <a:lnTo>
                    <a:pt x="788" y="136"/>
                  </a:lnTo>
                  <a:lnTo>
                    <a:pt x="799" y="141"/>
                  </a:lnTo>
                  <a:lnTo>
                    <a:pt x="799" y="147"/>
                  </a:lnTo>
                  <a:lnTo>
                    <a:pt x="805" y="153"/>
                  </a:lnTo>
                  <a:lnTo>
                    <a:pt x="805" y="158"/>
                  </a:lnTo>
                  <a:lnTo>
                    <a:pt x="805" y="164"/>
                  </a:lnTo>
                  <a:lnTo>
                    <a:pt x="810" y="164"/>
                  </a:lnTo>
                  <a:lnTo>
                    <a:pt x="810" y="170"/>
                  </a:lnTo>
                  <a:lnTo>
                    <a:pt x="810" y="175"/>
                  </a:lnTo>
                  <a:lnTo>
                    <a:pt x="810" y="181"/>
                  </a:lnTo>
                  <a:lnTo>
                    <a:pt x="805" y="192"/>
                  </a:lnTo>
                  <a:lnTo>
                    <a:pt x="805" y="198"/>
                  </a:lnTo>
                  <a:lnTo>
                    <a:pt x="805" y="204"/>
                  </a:lnTo>
                  <a:lnTo>
                    <a:pt x="799" y="204"/>
                  </a:lnTo>
                  <a:lnTo>
                    <a:pt x="799" y="209"/>
                  </a:lnTo>
                  <a:lnTo>
                    <a:pt x="793" y="221"/>
                  </a:lnTo>
                  <a:lnTo>
                    <a:pt x="793" y="226"/>
                  </a:lnTo>
                  <a:lnTo>
                    <a:pt x="799" y="232"/>
                  </a:lnTo>
                  <a:lnTo>
                    <a:pt x="799" y="238"/>
                  </a:lnTo>
                  <a:lnTo>
                    <a:pt x="799" y="243"/>
                  </a:lnTo>
                  <a:lnTo>
                    <a:pt x="805" y="243"/>
                  </a:lnTo>
                  <a:lnTo>
                    <a:pt x="810" y="243"/>
                  </a:lnTo>
                  <a:lnTo>
                    <a:pt x="816" y="243"/>
                  </a:lnTo>
                  <a:lnTo>
                    <a:pt x="822" y="243"/>
                  </a:lnTo>
                  <a:lnTo>
                    <a:pt x="827" y="243"/>
                  </a:lnTo>
                  <a:lnTo>
                    <a:pt x="827" y="249"/>
                  </a:lnTo>
                  <a:lnTo>
                    <a:pt x="833" y="255"/>
                  </a:lnTo>
                  <a:lnTo>
                    <a:pt x="833" y="260"/>
                  </a:lnTo>
                  <a:lnTo>
                    <a:pt x="833" y="266"/>
                  </a:lnTo>
                  <a:lnTo>
                    <a:pt x="839" y="272"/>
                  </a:lnTo>
                  <a:lnTo>
                    <a:pt x="844" y="272"/>
                  </a:lnTo>
                  <a:lnTo>
                    <a:pt x="844" y="277"/>
                  </a:lnTo>
                  <a:lnTo>
                    <a:pt x="850" y="277"/>
                  </a:lnTo>
                  <a:lnTo>
                    <a:pt x="850" y="283"/>
                  </a:lnTo>
                  <a:lnTo>
                    <a:pt x="856" y="283"/>
                  </a:lnTo>
                  <a:lnTo>
                    <a:pt x="856" y="289"/>
                  </a:lnTo>
                  <a:lnTo>
                    <a:pt x="861" y="289"/>
                  </a:lnTo>
                  <a:lnTo>
                    <a:pt x="867" y="289"/>
                  </a:lnTo>
                  <a:lnTo>
                    <a:pt x="873" y="294"/>
                  </a:lnTo>
                  <a:lnTo>
                    <a:pt x="901" y="300"/>
                  </a:lnTo>
                  <a:lnTo>
                    <a:pt x="907" y="300"/>
                  </a:lnTo>
                  <a:lnTo>
                    <a:pt x="912" y="300"/>
                  </a:lnTo>
                  <a:lnTo>
                    <a:pt x="918" y="300"/>
                  </a:lnTo>
                  <a:lnTo>
                    <a:pt x="929" y="300"/>
                  </a:lnTo>
                  <a:lnTo>
                    <a:pt x="946" y="300"/>
                  </a:lnTo>
                  <a:lnTo>
                    <a:pt x="952" y="300"/>
                  </a:lnTo>
                  <a:lnTo>
                    <a:pt x="963" y="300"/>
                  </a:lnTo>
                  <a:lnTo>
                    <a:pt x="980" y="300"/>
                  </a:lnTo>
                  <a:lnTo>
                    <a:pt x="992" y="294"/>
                  </a:lnTo>
                  <a:lnTo>
                    <a:pt x="997" y="294"/>
                  </a:lnTo>
                  <a:lnTo>
                    <a:pt x="997" y="289"/>
                  </a:lnTo>
                  <a:lnTo>
                    <a:pt x="1003" y="289"/>
                  </a:lnTo>
                  <a:lnTo>
                    <a:pt x="1003" y="283"/>
                  </a:lnTo>
                  <a:lnTo>
                    <a:pt x="1009" y="283"/>
                  </a:lnTo>
                  <a:lnTo>
                    <a:pt x="1009" y="277"/>
                  </a:lnTo>
                  <a:lnTo>
                    <a:pt x="1009" y="272"/>
                  </a:lnTo>
                  <a:lnTo>
                    <a:pt x="1014" y="266"/>
                  </a:lnTo>
                  <a:lnTo>
                    <a:pt x="1014" y="260"/>
                  </a:lnTo>
                  <a:lnTo>
                    <a:pt x="1026" y="260"/>
                  </a:lnTo>
                  <a:lnTo>
                    <a:pt x="1043" y="255"/>
                  </a:lnTo>
                  <a:lnTo>
                    <a:pt x="1048" y="249"/>
                  </a:lnTo>
                  <a:lnTo>
                    <a:pt x="1048" y="243"/>
                  </a:lnTo>
                  <a:lnTo>
                    <a:pt x="1043" y="238"/>
                  </a:lnTo>
                  <a:lnTo>
                    <a:pt x="1043" y="232"/>
                  </a:lnTo>
                  <a:lnTo>
                    <a:pt x="1037" y="232"/>
                  </a:lnTo>
                  <a:lnTo>
                    <a:pt x="1037" y="226"/>
                  </a:lnTo>
                  <a:lnTo>
                    <a:pt x="1037" y="221"/>
                  </a:lnTo>
                  <a:lnTo>
                    <a:pt x="1031" y="221"/>
                  </a:lnTo>
                  <a:lnTo>
                    <a:pt x="1026" y="221"/>
                  </a:lnTo>
                  <a:lnTo>
                    <a:pt x="1026" y="215"/>
                  </a:lnTo>
                  <a:lnTo>
                    <a:pt x="1031" y="209"/>
                  </a:lnTo>
                  <a:lnTo>
                    <a:pt x="1037" y="204"/>
                  </a:lnTo>
                  <a:lnTo>
                    <a:pt x="1043" y="204"/>
                  </a:lnTo>
                  <a:lnTo>
                    <a:pt x="1054" y="204"/>
                  </a:lnTo>
                  <a:lnTo>
                    <a:pt x="1060" y="204"/>
                  </a:lnTo>
                  <a:lnTo>
                    <a:pt x="1071" y="209"/>
                  </a:lnTo>
                  <a:lnTo>
                    <a:pt x="1077" y="215"/>
                  </a:lnTo>
                  <a:lnTo>
                    <a:pt x="1083" y="215"/>
                  </a:lnTo>
                  <a:lnTo>
                    <a:pt x="1088" y="215"/>
                  </a:lnTo>
                  <a:lnTo>
                    <a:pt x="1100" y="215"/>
                  </a:lnTo>
                  <a:lnTo>
                    <a:pt x="1111" y="221"/>
                  </a:lnTo>
                  <a:lnTo>
                    <a:pt x="1117" y="221"/>
                  </a:lnTo>
                  <a:lnTo>
                    <a:pt x="1122" y="226"/>
                  </a:lnTo>
                  <a:lnTo>
                    <a:pt x="1128" y="232"/>
                  </a:lnTo>
                  <a:lnTo>
                    <a:pt x="1134" y="232"/>
                  </a:lnTo>
                  <a:lnTo>
                    <a:pt x="1139" y="232"/>
                  </a:lnTo>
                  <a:lnTo>
                    <a:pt x="1139" y="238"/>
                  </a:lnTo>
                  <a:lnTo>
                    <a:pt x="1139" y="243"/>
                  </a:lnTo>
                  <a:lnTo>
                    <a:pt x="1145" y="243"/>
                  </a:lnTo>
                  <a:lnTo>
                    <a:pt x="1151" y="249"/>
                  </a:lnTo>
                  <a:lnTo>
                    <a:pt x="1156" y="249"/>
                  </a:lnTo>
                  <a:lnTo>
                    <a:pt x="1173" y="249"/>
                  </a:lnTo>
                  <a:lnTo>
                    <a:pt x="1185" y="255"/>
                  </a:lnTo>
                  <a:lnTo>
                    <a:pt x="1185" y="260"/>
                  </a:lnTo>
                  <a:lnTo>
                    <a:pt x="1196" y="260"/>
                  </a:lnTo>
                  <a:lnTo>
                    <a:pt x="1202" y="260"/>
                  </a:lnTo>
                  <a:lnTo>
                    <a:pt x="1207" y="260"/>
                  </a:lnTo>
                  <a:lnTo>
                    <a:pt x="1207" y="266"/>
                  </a:lnTo>
                  <a:lnTo>
                    <a:pt x="1213" y="272"/>
                  </a:lnTo>
                  <a:lnTo>
                    <a:pt x="1219" y="272"/>
                  </a:lnTo>
                  <a:lnTo>
                    <a:pt x="1224" y="277"/>
                  </a:lnTo>
                  <a:lnTo>
                    <a:pt x="1230" y="277"/>
                  </a:lnTo>
                  <a:lnTo>
                    <a:pt x="1236" y="283"/>
                  </a:lnTo>
                  <a:lnTo>
                    <a:pt x="1241" y="283"/>
                  </a:lnTo>
                  <a:lnTo>
                    <a:pt x="1241" y="289"/>
                  </a:lnTo>
                  <a:lnTo>
                    <a:pt x="1247" y="289"/>
                  </a:lnTo>
                  <a:lnTo>
                    <a:pt x="1253" y="294"/>
                  </a:lnTo>
                  <a:lnTo>
                    <a:pt x="1264" y="300"/>
                  </a:lnTo>
                  <a:lnTo>
                    <a:pt x="1270" y="306"/>
                  </a:lnTo>
                  <a:lnTo>
                    <a:pt x="1275" y="311"/>
                  </a:lnTo>
                  <a:lnTo>
                    <a:pt x="1275" y="317"/>
                  </a:lnTo>
                  <a:lnTo>
                    <a:pt x="1281" y="317"/>
                  </a:lnTo>
                  <a:lnTo>
                    <a:pt x="1287" y="317"/>
                  </a:lnTo>
                  <a:lnTo>
                    <a:pt x="1292" y="323"/>
                  </a:lnTo>
                  <a:lnTo>
                    <a:pt x="1309" y="317"/>
                  </a:lnTo>
                  <a:lnTo>
                    <a:pt x="1292" y="328"/>
                  </a:lnTo>
                  <a:lnTo>
                    <a:pt x="1292" y="334"/>
                  </a:lnTo>
                  <a:lnTo>
                    <a:pt x="1292" y="340"/>
                  </a:lnTo>
                  <a:lnTo>
                    <a:pt x="1292" y="345"/>
                  </a:lnTo>
                  <a:lnTo>
                    <a:pt x="1287" y="345"/>
                  </a:lnTo>
                  <a:lnTo>
                    <a:pt x="1287" y="351"/>
                  </a:lnTo>
                  <a:lnTo>
                    <a:pt x="1287" y="357"/>
                  </a:lnTo>
                  <a:lnTo>
                    <a:pt x="1281" y="357"/>
                  </a:lnTo>
                  <a:lnTo>
                    <a:pt x="1281" y="362"/>
                  </a:lnTo>
                  <a:lnTo>
                    <a:pt x="1281" y="368"/>
                  </a:lnTo>
                  <a:lnTo>
                    <a:pt x="1281" y="374"/>
                  </a:lnTo>
                  <a:lnTo>
                    <a:pt x="1287" y="385"/>
                  </a:lnTo>
                  <a:lnTo>
                    <a:pt x="1287" y="396"/>
                  </a:lnTo>
                  <a:lnTo>
                    <a:pt x="1292" y="413"/>
                  </a:lnTo>
                  <a:lnTo>
                    <a:pt x="1292" y="425"/>
                  </a:lnTo>
                  <a:lnTo>
                    <a:pt x="1292" y="436"/>
                  </a:lnTo>
                  <a:lnTo>
                    <a:pt x="1304" y="453"/>
                  </a:lnTo>
                  <a:lnTo>
                    <a:pt x="1304" y="459"/>
                  </a:lnTo>
                  <a:lnTo>
                    <a:pt x="1309" y="470"/>
                  </a:lnTo>
                  <a:lnTo>
                    <a:pt x="1309" y="476"/>
                  </a:lnTo>
                  <a:lnTo>
                    <a:pt x="1309" y="481"/>
                  </a:lnTo>
                  <a:lnTo>
                    <a:pt x="1315" y="481"/>
                  </a:lnTo>
                  <a:lnTo>
                    <a:pt x="1321" y="487"/>
                  </a:lnTo>
                  <a:lnTo>
                    <a:pt x="1321" y="493"/>
                  </a:lnTo>
                  <a:lnTo>
                    <a:pt x="1321" y="498"/>
                  </a:lnTo>
                  <a:lnTo>
                    <a:pt x="1321" y="510"/>
                  </a:lnTo>
                  <a:lnTo>
                    <a:pt x="1321" y="515"/>
                  </a:lnTo>
                  <a:lnTo>
                    <a:pt x="1309" y="521"/>
                  </a:lnTo>
                  <a:lnTo>
                    <a:pt x="1304" y="521"/>
                  </a:lnTo>
                  <a:lnTo>
                    <a:pt x="1304" y="527"/>
                  </a:lnTo>
                  <a:lnTo>
                    <a:pt x="1298" y="527"/>
                  </a:lnTo>
                  <a:lnTo>
                    <a:pt x="1287" y="527"/>
                  </a:lnTo>
                  <a:lnTo>
                    <a:pt x="1270" y="527"/>
                  </a:lnTo>
                  <a:lnTo>
                    <a:pt x="1264" y="527"/>
                  </a:lnTo>
                  <a:lnTo>
                    <a:pt x="1258" y="532"/>
                  </a:lnTo>
                  <a:lnTo>
                    <a:pt x="1253" y="532"/>
                  </a:lnTo>
                  <a:lnTo>
                    <a:pt x="1247" y="538"/>
                  </a:lnTo>
                  <a:lnTo>
                    <a:pt x="1241" y="538"/>
                  </a:lnTo>
                  <a:lnTo>
                    <a:pt x="1236" y="538"/>
                  </a:lnTo>
                  <a:lnTo>
                    <a:pt x="1236" y="544"/>
                  </a:lnTo>
                  <a:lnTo>
                    <a:pt x="1230" y="544"/>
                  </a:lnTo>
                  <a:lnTo>
                    <a:pt x="1224" y="549"/>
                  </a:lnTo>
                  <a:lnTo>
                    <a:pt x="1213" y="555"/>
                  </a:lnTo>
                  <a:lnTo>
                    <a:pt x="1213" y="561"/>
                  </a:lnTo>
                  <a:lnTo>
                    <a:pt x="1207" y="561"/>
                  </a:lnTo>
                  <a:lnTo>
                    <a:pt x="1207" y="566"/>
                  </a:lnTo>
                  <a:lnTo>
                    <a:pt x="1202" y="566"/>
                  </a:lnTo>
                  <a:lnTo>
                    <a:pt x="1196" y="578"/>
                  </a:lnTo>
                  <a:lnTo>
                    <a:pt x="1190" y="578"/>
                  </a:lnTo>
                  <a:lnTo>
                    <a:pt x="1179" y="583"/>
                  </a:lnTo>
                  <a:lnTo>
                    <a:pt x="1179" y="589"/>
                  </a:lnTo>
                  <a:lnTo>
                    <a:pt x="1179" y="595"/>
                  </a:lnTo>
                  <a:lnTo>
                    <a:pt x="1173" y="595"/>
                  </a:lnTo>
                  <a:lnTo>
                    <a:pt x="1168" y="595"/>
                  </a:lnTo>
                  <a:lnTo>
                    <a:pt x="1162" y="606"/>
                  </a:lnTo>
                  <a:lnTo>
                    <a:pt x="1162" y="612"/>
                  </a:lnTo>
                  <a:lnTo>
                    <a:pt x="1156" y="612"/>
                  </a:lnTo>
                  <a:lnTo>
                    <a:pt x="1151" y="612"/>
                  </a:lnTo>
                  <a:lnTo>
                    <a:pt x="1151" y="617"/>
                  </a:lnTo>
                  <a:lnTo>
                    <a:pt x="1151" y="623"/>
                  </a:lnTo>
                  <a:lnTo>
                    <a:pt x="1145" y="623"/>
                  </a:lnTo>
                  <a:lnTo>
                    <a:pt x="1139" y="623"/>
                  </a:lnTo>
                  <a:lnTo>
                    <a:pt x="1139" y="629"/>
                  </a:lnTo>
                  <a:lnTo>
                    <a:pt x="1134" y="629"/>
                  </a:lnTo>
                  <a:lnTo>
                    <a:pt x="1134" y="634"/>
                  </a:lnTo>
                  <a:lnTo>
                    <a:pt x="1128" y="634"/>
                  </a:lnTo>
                  <a:lnTo>
                    <a:pt x="1128" y="640"/>
                  </a:lnTo>
                  <a:lnTo>
                    <a:pt x="1122" y="640"/>
                  </a:lnTo>
                  <a:lnTo>
                    <a:pt x="1122" y="646"/>
                  </a:lnTo>
                  <a:lnTo>
                    <a:pt x="1117" y="646"/>
                  </a:lnTo>
                  <a:lnTo>
                    <a:pt x="1111" y="646"/>
                  </a:lnTo>
                  <a:lnTo>
                    <a:pt x="1111" y="651"/>
                  </a:lnTo>
                  <a:lnTo>
                    <a:pt x="1105" y="651"/>
                  </a:lnTo>
                  <a:lnTo>
                    <a:pt x="1105" y="657"/>
                  </a:lnTo>
                  <a:lnTo>
                    <a:pt x="1100" y="657"/>
                  </a:lnTo>
                  <a:lnTo>
                    <a:pt x="1094" y="663"/>
                  </a:lnTo>
                  <a:lnTo>
                    <a:pt x="1088" y="663"/>
                  </a:lnTo>
                  <a:lnTo>
                    <a:pt x="1083" y="668"/>
                  </a:lnTo>
                  <a:lnTo>
                    <a:pt x="1083" y="674"/>
                  </a:lnTo>
                  <a:lnTo>
                    <a:pt x="1077" y="674"/>
                  </a:lnTo>
                  <a:lnTo>
                    <a:pt x="1071" y="674"/>
                  </a:lnTo>
                  <a:lnTo>
                    <a:pt x="1071" y="680"/>
                  </a:lnTo>
                  <a:lnTo>
                    <a:pt x="1066" y="680"/>
                  </a:lnTo>
                  <a:lnTo>
                    <a:pt x="1060" y="685"/>
                  </a:lnTo>
                  <a:lnTo>
                    <a:pt x="1054" y="691"/>
                  </a:lnTo>
                  <a:lnTo>
                    <a:pt x="1048" y="691"/>
                  </a:lnTo>
                  <a:lnTo>
                    <a:pt x="1043" y="691"/>
                  </a:lnTo>
                  <a:lnTo>
                    <a:pt x="1043" y="697"/>
                  </a:lnTo>
                  <a:lnTo>
                    <a:pt x="1037" y="702"/>
                  </a:lnTo>
                  <a:lnTo>
                    <a:pt x="1031" y="702"/>
                  </a:lnTo>
                  <a:lnTo>
                    <a:pt x="1026" y="702"/>
                  </a:lnTo>
                  <a:lnTo>
                    <a:pt x="1020" y="708"/>
                  </a:lnTo>
                  <a:lnTo>
                    <a:pt x="1014" y="708"/>
                  </a:lnTo>
                  <a:lnTo>
                    <a:pt x="1009" y="714"/>
                  </a:lnTo>
                  <a:lnTo>
                    <a:pt x="997" y="714"/>
                  </a:lnTo>
                  <a:lnTo>
                    <a:pt x="992" y="719"/>
                  </a:lnTo>
                  <a:lnTo>
                    <a:pt x="986" y="719"/>
                  </a:lnTo>
                  <a:lnTo>
                    <a:pt x="980" y="719"/>
                  </a:lnTo>
                  <a:lnTo>
                    <a:pt x="969" y="719"/>
                  </a:lnTo>
                  <a:lnTo>
                    <a:pt x="958" y="719"/>
                  </a:lnTo>
                  <a:lnTo>
                    <a:pt x="952" y="725"/>
                  </a:lnTo>
                  <a:lnTo>
                    <a:pt x="952" y="731"/>
                  </a:lnTo>
                  <a:lnTo>
                    <a:pt x="946" y="736"/>
                  </a:lnTo>
                  <a:lnTo>
                    <a:pt x="941" y="736"/>
                  </a:lnTo>
                  <a:lnTo>
                    <a:pt x="941" y="742"/>
                  </a:lnTo>
                  <a:lnTo>
                    <a:pt x="941" y="748"/>
                  </a:lnTo>
                  <a:lnTo>
                    <a:pt x="929" y="748"/>
                  </a:lnTo>
                  <a:lnTo>
                    <a:pt x="924" y="748"/>
                  </a:lnTo>
                  <a:lnTo>
                    <a:pt x="918" y="748"/>
                  </a:lnTo>
                  <a:lnTo>
                    <a:pt x="912" y="748"/>
                  </a:lnTo>
                  <a:lnTo>
                    <a:pt x="907" y="742"/>
                  </a:lnTo>
                  <a:lnTo>
                    <a:pt x="901" y="742"/>
                  </a:lnTo>
                  <a:lnTo>
                    <a:pt x="895" y="742"/>
                  </a:lnTo>
                  <a:lnTo>
                    <a:pt x="895" y="736"/>
                  </a:lnTo>
                  <a:lnTo>
                    <a:pt x="884" y="736"/>
                  </a:lnTo>
                  <a:lnTo>
                    <a:pt x="878" y="736"/>
                  </a:lnTo>
                  <a:lnTo>
                    <a:pt x="873" y="731"/>
                  </a:lnTo>
                  <a:lnTo>
                    <a:pt x="867" y="731"/>
                  </a:lnTo>
                  <a:lnTo>
                    <a:pt x="867" y="736"/>
                  </a:lnTo>
                  <a:lnTo>
                    <a:pt x="856" y="736"/>
                  </a:lnTo>
                  <a:lnTo>
                    <a:pt x="856" y="742"/>
                  </a:lnTo>
                  <a:lnTo>
                    <a:pt x="850" y="748"/>
                  </a:lnTo>
                  <a:lnTo>
                    <a:pt x="850" y="759"/>
                  </a:lnTo>
                  <a:lnTo>
                    <a:pt x="856" y="765"/>
                  </a:lnTo>
                  <a:lnTo>
                    <a:pt x="856" y="770"/>
                  </a:lnTo>
                  <a:lnTo>
                    <a:pt x="856" y="776"/>
                  </a:lnTo>
                  <a:lnTo>
                    <a:pt x="856" y="782"/>
                  </a:lnTo>
                  <a:lnTo>
                    <a:pt x="861" y="787"/>
                  </a:lnTo>
                  <a:lnTo>
                    <a:pt x="867" y="787"/>
                  </a:lnTo>
                  <a:lnTo>
                    <a:pt x="867" y="799"/>
                  </a:lnTo>
                  <a:lnTo>
                    <a:pt x="867" y="804"/>
                  </a:lnTo>
                  <a:lnTo>
                    <a:pt x="873" y="804"/>
                  </a:lnTo>
                  <a:lnTo>
                    <a:pt x="873" y="810"/>
                  </a:lnTo>
                  <a:lnTo>
                    <a:pt x="873" y="816"/>
                  </a:lnTo>
                  <a:lnTo>
                    <a:pt x="873" y="821"/>
                  </a:lnTo>
                  <a:lnTo>
                    <a:pt x="873" y="827"/>
                  </a:lnTo>
                  <a:lnTo>
                    <a:pt x="873" y="833"/>
                  </a:lnTo>
                  <a:lnTo>
                    <a:pt x="867" y="833"/>
                  </a:lnTo>
                  <a:lnTo>
                    <a:pt x="867" y="838"/>
                  </a:lnTo>
                  <a:lnTo>
                    <a:pt x="861" y="844"/>
                  </a:lnTo>
                  <a:lnTo>
                    <a:pt x="856" y="844"/>
                  </a:lnTo>
                  <a:lnTo>
                    <a:pt x="844" y="855"/>
                  </a:lnTo>
                  <a:lnTo>
                    <a:pt x="839" y="855"/>
                  </a:lnTo>
                  <a:lnTo>
                    <a:pt x="839" y="861"/>
                  </a:lnTo>
                  <a:lnTo>
                    <a:pt x="833" y="861"/>
                  </a:lnTo>
                  <a:lnTo>
                    <a:pt x="833" y="867"/>
                  </a:lnTo>
                  <a:lnTo>
                    <a:pt x="827" y="867"/>
                  </a:lnTo>
                  <a:lnTo>
                    <a:pt x="827" y="872"/>
                  </a:lnTo>
                  <a:lnTo>
                    <a:pt x="822" y="872"/>
                  </a:lnTo>
                  <a:lnTo>
                    <a:pt x="810" y="884"/>
                  </a:lnTo>
                  <a:lnTo>
                    <a:pt x="805" y="884"/>
                  </a:lnTo>
                  <a:lnTo>
                    <a:pt x="799" y="884"/>
                  </a:lnTo>
                  <a:lnTo>
                    <a:pt x="793" y="878"/>
                  </a:lnTo>
                  <a:lnTo>
                    <a:pt x="788" y="878"/>
                  </a:lnTo>
                  <a:lnTo>
                    <a:pt x="788" y="872"/>
                  </a:lnTo>
                  <a:lnTo>
                    <a:pt x="788" y="867"/>
                  </a:lnTo>
                  <a:lnTo>
                    <a:pt x="782" y="861"/>
                  </a:lnTo>
                  <a:lnTo>
                    <a:pt x="782" y="855"/>
                  </a:lnTo>
                  <a:lnTo>
                    <a:pt x="782" y="850"/>
                  </a:lnTo>
                  <a:lnTo>
                    <a:pt x="776" y="850"/>
                  </a:lnTo>
                  <a:lnTo>
                    <a:pt x="771" y="844"/>
                  </a:lnTo>
                  <a:lnTo>
                    <a:pt x="771" y="838"/>
                  </a:lnTo>
                  <a:lnTo>
                    <a:pt x="771" y="833"/>
                  </a:lnTo>
                  <a:lnTo>
                    <a:pt x="765" y="833"/>
                  </a:lnTo>
                  <a:lnTo>
                    <a:pt x="759" y="833"/>
                  </a:lnTo>
                  <a:lnTo>
                    <a:pt x="754" y="827"/>
                  </a:lnTo>
                  <a:lnTo>
                    <a:pt x="748" y="821"/>
                  </a:lnTo>
                  <a:lnTo>
                    <a:pt x="742" y="821"/>
                  </a:lnTo>
                  <a:lnTo>
                    <a:pt x="737" y="827"/>
                  </a:lnTo>
                  <a:lnTo>
                    <a:pt x="731" y="827"/>
                  </a:lnTo>
                  <a:lnTo>
                    <a:pt x="725" y="827"/>
                  </a:lnTo>
                  <a:lnTo>
                    <a:pt x="720" y="827"/>
                  </a:lnTo>
                  <a:lnTo>
                    <a:pt x="714" y="827"/>
                  </a:lnTo>
                  <a:lnTo>
                    <a:pt x="703" y="827"/>
                  </a:lnTo>
                  <a:lnTo>
                    <a:pt x="697" y="827"/>
                  </a:lnTo>
                  <a:lnTo>
                    <a:pt x="686" y="827"/>
                  </a:lnTo>
                  <a:lnTo>
                    <a:pt x="674" y="821"/>
                  </a:lnTo>
                  <a:lnTo>
                    <a:pt x="663" y="821"/>
                  </a:lnTo>
                  <a:lnTo>
                    <a:pt x="663" y="816"/>
                  </a:lnTo>
                  <a:lnTo>
                    <a:pt x="657" y="816"/>
                  </a:lnTo>
                  <a:lnTo>
                    <a:pt x="652" y="816"/>
                  </a:lnTo>
                  <a:lnTo>
                    <a:pt x="640" y="810"/>
                  </a:lnTo>
                  <a:lnTo>
                    <a:pt x="635" y="810"/>
                  </a:lnTo>
                  <a:lnTo>
                    <a:pt x="629" y="810"/>
                  </a:lnTo>
                  <a:lnTo>
                    <a:pt x="618" y="804"/>
                  </a:lnTo>
                  <a:lnTo>
                    <a:pt x="612" y="804"/>
                  </a:lnTo>
                  <a:lnTo>
                    <a:pt x="606" y="804"/>
                  </a:lnTo>
                  <a:lnTo>
                    <a:pt x="606" y="799"/>
                  </a:lnTo>
                  <a:lnTo>
                    <a:pt x="601" y="799"/>
                  </a:lnTo>
                  <a:lnTo>
                    <a:pt x="595" y="799"/>
                  </a:lnTo>
                  <a:lnTo>
                    <a:pt x="589" y="793"/>
                  </a:lnTo>
                  <a:lnTo>
                    <a:pt x="584" y="787"/>
                  </a:lnTo>
                  <a:lnTo>
                    <a:pt x="578" y="787"/>
                  </a:lnTo>
                  <a:lnTo>
                    <a:pt x="567" y="793"/>
                  </a:lnTo>
                  <a:lnTo>
                    <a:pt x="561" y="793"/>
                  </a:lnTo>
                  <a:lnTo>
                    <a:pt x="555" y="799"/>
                  </a:lnTo>
                  <a:lnTo>
                    <a:pt x="550" y="799"/>
                  </a:lnTo>
                  <a:lnTo>
                    <a:pt x="544" y="804"/>
                  </a:lnTo>
                  <a:lnTo>
                    <a:pt x="521" y="821"/>
                  </a:lnTo>
                  <a:lnTo>
                    <a:pt x="516" y="821"/>
                  </a:lnTo>
                  <a:lnTo>
                    <a:pt x="516" y="827"/>
                  </a:lnTo>
                  <a:lnTo>
                    <a:pt x="516" y="833"/>
                  </a:lnTo>
                  <a:lnTo>
                    <a:pt x="510" y="833"/>
                  </a:lnTo>
                  <a:lnTo>
                    <a:pt x="510" y="838"/>
                  </a:lnTo>
                  <a:lnTo>
                    <a:pt x="510" y="844"/>
                  </a:lnTo>
                  <a:lnTo>
                    <a:pt x="504" y="844"/>
                  </a:lnTo>
                  <a:lnTo>
                    <a:pt x="504" y="855"/>
                  </a:lnTo>
                  <a:lnTo>
                    <a:pt x="510" y="861"/>
                  </a:lnTo>
                  <a:lnTo>
                    <a:pt x="510" y="867"/>
                  </a:lnTo>
                  <a:lnTo>
                    <a:pt x="516" y="867"/>
                  </a:lnTo>
                  <a:lnTo>
                    <a:pt x="516" y="872"/>
                  </a:lnTo>
                  <a:lnTo>
                    <a:pt x="516" y="884"/>
                  </a:lnTo>
                  <a:lnTo>
                    <a:pt x="521" y="884"/>
                  </a:lnTo>
                  <a:lnTo>
                    <a:pt x="521" y="889"/>
                  </a:lnTo>
                  <a:lnTo>
                    <a:pt x="521" y="895"/>
                  </a:lnTo>
                  <a:lnTo>
                    <a:pt x="527" y="901"/>
                  </a:lnTo>
                  <a:lnTo>
                    <a:pt x="527" y="906"/>
                  </a:lnTo>
                  <a:lnTo>
                    <a:pt x="533" y="912"/>
                  </a:lnTo>
                  <a:lnTo>
                    <a:pt x="533" y="918"/>
                  </a:lnTo>
                  <a:lnTo>
                    <a:pt x="533" y="924"/>
                  </a:lnTo>
                  <a:lnTo>
                    <a:pt x="533" y="929"/>
                  </a:lnTo>
                  <a:lnTo>
                    <a:pt x="527" y="929"/>
                  </a:lnTo>
                  <a:lnTo>
                    <a:pt x="521" y="929"/>
                  </a:lnTo>
                  <a:lnTo>
                    <a:pt x="521" y="924"/>
                  </a:lnTo>
                  <a:lnTo>
                    <a:pt x="516" y="924"/>
                  </a:lnTo>
                  <a:lnTo>
                    <a:pt x="516" y="918"/>
                  </a:lnTo>
                  <a:lnTo>
                    <a:pt x="504" y="912"/>
                  </a:lnTo>
                  <a:lnTo>
                    <a:pt x="499" y="912"/>
                  </a:lnTo>
                  <a:lnTo>
                    <a:pt x="493" y="912"/>
                  </a:lnTo>
                  <a:lnTo>
                    <a:pt x="487" y="906"/>
                  </a:lnTo>
                  <a:lnTo>
                    <a:pt x="482" y="901"/>
                  </a:lnTo>
                  <a:lnTo>
                    <a:pt x="476" y="901"/>
                  </a:lnTo>
                  <a:lnTo>
                    <a:pt x="470" y="895"/>
                  </a:lnTo>
                  <a:lnTo>
                    <a:pt x="465" y="895"/>
                  </a:lnTo>
                  <a:lnTo>
                    <a:pt x="459" y="889"/>
                  </a:lnTo>
                  <a:lnTo>
                    <a:pt x="453" y="889"/>
                  </a:lnTo>
                  <a:lnTo>
                    <a:pt x="448" y="889"/>
                  </a:lnTo>
                  <a:lnTo>
                    <a:pt x="442" y="889"/>
                  </a:lnTo>
                  <a:lnTo>
                    <a:pt x="436" y="884"/>
                  </a:lnTo>
                  <a:lnTo>
                    <a:pt x="431" y="884"/>
                  </a:lnTo>
                  <a:lnTo>
                    <a:pt x="425" y="884"/>
                  </a:lnTo>
                  <a:lnTo>
                    <a:pt x="414" y="872"/>
                  </a:lnTo>
                  <a:lnTo>
                    <a:pt x="408" y="872"/>
                  </a:lnTo>
                  <a:lnTo>
                    <a:pt x="402" y="872"/>
                  </a:lnTo>
                  <a:lnTo>
                    <a:pt x="397" y="872"/>
                  </a:lnTo>
                  <a:lnTo>
                    <a:pt x="397" y="867"/>
                  </a:lnTo>
                  <a:lnTo>
                    <a:pt x="391" y="867"/>
                  </a:lnTo>
                  <a:lnTo>
                    <a:pt x="385" y="861"/>
                  </a:lnTo>
                  <a:lnTo>
                    <a:pt x="380" y="861"/>
                  </a:lnTo>
                  <a:lnTo>
                    <a:pt x="368" y="861"/>
                  </a:lnTo>
                  <a:lnTo>
                    <a:pt x="363" y="861"/>
                  </a:lnTo>
                  <a:lnTo>
                    <a:pt x="363" y="855"/>
                  </a:lnTo>
                  <a:lnTo>
                    <a:pt x="351" y="855"/>
                  </a:lnTo>
                  <a:lnTo>
                    <a:pt x="346" y="855"/>
                  </a:lnTo>
                  <a:lnTo>
                    <a:pt x="334" y="855"/>
                  </a:lnTo>
                  <a:lnTo>
                    <a:pt x="317" y="850"/>
                  </a:lnTo>
                  <a:lnTo>
                    <a:pt x="306" y="850"/>
                  </a:lnTo>
                  <a:lnTo>
                    <a:pt x="306" y="844"/>
                  </a:lnTo>
                  <a:lnTo>
                    <a:pt x="295" y="844"/>
                  </a:lnTo>
                  <a:lnTo>
                    <a:pt x="289" y="844"/>
                  </a:lnTo>
                  <a:lnTo>
                    <a:pt x="278" y="838"/>
                  </a:lnTo>
                  <a:lnTo>
                    <a:pt x="266" y="833"/>
                  </a:lnTo>
                  <a:lnTo>
                    <a:pt x="261" y="833"/>
                  </a:lnTo>
                  <a:lnTo>
                    <a:pt x="255" y="833"/>
                  </a:lnTo>
                  <a:lnTo>
                    <a:pt x="249" y="833"/>
                  </a:lnTo>
                  <a:lnTo>
                    <a:pt x="244" y="827"/>
                  </a:lnTo>
                  <a:lnTo>
                    <a:pt x="238" y="827"/>
                  </a:lnTo>
                  <a:close/>
                </a:path>
              </a:pathLst>
            </a:custGeom>
            <a:solidFill>
              <a:srgbClr val="F2F2F2"/>
            </a:solidFill>
            <a:ln w="25400">
              <a:solidFill>
                <a:srgbClr val="B4B4B4"/>
              </a:solidFill>
              <a:round/>
              <a:headEnd/>
              <a:tailEnd/>
            </a:ln>
          </p:spPr>
          <p:txBody>
            <a:bodyPr lIns="93296" tIns="46648" rIns="93296" bIns="46648"/>
            <a:lstStyle/>
            <a:p>
              <a:pPr>
                <a:defRPr/>
              </a:pPr>
              <a:endParaRPr lang="en-US" sz="1000" kern="0">
                <a:solidFill>
                  <a:prstClr val="black">
                    <a:lumMod val="65000"/>
                    <a:lumOff val="35000"/>
                  </a:prstClr>
                </a:solidFill>
              </a:endParaRPr>
            </a:p>
          </p:txBody>
        </p:sp>
        <p:sp>
          <p:nvSpPr>
            <p:cNvPr id="27" name="Freeform 26"/>
            <p:cNvSpPr>
              <a:spLocks noEditPoints="1"/>
            </p:cNvSpPr>
            <p:nvPr/>
          </p:nvSpPr>
          <p:spPr bwMode="gray">
            <a:xfrm>
              <a:off x="1526891" y="4516910"/>
              <a:ext cx="1106001" cy="703355"/>
            </a:xfrm>
            <a:custGeom>
              <a:avLst/>
              <a:gdLst>
                <a:gd name="T0" fmla="*/ 2147483647 w 788"/>
                <a:gd name="T1" fmla="*/ 2147483647 h 527"/>
                <a:gd name="T2" fmla="*/ 2147483647 w 788"/>
                <a:gd name="T3" fmla="*/ 2147483647 h 527"/>
                <a:gd name="T4" fmla="*/ 2147483647 w 788"/>
                <a:gd name="T5" fmla="*/ 2147483647 h 527"/>
                <a:gd name="T6" fmla="*/ 2147483647 w 788"/>
                <a:gd name="T7" fmla="*/ 2147483647 h 527"/>
                <a:gd name="T8" fmla="*/ 2147483647 w 788"/>
                <a:gd name="T9" fmla="*/ 2147483647 h 527"/>
                <a:gd name="T10" fmla="*/ 2147483647 w 788"/>
                <a:gd name="T11" fmla="*/ 2147483647 h 527"/>
                <a:gd name="T12" fmla="*/ 2147483647 w 788"/>
                <a:gd name="T13" fmla="*/ 2147483647 h 527"/>
                <a:gd name="T14" fmla="*/ 2147483647 w 788"/>
                <a:gd name="T15" fmla="*/ 2147483647 h 527"/>
                <a:gd name="T16" fmla="*/ 2147483647 w 788"/>
                <a:gd name="T17" fmla="*/ 2147483647 h 527"/>
                <a:gd name="T18" fmla="*/ 2147483647 w 788"/>
                <a:gd name="T19" fmla="*/ 2147483647 h 527"/>
                <a:gd name="T20" fmla="*/ 2147483647 w 788"/>
                <a:gd name="T21" fmla="*/ 2147483647 h 527"/>
                <a:gd name="T22" fmla="*/ 2147483647 w 788"/>
                <a:gd name="T23" fmla="*/ 2147483647 h 527"/>
                <a:gd name="T24" fmla="*/ 2147483647 w 788"/>
                <a:gd name="T25" fmla="*/ 2147483647 h 527"/>
                <a:gd name="T26" fmla="*/ 2147483647 w 788"/>
                <a:gd name="T27" fmla="*/ 2147483647 h 527"/>
                <a:gd name="T28" fmla="*/ 2147483647 w 788"/>
                <a:gd name="T29" fmla="*/ 2147483647 h 527"/>
                <a:gd name="T30" fmla="*/ 2147483647 w 788"/>
                <a:gd name="T31" fmla="*/ 2147483647 h 527"/>
                <a:gd name="T32" fmla="*/ 2147483647 w 788"/>
                <a:gd name="T33" fmla="*/ 2147483647 h 527"/>
                <a:gd name="T34" fmla="*/ 2147483647 w 788"/>
                <a:gd name="T35" fmla="*/ 2147483647 h 527"/>
                <a:gd name="T36" fmla="*/ 2147483647 w 788"/>
                <a:gd name="T37" fmla="*/ 2147483647 h 527"/>
                <a:gd name="T38" fmla="*/ 2147483647 w 788"/>
                <a:gd name="T39" fmla="*/ 2147483647 h 527"/>
                <a:gd name="T40" fmla="*/ 2147483647 w 788"/>
                <a:gd name="T41" fmla="*/ 2147483647 h 527"/>
                <a:gd name="T42" fmla="*/ 2147483647 w 788"/>
                <a:gd name="T43" fmla="*/ 2147483647 h 527"/>
                <a:gd name="T44" fmla="*/ 2147483647 w 788"/>
                <a:gd name="T45" fmla="*/ 2147483647 h 527"/>
                <a:gd name="T46" fmla="*/ 2147483647 w 788"/>
                <a:gd name="T47" fmla="*/ 2147483647 h 527"/>
                <a:gd name="T48" fmla="*/ 2147483647 w 788"/>
                <a:gd name="T49" fmla="*/ 2147483647 h 527"/>
                <a:gd name="T50" fmla="*/ 2147483647 w 788"/>
                <a:gd name="T51" fmla="*/ 2147483647 h 527"/>
                <a:gd name="T52" fmla="*/ 0 w 788"/>
                <a:gd name="T53" fmla="*/ 2147483647 h 527"/>
                <a:gd name="T54" fmla="*/ 2147483647 w 788"/>
                <a:gd name="T55" fmla="*/ 2147483647 h 527"/>
                <a:gd name="T56" fmla="*/ 2147483647 w 788"/>
                <a:gd name="T57" fmla="*/ 2147483647 h 527"/>
                <a:gd name="T58" fmla="*/ 2147483647 w 788"/>
                <a:gd name="T59" fmla="*/ 2147483647 h 527"/>
                <a:gd name="T60" fmla="*/ 2147483647 w 788"/>
                <a:gd name="T61" fmla="*/ 2147483647 h 527"/>
                <a:gd name="T62" fmla="*/ 2147483647 w 788"/>
                <a:gd name="T63" fmla="*/ 2147483647 h 527"/>
                <a:gd name="T64" fmla="*/ 2147483647 w 788"/>
                <a:gd name="T65" fmla="*/ 2147483647 h 527"/>
                <a:gd name="T66" fmla="*/ 2147483647 w 788"/>
                <a:gd name="T67" fmla="*/ 2147483647 h 527"/>
                <a:gd name="T68" fmla="*/ 2147483647 w 788"/>
                <a:gd name="T69" fmla="*/ 2147483647 h 527"/>
                <a:gd name="T70" fmla="*/ 2147483647 w 788"/>
                <a:gd name="T71" fmla="*/ 2147483647 h 527"/>
                <a:gd name="T72" fmla="*/ 2147483647 w 788"/>
                <a:gd name="T73" fmla="*/ 2147483647 h 527"/>
                <a:gd name="T74" fmla="*/ 2147483647 w 788"/>
                <a:gd name="T75" fmla="*/ 2147483647 h 527"/>
                <a:gd name="T76" fmla="*/ 2147483647 w 788"/>
                <a:gd name="T77" fmla="*/ 2147483647 h 527"/>
                <a:gd name="T78" fmla="*/ 2147483647 w 788"/>
                <a:gd name="T79" fmla="*/ 2147483647 h 527"/>
                <a:gd name="T80" fmla="*/ 2147483647 w 788"/>
                <a:gd name="T81" fmla="*/ 2147483647 h 527"/>
                <a:gd name="T82" fmla="*/ 2147483647 w 788"/>
                <a:gd name="T83" fmla="*/ 2147483647 h 527"/>
                <a:gd name="T84" fmla="*/ 2147483647 w 788"/>
                <a:gd name="T85" fmla="*/ 2147483647 h 527"/>
                <a:gd name="T86" fmla="*/ 2147483647 w 788"/>
                <a:gd name="T87" fmla="*/ 2147483647 h 527"/>
                <a:gd name="T88" fmla="*/ 2147483647 w 788"/>
                <a:gd name="T89" fmla="*/ 2147483647 h 527"/>
                <a:gd name="T90" fmla="*/ 2147483647 w 788"/>
                <a:gd name="T91" fmla="*/ 2147483647 h 527"/>
                <a:gd name="T92" fmla="*/ 2147483647 w 788"/>
                <a:gd name="T93" fmla="*/ 2147483647 h 527"/>
                <a:gd name="T94" fmla="*/ 2147483647 w 788"/>
                <a:gd name="T95" fmla="*/ 2147483647 h 527"/>
                <a:gd name="T96" fmla="*/ 2147483647 w 788"/>
                <a:gd name="T97" fmla="*/ 2147483647 h 527"/>
                <a:gd name="T98" fmla="*/ 2147483647 w 788"/>
                <a:gd name="T99" fmla="*/ 2147483647 h 527"/>
                <a:gd name="T100" fmla="*/ 2147483647 w 788"/>
                <a:gd name="T101" fmla="*/ 2147483647 h 527"/>
                <a:gd name="T102" fmla="*/ 2147483647 w 788"/>
                <a:gd name="T103" fmla="*/ 2147483647 h 527"/>
                <a:gd name="T104" fmla="*/ 2147483647 w 788"/>
                <a:gd name="T105" fmla="*/ 2147483647 h 527"/>
                <a:gd name="T106" fmla="*/ 2147483647 w 788"/>
                <a:gd name="T107" fmla="*/ 2147483647 h 527"/>
                <a:gd name="T108" fmla="*/ 2147483647 w 788"/>
                <a:gd name="T109" fmla="*/ 2147483647 h 527"/>
                <a:gd name="T110" fmla="*/ 2147483647 w 788"/>
                <a:gd name="T111" fmla="*/ 2147483647 h 527"/>
                <a:gd name="T112" fmla="*/ 2147483647 w 788"/>
                <a:gd name="T113" fmla="*/ 2147483647 h 527"/>
                <a:gd name="T114" fmla="*/ 2147483647 w 788"/>
                <a:gd name="T115" fmla="*/ 2147483647 h 527"/>
                <a:gd name="T116" fmla="*/ 2147483647 w 788"/>
                <a:gd name="T117" fmla="*/ 2147483647 h 527"/>
                <a:gd name="T118" fmla="*/ 2147483647 w 788"/>
                <a:gd name="T119" fmla="*/ 2147483647 h 527"/>
                <a:gd name="T120" fmla="*/ 2147483647 w 788"/>
                <a:gd name="T121" fmla="*/ 2147483647 h 527"/>
                <a:gd name="T122" fmla="*/ 2147483647 w 788"/>
                <a:gd name="T123" fmla="*/ 2147483647 h 527"/>
                <a:gd name="T124" fmla="*/ 2147483647 w 788"/>
                <a:gd name="T125" fmla="*/ 2147483647 h 52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88"/>
                <a:gd name="T190" fmla="*/ 0 h 527"/>
                <a:gd name="T191" fmla="*/ 788 w 788"/>
                <a:gd name="T192" fmla="*/ 527 h 527"/>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88" h="527">
                  <a:moveTo>
                    <a:pt x="130" y="448"/>
                  </a:moveTo>
                  <a:lnTo>
                    <a:pt x="125" y="442"/>
                  </a:lnTo>
                  <a:lnTo>
                    <a:pt x="130" y="448"/>
                  </a:lnTo>
                  <a:lnTo>
                    <a:pt x="136" y="448"/>
                  </a:lnTo>
                  <a:lnTo>
                    <a:pt x="130" y="453"/>
                  </a:lnTo>
                  <a:lnTo>
                    <a:pt x="130" y="448"/>
                  </a:lnTo>
                  <a:close/>
                  <a:moveTo>
                    <a:pt x="788" y="448"/>
                  </a:moveTo>
                  <a:lnTo>
                    <a:pt x="788" y="453"/>
                  </a:lnTo>
                  <a:lnTo>
                    <a:pt x="788" y="459"/>
                  </a:lnTo>
                  <a:lnTo>
                    <a:pt x="788" y="465"/>
                  </a:lnTo>
                  <a:lnTo>
                    <a:pt x="782" y="465"/>
                  </a:lnTo>
                  <a:lnTo>
                    <a:pt x="765" y="465"/>
                  </a:lnTo>
                  <a:lnTo>
                    <a:pt x="754" y="465"/>
                  </a:lnTo>
                  <a:lnTo>
                    <a:pt x="743" y="465"/>
                  </a:lnTo>
                  <a:lnTo>
                    <a:pt x="737" y="470"/>
                  </a:lnTo>
                  <a:lnTo>
                    <a:pt x="731" y="470"/>
                  </a:lnTo>
                  <a:lnTo>
                    <a:pt x="726" y="470"/>
                  </a:lnTo>
                  <a:lnTo>
                    <a:pt x="720" y="470"/>
                  </a:lnTo>
                  <a:lnTo>
                    <a:pt x="708" y="465"/>
                  </a:lnTo>
                  <a:lnTo>
                    <a:pt x="697" y="465"/>
                  </a:lnTo>
                  <a:lnTo>
                    <a:pt x="691" y="465"/>
                  </a:lnTo>
                  <a:lnTo>
                    <a:pt x="691" y="470"/>
                  </a:lnTo>
                  <a:lnTo>
                    <a:pt x="686" y="476"/>
                  </a:lnTo>
                  <a:lnTo>
                    <a:pt x="680" y="476"/>
                  </a:lnTo>
                  <a:lnTo>
                    <a:pt x="674" y="476"/>
                  </a:lnTo>
                  <a:lnTo>
                    <a:pt x="669" y="482"/>
                  </a:lnTo>
                  <a:lnTo>
                    <a:pt x="657" y="482"/>
                  </a:lnTo>
                  <a:lnTo>
                    <a:pt x="657" y="487"/>
                  </a:lnTo>
                  <a:lnTo>
                    <a:pt x="652" y="487"/>
                  </a:lnTo>
                  <a:lnTo>
                    <a:pt x="646" y="487"/>
                  </a:lnTo>
                  <a:lnTo>
                    <a:pt x="635" y="487"/>
                  </a:lnTo>
                  <a:lnTo>
                    <a:pt x="629" y="487"/>
                  </a:lnTo>
                  <a:lnTo>
                    <a:pt x="623" y="487"/>
                  </a:lnTo>
                  <a:lnTo>
                    <a:pt x="623" y="482"/>
                  </a:lnTo>
                  <a:lnTo>
                    <a:pt x="623" y="476"/>
                  </a:lnTo>
                  <a:lnTo>
                    <a:pt x="629" y="476"/>
                  </a:lnTo>
                  <a:lnTo>
                    <a:pt x="629" y="482"/>
                  </a:lnTo>
                  <a:lnTo>
                    <a:pt x="629" y="476"/>
                  </a:lnTo>
                  <a:lnTo>
                    <a:pt x="635" y="465"/>
                  </a:lnTo>
                  <a:lnTo>
                    <a:pt x="635" y="459"/>
                  </a:lnTo>
                  <a:lnTo>
                    <a:pt x="629" y="459"/>
                  </a:lnTo>
                  <a:lnTo>
                    <a:pt x="629" y="453"/>
                  </a:lnTo>
                  <a:lnTo>
                    <a:pt x="623" y="459"/>
                  </a:lnTo>
                  <a:lnTo>
                    <a:pt x="618" y="459"/>
                  </a:lnTo>
                  <a:lnTo>
                    <a:pt x="612" y="459"/>
                  </a:lnTo>
                  <a:lnTo>
                    <a:pt x="612" y="465"/>
                  </a:lnTo>
                  <a:lnTo>
                    <a:pt x="618" y="465"/>
                  </a:lnTo>
                  <a:lnTo>
                    <a:pt x="612" y="465"/>
                  </a:lnTo>
                  <a:lnTo>
                    <a:pt x="606" y="465"/>
                  </a:lnTo>
                  <a:lnTo>
                    <a:pt x="601" y="465"/>
                  </a:lnTo>
                  <a:lnTo>
                    <a:pt x="589" y="470"/>
                  </a:lnTo>
                  <a:lnTo>
                    <a:pt x="584" y="465"/>
                  </a:lnTo>
                  <a:lnTo>
                    <a:pt x="589" y="465"/>
                  </a:lnTo>
                  <a:lnTo>
                    <a:pt x="584" y="459"/>
                  </a:lnTo>
                  <a:lnTo>
                    <a:pt x="578" y="459"/>
                  </a:lnTo>
                  <a:lnTo>
                    <a:pt x="572" y="465"/>
                  </a:lnTo>
                  <a:lnTo>
                    <a:pt x="578" y="470"/>
                  </a:lnTo>
                  <a:lnTo>
                    <a:pt x="578" y="476"/>
                  </a:lnTo>
                  <a:lnTo>
                    <a:pt x="584" y="476"/>
                  </a:lnTo>
                  <a:lnTo>
                    <a:pt x="584" y="482"/>
                  </a:lnTo>
                  <a:lnTo>
                    <a:pt x="578" y="487"/>
                  </a:lnTo>
                  <a:lnTo>
                    <a:pt x="584" y="487"/>
                  </a:lnTo>
                  <a:lnTo>
                    <a:pt x="584" y="482"/>
                  </a:lnTo>
                  <a:lnTo>
                    <a:pt x="584" y="487"/>
                  </a:lnTo>
                  <a:lnTo>
                    <a:pt x="578" y="493"/>
                  </a:lnTo>
                  <a:lnTo>
                    <a:pt x="572" y="493"/>
                  </a:lnTo>
                  <a:lnTo>
                    <a:pt x="572" y="487"/>
                  </a:lnTo>
                  <a:lnTo>
                    <a:pt x="567" y="487"/>
                  </a:lnTo>
                  <a:lnTo>
                    <a:pt x="567" y="493"/>
                  </a:lnTo>
                  <a:lnTo>
                    <a:pt x="561" y="493"/>
                  </a:lnTo>
                  <a:lnTo>
                    <a:pt x="555" y="487"/>
                  </a:lnTo>
                  <a:lnTo>
                    <a:pt x="544" y="487"/>
                  </a:lnTo>
                  <a:lnTo>
                    <a:pt x="533" y="482"/>
                  </a:lnTo>
                  <a:lnTo>
                    <a:pt x="527" y="493"/>
                  </a:lnTo>
                  <a:lnTo>
                    <a:pt x="533" y="493"/>
                  </a:lnTo>
                  <a:lnTo>
                    <a:pt x="527" y="499"/>
                  </a:lnTo>
                  <a:lnTo>
                    <a:pt x="521" y="499"/>
                  </a:lnTo>
                  <a:lnTo>
                    <a:pt x="510" y="499"/>
                  </a:lnTo>
                  <a:lnTo>
                    <a:pt x="499" y="499"/>
                  </a:lnTo>
                  <a:lnTo>
                    <a:pt x="493" y="499"/>
                  </a:lnTo>
                  <a:lnTo>
                    <a:pt x="487" y="504"/>
                  </a:lnTo>
                  <a:lnTo>
                    <a:pt x="482" y="499"/>
                  </a:lnTo>
                  <a:lnTo>
                    <a:pt x="476" y="499"/>
                  </a:lnTo>
                  <a:lnTo>
                    <a:pt x="470" y="504"/>
                  </a:lnTo>
                  <a:lnTo>
                    <a:pt x="448" y="504"/>
                  </a:lnTo>
                  <a:lnTo>
                    <a:pt x="448" y="510"/>
                  </a:lnTo>
                  <a:lnTo>
                    <a:pt x="442" y="510"/>
                  </a:lnTo>
                  <a:lnTo>
                    <a:pt x="442" y="504"/>
                  </a:lnTo>
                  <a:lnTo>
                    <a:pt x="436" y="504"/>
                  </a:lnTo>
                  <a:lnTo>
                    <a:pt x="431" y="504"/>
                  </a:lnTo>
                  <a:lnTo>
                    <a:pt x="431" y="510"/>
                  </a:lnTo>
                  <a:lnTo>
                    <a:pt x="414" y="510"/>
                  </a:lnTo>
                  <a:lnTo>
                    <a:pt x="397" y="510"/>
                  </a:lnTo>
                  <a:lnTo>
                    <a:pt x="391" y="510"/>
                  </a:lnTo>
                  <a:lnTo>
                    <a:pt x="385" y="510"/>
                  </a:lnTo>
                  <a:lnTo>
                    <a:pt x="380" y="510"/>
                  </a:lnTo>
                  <a:lnTo>
                    <a:pt x="374" y="504"/>
                  </a:lnTo>
                  <a:lnTo>
                    <a:pt x="380" y="504"/>
                  </a:lnTo>
                  <a:lnTo>
                    <a:pt x="374" y="504"/>
                  </a:lnTo>
                  <a:lnTo>
                    <a:pt x="368" y="504"/>
                  </a:lnTo>
                  <a:lnTo>
                    <a:pt x="363" y="504"/>
                  </a:lnTo>
                  <a:lnTo>
                    <a:pt x="368" y="516"/>
                  </a:lnTo>
                  <a:lnTo>
                    <a:pt x="346" y="516"/>
                  </a:lnTo>
                  <a:lnTo>
                    <a:pt x="329" y="516"/>
                  </a:lnTo>
                  <a:lnTo>
                    <a:pt x="329" y="521"/>
                  </a:lnTo>
                  <a:lnTo>
                    <a:pt x="312" y="521"/>
                  </a:lnTo>
                  <a:lnTo>
                    <a:pt x="306" y="516"/>
                  </a:lnTo>
                  <a:lnTo>
                    <a:pt x="300" y="521"/>
                  </a:lnTo>
                  <a:lnTo>
                    <a:pt x="283" y="521"/>
                  </a:lnTo>
                  <a:lnTo>
                    <a:pt x="272" y="527"/>
                  </a:lnTo>
                  <a:lnTo>
                    <a:pt x="266" y="527"/>
                  </a:lnTo>
                  <a:lnTo>
                    <a:pt x="261" y="527"/>
                  </a:lnTo>
                  <a:lnTo>
                    <a:pt x="255" y="527"/>
                  </a:lnTo>
                  <a:lnTo>
                    <a:pt x="249" y="527"/>
                  </a:lnTo>
                  <a:lnTo>
                    <a:pt x="249" y="521"/>
                  </a:lnTo>
                  <a:lnTo>
                    <a:pt x="244" y="521"/>
                  </a:lnTo>
                  <a:lnTo>
                    <a:pt x="238" y="516"/>
                  </a:lnTo>
                  <a:lnTo>
                    <a:pt x="232" y="516"/>
                  </a:lnTo>
                  <a:lnTo>
                    <a:pt x="221" y="516"/>
                  </a:lnTo>
                  <a:lnTo>
                    <a:pt x="215" y="510"/>
                  </a:lnTo>
                  <a:lnTo>
                    <a:pt x="210" y="504"/>
                  </a:lnTo>
                  <a:lnTo>
                    <a:pt x="181" y="487"/>
                  </a:lnTo>
                  <a:lnTo>
                    <a:pt x="170" y="482"/>
                  </a:lnTo>
                  <a:lnTo>
                    <a:pt x="170" y="476"/>
                  </a:lnTo>
                  <a:lnTo>
                    <a:pt x="164" y="476"/>
                  </a:lnTo>
                  <a:lnTo>
                    <a:pt x="159" y="470"/>
                  </a:lnTo>
                  <a:lnTo>
                    <a:pt x="153" y="465"/>
                  </a:lnTo>
                  <a:lnTo>
                    <a:pt x="147" y="465"/>
                  </a:lnTo>
                  <a:lnTo>
                    <a:pt x="142" y="459"/>
                  </a:lnTo>
                  <a:lnTo>
                    <a:pt x="136" y="453"/>
                  </a:lnTo>
                  <a:lnTo>
                    <a:pt x="130" y="448"/>
                  </a:lnTo>
                  <a:lnTo>
                    <a:pt x="130" y="442"/>
                  </a:lnTo>
                  <a:lnTo>
                    <a:pt x="119" y="436"/>
                  </a:lnTo>
                  <a:lnTo>
                    <a:pt x="119" y="431"/>
                  </a:lnTo>
                  <a:lnTo>
                    <a:pt x="113" y="431"/>
                  </a:lnTo>
                  <a:lnTo>
                    <a:pt x="108" y="425"/>
                  </a:lnTo>
                  <a:lnTo>
                    <a:pt x="96" y="414"/>
                  </a:lnTo>
                  <a:lnTo>
                    <a:pt x="91" y="408"/>
                  </a:lnTo>
                  <a:lnTo>
                    <a:pt x="85" y="397"/>
                  </a:lnTo>
                  <a:lnTo>
                    <a:pt x="79" y="391"/>
                  </a:lnTo>
                  <a:lnTo>
                    <a:pt x="68" y="380"/>
                  </a:lnTo>
                  <a:lnTo>
                    <a:pt x="62" y="368"/>
                  </a:lnTo>
                  <a:lnTo>
                    <a:pt x="62" y="363"/>
                  </a:lnTo>
                  <a:lnTo>
                    <a:pt x="62" y="357"/>
                  </a:lnTo>
                  <a:lnTo>
                    <a:pt x="57" y="351"/>
                  </a:lnTo>
                  <a:lnTo>
                    <a:pt x="51" y="351"/>
                  </a:lnTo>
                  <a:lnTo>
                    <a:pt x="51" y="346"/>
                  </a:lnTo>
                  <a:lnTo>
                    <a:pt x="45" y="340"/>
                  </a:lnTo>
                  <a:lnTo>
                    <a:pt x="40" y="329"/>
                  </a:lnTo>
                  <a:lnTo>
                    <a:pt x="28" y="312"/>
                  </a:lnTo>
                  <a:lnTo>
                    <a:pt x="28" y="306"/>
                  </a:lnTo>
                  <a:lnTo>
                    <a:pt x="34" y="306"/>
                  </a:lnTo>
                  <a:lnTo>
                    <a:pt x="28" y="300"/>
                  </a:lnTo>
                  <a:lnTo>
                    <a:pt x="28" y="295"/>
                  </a:lnTo>
                  <a:lnTo>
                    <a:pt x="28" y="289"/>
                  </a:lnTo>
                  <a:lnTo>
                    <a:pt x="28" y="283"/>
                  </a:lnTo>
                  <a:lnTo>
                    <a:pt x="28" y="278"/>
                  </a:lnTo>
                  <a:lnTo>
                    <a:pt x="23" y="266"/>
                  </a:lnTo>
                  <a:lnTo>
                    <a:pt x="17" y="261"/>
                  </a:lnTo>
                  <a:lnTo>
                    <a:pt x="17" y="255"/>
                  </a:lnTo>
                  <a:lnTo>
                    <a:pt x="11" y="249"/>
                  </a:lnTo>
                  <a:lnTo>
                    <a:pt x="0" y="227"/>
                  </a:lnTo>
                  <a:lnTo>
                    <a:pt x="0" y="221"/>
                  </a:lnTo>
                  <a:lnTo>
                    <a:pt x="11" y="221"/>
                  </a:lnTo>
                  <a:lnTo>
                    <a:pt x="17" y="221"/>
                  </a:lnTo>
                  <a:lnTo>
                    <a:pt x="23" y="221"/>
                  </a:lnTo>
                  <a:lnTo>
                    <a:pt x="28" y="221"/>
                  </a:lnTo>
                  <a:lnTo>
                    <a:pt x="34" y="227"/>
                  </a:lnTo>
                  <a:lnTo>
                    <a:pt x="51" y="238"/>
                  </a:lnTo>
                  <a:lnTo>
                    <a:pt x="51" y="244"/>
                  </a:lnTo>
                  <a:lnTo>
                    <a:pt x="57" y="244"/>
                  </a:lnTo>
                  <a:lnTo>
                    <a:pt x="62" y="244"/>
                  </a:lnTo>
                  <a:lnTo>
                    <a:pt x="68" y="249"/>
                  </a:lnTo>
                  <a:lnTo>
                    <a:pt x="79" y="249"/>
                  </a:lnTo>
                  <a:lnTo>
                    <a:pt x="85" y="255"/>
                  </a:lnTo>
                  <a:lnTo>
                    <a:pt x="91" y="255"/>
                  </a:lnTo>
                  <a:lnTo>
                    <a:pt x="96" y="261"/>
                  </a:lnTo>
                  <a:lnTo>
                    <a:pt x="102" y="261"/>
                  </a:lnTo>
                  <a:lnTo>
                    <a:pt x="108" y="266"/>
                  </a:lnTo>
                  <a:lnTo>
                    <a:pt x="113" y="266"/>
                  </a:lnTo>
                  <a:lnTo>
                    <a:pt x="119" y="266"/>
                  </a:lnTo>
                  <a:lnTo>
                    <a:pt x="125" y="266"/>
                  </a:lnTo>
                  <a:lnTo>
                    <a:pt x="125" y="261"/>
                  </a:lnTo>
                  <a:lnTo>
                    <a:pt x="136" y="261"/>
                  </a:lnTo>
                  <a:lnTo>
                    <a:pt x="147" y="255"/>
                  </a:lnTo>
                  <a:lnTo>
                    <a:pt x="153" y="249"/>
                  </a:lnTo>
                  <a:lnTo>
                    <a:pt x="159" y="249"/>
                  </a:lnTo>
                  <a:lnTo>
                    <a:pt x="164" y="249"/>
                  </a:lnTo>
                  <a:lnTo>
                    <a:pt x="164" y="244"/>
                  </a:lnTo>
                  <a:lnTo>
                    <a:pt x="170" y="238"/>
                  </a:lnTo>
                  <a:lnTo>
                    <a:pt x="176" y="238"/>
                  </a:lnTo>
                  <a:lnTo>
                    <a:pt x="187" y="232"/>
                  </a:lnTo>
                  <a:lnTo>
                    <a:pt x="187" y="227"/>
                  </a:lnTo>
                  <a:lnTo>
                    <a:pt x="193" y="227"/>
                  </a:lnTo>
                  <a:lnTo>
                    <a:pt x="193" y="221"/>
                  </a:lnTo>
                  <a:lnTo>
                    <a:pt x="193" y="215"/>
                  </a:lnTo>
                  <a:lnTo>
                    <a:pt x="198" y="215"/>
                  </a:lnTo>
                  <a:lnTo>
                    <a:pt x="204" y="210"/>
                  </a:lnTo>
                  <a:lnTo>
                    <a:pt x="210" y="215"/>
                  </a:lnTo>
                  <a:lnTo>
                    <a:pt x="215" y="221"/>
                  </a:lnTo>
                  <a:lnTo>
                    <a:pt x="221" y="227"/>
                  </a:lnTo>
                  <a:lnTo>
                    <a:pt x="227" y="232"/>
                  </a:lnTo>
                  <a:lnTo>
                    <a:pt x="232" y="232"/>
                  </a:lnTo>
                  <a:lnTo>
                    <a:pt x="238" y="227"/>
                  </a:lnTo>
                  <a:lnTo>
                    <a:pt x="244" y="227"/>
                  </a:lnTo>
                  <a:lnTo>
                    <a:pt x="244" y="221"/>
                  </a:lnTo>
                  <a:lnTo>
                    <a:pt x="249" y="221"/>
                  </a:lnTo>
                  <a:lnTo>
                    <a:pt x="255" y="215"/>
                  </a:lnTo>
                  <a:lnTo>
                    <a:pt x="261" y="215"/>
                  </a:lnTo>
                  <a:lnTo>
                    <a:pt x="266" y="221"/>
                  </a:lnTo>
                  <a:lnTo>
                    <a:pt x="272" y="221"/>
                  </a:lnTo>
                  <a:lnTo>
                    <a:pt x="278" y="221"/>
                  </a:lnTo>
                  <a:lnTo>
                    <a:pt x="278" y="215"/>
                  </a:lnTo>
                  <a:lnTo>
                    <a:pt x="289" y="210"/>
                  </a:lnTo>
                  <a:lnTo>
                    <a:pt x="289" y="204"/>
                  </a:lnTo>
                  <a:lnTo>
                    <a:pt x="289" y="198"/>
                  </a:lnTo>
                  <a:lnTo>
                    <a:pt x="289" y="192"/>
                  </a:lnTo>
                  <a:lnTo>
                    <a:pt x="289" y="187"/>
                  </a:lnTo>
                  <a:lnTo>
                    <a:pt x="295" y="181"/>
                  </a:lnTo>
                  <a:lnTo>
                    <a:pt x="300" y="181"/>
                  </a:lnTo>
                  <a:lnTo>
                    <a:pt x="306" y="181"/>
                  </a:lnTo>
                  <a:lnTo>
                    <a:pt x="312" y="187"/>
                  </a:lnTo>
                  <a:lnTo>
                    <a:pt x="317" y="181"/>
                  </a:lnTo>
                  <a:lnTo>
                    <a:pt x="317" y="170"/>
                  </a:lnTo>
                  <a:lnTo>
                    <a:pt x="329" y="170"/>
                  </a:lnTo>
                  <a:lnTo>
                    <a:pt x="334" y="164"/>
                  </a:lnTo>
                  <a:lnTo>
                    <a:pt x="346" y="164"/>
                  </a:lnTo>
                  <a:lnTo>
                    <a:pt x="357" y="164"/>
                  </a:lnTo>
                  <a:lnTo>
                    <a:pt x="363" y="164"/>
                  </a:lnTo>
                  <a:lnTo>
                    <a:pt x="368" y="164"/>
                  </a:lnTo>
                  <a:lnTo>
                    <a:pt x="380" y="164"/>
                  </a:lnTo>
                  <a:lnTo>
                    <a:pt x="385" y="158"/>
                  </a:lnTo>
                  <a:lnTo>
                    <a:pt x="385" y="153"/>
                  </a:lnTo>
                  <a:lnTo>
                    <a:pt x="397" y="153"/>
                  </a:lnTo>
                  <a:lnTo>
                    <a:pt x="402" y="147"/>
                  </a:lnTo>
                  <a:lnTo>
                    <a:pt x="402" y="141"/>
                  </a:lnTo>
                  <a:lnTo>
                    <a:pt x="397" y="136"/>
                  </a:lnTo>
                  <a:lnTo>
                    <a:pt x="397" y="124"/>
                  </a:lnTo>
                  <a:lnTo>
                    <a:pt x="402" y="113"/>
                  </a:lnTo>
                  <a:lnTo>
                    <a:pt x="408" y="113"/>
                  </a:lnTo>
                  <a:lnTo>
                    <a:pt x="414" y="107"/>
                  </a:lnTo>
                  <a:lnTo>
                    <a:pt x="414" y="96"/>
                  </a:lnTo>
                  <a:lnTo>
                    <a:pt x="408" y="85"/>
                  </a:lnTo>
                  <a:lnTo>
                    <a:pt x="408" y="73"/>
                  </a:lnTo>
                  <a:lnTo>
                    <a:pt x="414" y="68"/>
                  </a:lnTo>
                  <a:lnTo>
                    <a:pt x="425" y="56"/>
                  </a:lnTo>
                  <a:lnTo>
                    <a:pt x="431" y="51"/>
                  </a:lnTo>
                  <a:lnTo>
                    <a:pt x="431" y="45"/>
                  </a:lnTo>
                  <a:lnTo>
                    <a:pt x="431" y="34"/>
                  </a:lnTo>
                  <a:lnTo>
                    <a:pt x="431" y="28"/>
                  </a:lnTo>
                  <a:lnTo>
                    <a:pt x="431" y="17"/>
                  </a:lnTo>
                  <a:lnTo>
                    <a:pt x="436" y="11"/>
                  </a:lnTo>
                  <a:lnTo>
                    <a:pt x="442" y="0"/>
                  </a:lnTo>
                  <a:lnTo>
                    <a:pt x="448" y="0"/>
                  </a:lnTo>
                  <a:lnTo>
                    <a:pt x="459" y="5"/>
                  </a:lnTo>
                  <a:lnTo>
                    <a:pt x="470" y="22"/>
                  </a:lnTo>
                  <a:lnTo>
                    <a:pt x="470" y="28"/>
                  </a:lnTo>
                  <a:lnTo>
                    <a:pt x="470" y="39"/>
                  </a:lnTo>
                  <a:lnTo>
                    <a:pt x="465" y="39"/>
                  </a:lnTo>
                  <a:lnTo>
                    <a:pt x="465" y="45"/>
                  </a:lnTo>
                  <a:lnTo>
                    <a:pt x="465" y="51"/>
                  </a:lnTo>
                  <a:lnTo>
                    <a:pt x="459" y="56"/>
                  </a:lnTo>
                  <a:lnTo>
                    <a:pt x="459" y="62"/>
                  </a:lnTo>
                  <a:lnTo>
                    <a:pt x="459" y="73"/>
                  </a:lnTo>
                  <a:lnTo>
                    <a:pt x="453" y="79"/>
                  </a:lnTo>
                  <a:lnTo>
                    <a:pt x="453" y="85"/>
                  </a:lnTo>
                  <a:lnTo>
                    <a:pt x="453" y="90"/>
                  </a:lnTo>
                  <a:lnTo>
                    <a:pt x="448" y="96"/>
                  </a:lnTo>
                  <a:lnTo>
                    <a:pt x="448" y="102"/>
                  </a:lnTo>
                  <a:lnTo>
                    <a:pt x="448" y="107"/>
                  </a:lnTo>
                  <a:lnTo>
                    <a:pt x="459" y="107"/>
                  </a:lnTo>
                  <a:lnTo>
                    <a:pt x="470" y="107"/>
                  </a:lnTo>
                  <a:lnTo>
                    <a:pt x="482" y="107"/>
                  </a:lnTo>
                  <a:lnTo>
                    <a:pt x="487" y="107"/>
                  </a:lnTo>
                  <a:lnTo>
                    <a:pt x="493" y="107"/>
                  </a:lnTo>
                  <a:lnTo>
                    <a:pt x="499" y="107"/>
                  </a:lnTo>
                  <a:lnTo>
                    <a:pt x="499" y="113"/>
                  </a:lnTo>
                  <a:lnTo>
                    <a:pt x="493" y="113"/>
                  </a:lnTo>
                  <a:lnTo>
                    <a:pt x="487" y="124"/>
                  </a:lnTo>
                  <a:lnTo>
                    <a:pt x="487" y="136"/>
                  </a:lnTo>
                  <a:lnTo>
                    <a:pt x="487" y="141"/>
                  </a:lnTo>
                  <a:lnTo>
                    <a:pt x="487" y="147"/>
                  </a:lnTo>
                  <a:lnTo>
                    <a:pt x="487" y="153"/>
                  </a:lnTo>
                  <a:lnTo>
                    <a:pt x="482" y="153"/>
                  </a:lnTo>
                  <a:lnTo>
                    <a:pt x="482" y="158"/>
                  </a:lnTo>
                  <a:lnTo>
                    <a:pt x="482" y="164"/>
                  </a:lnTo>
                  <a:lnTo>
                    <a:pt x="487" y="164"/>
                  </a:lnTo>
                  <a:lnTo>
                    <a:pt x="493" y="170"/>
                  </a:lnTo>
                  <a:lnTo>
                    <a:pt x="499" y="170"/>
                  </a:lnTo>
                  <a:lnTo>
                    <a:pt x="499" y="175"/>
                  </a:lnTo>
                  <a:lnTo>
                    <a:pt x="499" y="181"/>
                  </a:lnTo>
                  <a:lnTo>
                    <a:pt x="504" y="181"/>
                  </a:lnTo>
                  <a:lnTo>
                    <a:pt x="510" y="181"/>
                  </a:lnTo>
                  <a:lnTo>
                    <a:pt x="510" y="192"/>
                  </a:lnTo>
                  <a:lnTo>
                    <a:pt x="516" y="192"/>
                  </a:lnTo>
                  <a:lnTo>
                    <a:pt x="516" y="198"/>
                  </a:lnTo>
                  <a:lnTo>
                    <a:pt x="521" y="198"/>
                  </a:lnTo>
                  <a:lnTo>
                    <a:pt x="527" y="198"/>
                  </a:lnTo>
                  <a:lnTo>
                    <a:pt x="533" y="198"/>
                  </a:lnTo>
                  <a:lnTo>
                    <a:pt x="544" y="198"/>
                  </a:lnTo>
                  <a:lnTo>
                    <a:pt x="550" y="198"/>
                  </a:lnTo>
                  <a:lnTo>
                    <a:pt x="561" y="198"/>
                  </a:lnTo>
                  <a:lnTo>
                    <a:pt x="567" y="198"/>
                  </a:lnTo>
                  <a:lnTo>
                    <a:pt x="572" y="198"/>
                  </a:lnTo>
                  <a:lnTo>
                    <a:pt x="578" y="198"/>
                  </a:lnTo>
                  <a:lnTo>
                    <a:pt x="584" y="198"/>
                  </a:lnTo>
                  <a:lnTo>
                    <a:pt x="595" y="198"/>
                  </a:lnTo>
                  <a:lnTo>
                    <a:pt x="601" y="198"/>
                  </a:lnTo>
                  <a:lnTo>
                    <a:pt x="606" y="198"/>
                  </a:lnTo>
                  <a:lnTo>
                    <a:pt x="612" y="198"/>
                  </a:lnTo>
                  <a:lnTo>
                    <a:pt x="618" y="204"/>
                  </a:lnTo>
                  <a:lnTo>
                    <a:pt x="623" y="204"/>
                  </a:lnTo>
                  <a:lnTo>
                    <a:pt x="623" y="198"/>
                  </a:lnTo>
                  <a:lnTo>
                    <a:pt x="629" y="204"/>
                  </a:lnTo>
                  <a:lnTo>
                    <a:pt x="635" y="204"/>
                  </a:lnTo>
                  <a:lnTo>
                    <a:pt x="635" y="198"/>
                  </a:lnTo>
                  <a:lnTo>
                    <a:pt x="640" y="198"/>
                  </a:lnTo>
                  <a:lnTo>
                    <a:pt x="640" y="204"/>
                  </a:lnTo>
                  <a:lnTo>
                    <a:pt x="646" y="204"/>
                  </a:lnTo>
                  <a:lnTo>
                    <a:pt x="657" y="210"/>
                  </a:lnTo>
                  <a:lnTo>
                    <a:pt x="663" y="210"/>
                  </a:lnTo>
                  <a:lnTo>
                    <a:pt x="669" y="204"/>
                  </a:lnTo>
                  <a:lnTo>
                    <a:pt x="674" y="210"/>
                  </a:lnTo>
                  <a:lnTo>
                    <a:pt x="674" y="221"/>
                  </a:lnTo>
                  <a:lnTo>
                    <a:pt x="674" y="244"/>
                  </a:lnTo>
                  <a:lnTo>
                    <a:pt x="674" y="249"/>
                  </a:lnTo>
                  <a:lnTo>
                    <a:pt x="674" y="255"/>
                  </a:lnTo>
                  <a:lnTo>
                    <a:pt x="674" y="261"/>
                  </a:lnTo>
                  <a:lnTo>
                    <a:pt x="669" y="261"/>
                  </a:lnTo>
                  <a:lnTo>
                    <a:pt x="669" y="266"/>
                  </a:lnTo>
                  <a:lnTo>
                    <a:pt x="669" y="272"/>
                  </a:lnTo>
                  <a:lnTo>
                    <a:pt x="663" y="272"/>
                  </a:lnTo>
                  <a:lnTo>
                    <a:pt x="663" y="278"/>
                  </a:lnTo>
                  <a:lnTo>
                    <a:pt x="652" y="278"/>
                  </a:lnTo>
                  <a:lnTo>
                    <a:pt x="646" y="278"/>
                  </a:lnTo>
                  <a:lnTo>
                    <a:pt x="640" y="283"/>
                  </a:lnTo>
                  <a:lnTo>
                    <a:pt x="640" y="289"/>
                  </a:lnTo>
                  <a:lnTo>
                    <a:pt x="640" y="295"/>
                  </a:lnTo>
                  <a:lnTo>
                    <a:pt x="640" y="300"/>
                  </a:lnTo>
                  <a:lnTo>
                    <a:pt x="635" y="306"/>
                  </a:lnTo>
                  <a:lnTo>
                    <a:pt x="640" y="312"/>
                  </a:lnTo>
                  <a:lnTo>
                    <a:pt x="640" y="317"/>
                  </a:lnTo>
                  <a:lnTo>
                    <a:pt x="646" y="317"/>
                  </a:lnTo>
                  <a:lnTo>
                    <a:pt x="652" y="323"/>
                  </a:lnTo>
                  <a:lnTo>
                    <a:pt x="657" y="323"/>
                  </a:lnTo>
                  <a:lnTo>
                    <a:pt x="663" y="323"/>
                  </a:lnTo>
                  <a:lnTo>
                    <a:pt x="669" y="323"/>
                  </a:lnTo>
                  <a:lnTo>
                    <a:pt x="674" y="323"/>
                  </a:lnTo>
                  <a:lnTo>
                    <a:pt x="680" y="323"/>
                  </a:lnTo>
                  <a:lnTo>
                    <a:pt x="686" y="323"/>
                  </a:lnTo>
                  <a:lnTo>
                    <a:pt x="691" y="323"/>
                  </a:lnTo>
                  <a:lnTo>
                    <a:pt x="697" y="317"/>
                  </a:lnTo>
                  <a:lnTo>
                    <a:pt x="708" y="323"/>
                  </a:lnTo>
                  <a:lnTo>
                    <a:pt x="720" y="323"/>
                  </a:lnTo>
                  <a:lnTo>
                    <a:pt x="726" y="323"/>
                  </a:lnTo>
                  <a:lnTo>
                    <a:pt x="731" y="323"/>
                  </a:lnTo>
                  <a:lnTo>
                    <a:pt x="737" y="323"/>
                  </a:lnTo>
                  <a:lnTo>
                    <a:pt x="743" y="323"/>
                  </a:lnTo>
                  <a:lnTo>
                    <a:pt x="748" y="329"/>
                  </a:lnTo>
                  <a:lnTo>
                    <a:pt x="754" y="329"/>
                  </a:lnTo>
                  <a:lnTo>
                    <a:pt x="760" y="329"/>
                  </a:lnTo>
                  <a:lnTo>
                    <a:pt x="760" y="334"/>
                  </a:lnTo>
                  <a:lnTo>
                    <a:pt x="765" y="334"/>
                  </a:lnTo>
                  <a:lnTo>
                    <a:pt x="765" y="340"/>
                  </a:lnTo>
                  <a:lnTo>
                    <a:pt x="765" y="346"/>
                  </a:lnTo>
                  <a:lnTo>
                    <a:pt x="777" y="351"/>
                  </a:lnTo>
                  <a:lnTo>
                    <a:pt x="777" y="363"/>
                  </a:lnTo>
                  <a:lnTo>
                    <a:pt x="777" y="368"/>
                  </a:lnTo>
                  <a:lnTo>
                    <a:pt x="777" y="374"/>
                  </a:lnTo>
                  <a:lnTo>
                    <a:pt x="777" y="380"/>
                  </a:lnTo>
                  <a:lnTo>
                    <a:pt x="777" y="385"/>
                  </a:lnTo>
                  <a:lnTo>
                    <a:pt x="777" y="391"/>
                  </a:lnTo>
                  <a:lnTo>
                    <a:pt x="777" y="397"/>
                  </a:lnTo>
                  <a:lnTo>
                    <a:pt x="777" y="402"/>
                  </a:lnTo>
                  <a:lnTo>
                    <a:pt x="777" y="414"/>
                  </a:lnTo>
                  <a:lnTo>
                    <a:pt x="777" y="419"/>
                  </a:lnTo>
                  <a:lnTo>
                    <a:pt x="777" y="431"/>
                  </a:lnTo>
                  <a:lnTo>
                    <a:pt x="777" y="436"/>
                  </a:lnTo>
                  <a:lnTo>
                    <a:pt x="782" y="442"/>
                  </a:lnTo>
                  <a:lnTo>
                    <a:pt x="788" y="442"/>
                  </a:lnTo>
                  <a:lnTo>
                    <a:pt x="788" y="448"/>
                  </a:lnTo>
                  <a:close/>
                </a:path>
              </a:pathLst>
            </a:custGeom>
            <a:solidFill>
              <a:schemeClr val="bg1">
                <a:lumMod val="95000"/>
              </a:schemeClr>
            </a:solidFill>
            <a:ln w="25400">
              <a:solidFill>
                <a:srgbClr val="B4B4B4"/>
              </a:solidFill>
              <a:round/>
              <a:headEnd/>
              <a:tailEnd/>
            </a:ln>
          </p:spPr>
          <p:txBody>
            <a:bodyPr lIns="93296" tIns="46648" rIns="93296" bIns="46648"/>
            <a:lstStyle/>
            <a:p>
              <a:pPr>
                <a:defRPr/>
              </a:pPr>
              <a:endParaRPr lang="en-US" sz="1000" kern="0">
                <a:solidFill>
                  <a:prstClr val="black">
                    <a:lumMod val="65000"/>
                    <a:lumOff val="35000"/>
                  </a:prstClr>
                </a:solidFill>
              </a:endParaRPr>
            </a:p>
          </p:txBody>
        </p:sp>
        <p:sp>
          <p:nvSpPr>
            <p:cNvPr id="28" name="Freeform 27"/>
            <p:cNvSpPr>
              <a:spLocks/>
            </p:cNvSpPr>
            <p:nvPr/>
          </p:nvSpPr>
          <p:spPr bwMode="gray">
            <a:xfrm>
              <a:off x="3420782" y="2709378"/>
              <a:ext cx="1359683" cy="1451387"/>
            </a:xfrm>
            <a:custGeom>
              <a:avLst/>
              <a:gdLst>
                <a:gd name="T0" fmla="*/ 2147483647 w 969"/>
                <a:gd name="T1" fmla="*/ 2147483647 h 1088"/>
                <a:gd name="T2" fmla="*/ 2147483647 w 969"/>
                <a:gd name="T3" fmla="*/ 2147483647 h 1088"/>
                <a:gd name="T4" fmla="*/ 2147483647 w 969"/>
                <a:gd name="T5" fmla="*/ 2147483647 h 1088"/>
                <a:gd name="T6" fmla="*/ 2147483647 w 969"/>
                <a:gd name="T7" fmla="*/ 2147483647 h 1088"/>
                <a:gd name="T8" fmla="*/ 2147483647 w 969"/>
                <a:gd name="T9" fmla="*/ 2147483647 h 1088"/>
                <a:gd name="T10" fmla="*/ 2147483647 w 969"/>
                <a:gd name="T11" fmla="*/ 2147483647 h 1088"/>
                <a:gd name="T12" fmla="*/ 2147483647 w 969"/>
                <a:gd name="T13" fmla="*/ 2147483647 h 1088"/>
                <a:gd name="T14" fmla="*/ 0 w 969"/>
                <a:gd name="T15" fmla="*/ 2147483647 h 1088"/>
                <a:gd name="T16" fmla="*/ 2147483647 w 969"/>
                <a:gd name="T17" fmla="*/ 2147483647 h 1088"/>
                <a:gd name="T18" fmla="*/ 2147483647 w 969"/>
                <a:gd name="T19" fmla="*/ 2147483647 h 1088"/>
                <a:gd name="T20" fmla="*/ 2147483647 w 969"/>
                <a:gd name="T21" fmla="*/ 2147483647 h 1088"/>
                <a:gd name="T22" fmla="*/ 2147483647 w 969"/>
                <a:gd name="T23" fmla="*/ 2147483647 h 1088"/>
                <a:gd name="T24" fmla="*/ 2147483647 w 969"/>
                <a:gd name="T25" fmla="*/ 2147483647 h 1088"/>
                <a:gd name="T26" fmla="*/ 2147483647 w 969"/>
                <a:gd name="T27" fmla="*/ 2147483647 h 1088"/>
                <a:gd name="T28" fmla="*/ 2147483647 w 969"/>
                <a:gd name="T29" fmla="*/ 2147483647 h 1088"/>
                <a:gd name="T30" fmla="*/ 2147483647 w 969"/>
                <a:gd name="T31" fmla="*/ 2147483647 h 1088"/>
                <a:gd name="T32" fmla="*/ 2147483647 w 969"/>
                <a:gd name="T33" fmla="*/ 2147483647 h 1088"/>
                <a:gd name="T34" fmla="*/ 2147483647 w 969"/>
                <a:gd name="T35" fmla="*/ 2147483647 h 1088"/>
                <a:gd name="T36" fmla="*/ 2147483647 w 969"/>
                <a:gd name="T37" fmla="*/ 2147483647 h 1088"/>
                <a:gd name="T38" fmla="*/ 2147483647 w 969"/>
                <a:gd name="T39" fmla="*/ 2147483647 h 1088"/>
                <a:gd name="T40" fmla="*/ 2147483647 w 969"/>
                <a:gd name="T41" fmla="*/ 2147483647 h 1088"/>
                <a:gd name="T42" fmla="*/ 2147483647 w 969"/>
                <a:gd name="T43" fmla="*/ 2147483647 h 1088"/>
                <a:gd name="T44" fmla="*/ 2147483647 w 969"/>
                <a:gd name="T45" fmla="*/ 2147483647 h 1088"/>
                <a:gd name="T46" fmla="*/ 2147483647 w 969"/>
                <a:gd name="T47" fmla="*/ 2147483647 h 1088"/>
                <a:gd name="T48" fmla="*/ 2147483647 w 969"/>
                <a:gd name="T49" fmla="*/ 2147483647 h 1088"/>
                <a:gd name="T50" fmla="*/ 2147483647 w 969"/>
                <a:gd name="T51" fmla="*/ 2147483647 h 1088"/>
                <a:gd name="T52" fmla="*/ 2147483647 w 969"/>
                <a:gd name="T53" fmla="*/ 2147483647 h 1088"/>
                <a:gd name="T54" fmla="*/ 2147483647 w 969"/>
                <a:gd name="T55" fmla="*/ 2147483647 h 1088"/>
                <a:gd name="T56" fmla="*/ 2147483647 w 969"/>
                <a:gd name="T57" fmla="*/ 2147483647 h 1088"/>
                <a:gd name="T58" fmla="*/ 2147483647 w 969"/>
                <a:gd name="T59" fmla="*/ 2147483647 h 1088"/>
                <a:gd name="T60" fmla="*/ 2147483647 w 969"/>
                <a:gd name="T61" fmla="*/ 2147483647 h 1088"/>
                <a:gd name="T62" fmla="*/ 2147483647 w 969"/>
                <a:gd name="T63" fmla="*/ 2147483647 h 1088"/>
                <a:gd name="T64" fmla="*/ 2147483647 w 969"/>
                <a:gd name="T65" fmla="*/ 2147483647 h 1088"/>
                <a:gd name="T66" fmla="*/ 2147483647 w 969"/>
                <a:gd name="T67" fmla="*/ 2147483647 h 1088"/>
                <a:gd name="T68" fmla="*/ 2147483647 w 969"/>
                <a:gd name="T69" fmla="*/ 2147483647 h 1088"/>
                <a:gd name="T70" fmla="*/ 2147483647 w 969"/>
                <a:gd name="T71" fmla="*/ 2147483647 h 1088"/>
                <a:gd name="T72" fmla="*/ 2147483647 w 969"/>
                <a:gd name="T73" fmla="*/ 2147483647 h 1088"/>
                <a:gd name="T74" fmla="*/ 2147483647 w 969"/>
                <a:gd name="T75" fmla="*/ 2147483647 h 1088"/>
                <a:gd name="T76" fmla="*/ 2147483647 w 969"/>
                <a:gd name="T77" fmla="*/ 2147483647 h 1088"/>
                <a:gd name="T78" fmla="*/ 2147483647 w 969"/>
                <a:gd name="T79" fmla="*/ 2147483647 h 1088"/>
                <a:gd name="T80" fmla="*/ 2147483647 w 969"/>
                <a:gd name="T81" fmla="*/ 2147483647 h 1088"/>
                <a:gd name="T82" fmla="*/ 2147483647 w 969"/>
                <a:gd name="T83" fmla="*/ 2147483647 h 1088"/>
                <a:gd name="T84" fmla="*/ 2147483647 w 969"/>
                <a:gd name="T85" fmla="*/ 2147483647 h 1088"/>
                <a:gd name="T86" fmla="*/ 2147483647 w 969"/>
                <a:gd name="T87" fmla="*/ 2147483647 h 1088"/>
                <a:gd name="T88" fmla="*/ 2147483647 w 969"/>
                <a:gd name="T89" fmla="*/ 2147483647 h 1088"/>
                <a:gd name="T90" fmla="*/ 2147483647 w 969"/>
                <a:gd name="T91" fmla="*/ 2147483647 h 1088"/>
                <a:gd name="T92" fmla="*/ 2147483647 w 969"/>
                <a:gd name="T93" fmla="*/ 2147483647 h 1088"/>
                <a:gd name="T94" fmla="*/ 2147483647 w 969"/>
                <a:gd name="T95" fmla="*/ 2147483647 h 1088"/>
                <a:gd name="T96" fmla="*/ 2147483647 w 969"/>
                <a:gd name="T97" fmla="*/ 2147483647 h 1088"/>
                <a:gd name="T98" fmla="*/ 2147483647 w 969"/>
                <a:gd name="T99" fmla="*/ 2147483647 h 1088"/>
                <a:gd name="T100" fmla="*/ 2147483647 w 969"/>
                <a:gd name="T101" fmla="*/ 2147483647 h 1088"/>
                <a:gd name="T102" fmla="*/ 2147483647 w 969"/>
                <a:gd name="T103" fmla="*/ 2147483647 h 1088"/>
                <a:gd name="T104" fmla="*/ 2147483647 w 969"/>
                <a:gd name="T105" fmla="*/ 2147483647 h 1088"/>
                <a:gd name="T106" fmla="*/ 2147483647 w 969"/>
                <a:gd name="T107" fmla="*/ 2147483647 h 1088"/>
                <a:gd name="T108" fmla="*/ 2147483647 w 969"/>
                <a:gd name="T109" fmla="*/ 2147483647 h 1088"/>
                <a:gd name="T110" fmla="*/ 2147483647 w 969"/>
                <a:gd name="T111" fmla="*/ 2147483647 h 1088"/>
                <a:gd name="T112" fmla="*/ 2147483647 w 969"/>
                <a:gd name="T113" fmla="*/ 2147483647 h 1088"/>
                <a:gd name="T114" fmla="*/ 2147483647 w 969"/>
                <a:gd name="T115" fmla="*/ 2147483647 h 1088"/>
                <a:gd name="T116" fmla="*/ 2147483647 w 969"/>
                <a:gd name="T117" fmla="*/ 2147483647 h 1088"/>
                <a:gd name="T118" fmla="*/ 2147483647 w 969"/>
                <a:gd name="T119" fmla="*/ 2147483647 h 108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69"/>
                <a:gd name="T181" fmla="*/ 0 h 1088"/>
                <a:gd name="T182" fmla="*/ 969 w 969"/>
                <a:gd name="T183" fmla="*/ 1088 h 108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69" h="1088">
                  <a:moveTo>
                    <a:pt x="181" y="1083"/>
                  </a:moveTo>
                  <a:lnTo>
                    <a:pt x="181" y="1077"/>
                  </a:lnTo>
                  <a:lnTo>
                    <a:pt x="187" y="1066"/>
                  </a:lnTo>
                  <a:lnTo>
                    <a:pt x="187" y="1054"/>
                  </a:lnTo>
                  <a:lnTo>
                    <a:pt x="193" y="1037"/>
                  </a:lnTo>
                  <a:lnTo>
                    <a:pt x="193" y="1032"/>
                  </a:lnTo>
                  <a:lnTo>
                    <a:pt x="193" y="1009"/>
                  </a:lnTo>
                  <a:lnTo>
                    <a:pt x="193" y="1003"/>
                  </a:lnTo>
                  <a:lnTo>
                    <a:pt x="193" y="998"/>
                  </a:lnTo>
                  <a:lnTo>
                    <a:pt x="187" y="992"/>
                  </a:lnTo>
                  <a:lnTo>
                    <a:pt x="187" y="986"/>
                  </a:lnTo>
                  <a:lnTo>
                    <a:pt x="187" y="964"/>
                  </a:lnTo>
                  <a:lnTo>
                    <a:pt x="187" y="952"/>
                  </a:lnTo>
                  <a:lnTo>
                    <a:pt x="193" y="952"/>
                  </a:lnTo>
                  <a:lnTo>
                    <a:pt x="193" y="947"/>
                  </a:lnTo>
                  <a:lnTo>
                    <a:pt x="198" y="941"/>
                  </a:lnTo>
                  <a:lnTo>
                    <a:pt x="198" y="935"/>
                  </a:lnTo>
                  <a:lnTo>
                    <a:pt x="204" y="935"/>
                  </a:lnTo>
                  <a:lnTo>
                    <a:pt x="204" y="930"/>
                  </a:lnTo>
                  <a:lnTo>
                    <a:pt x="210" y="924"/>
                  </a:lnTo>
                  <a:lnTo>
                    <a:pt x="210" y="918"/>
                  </a:lnTo>
                  <a:lnTo>
                    <a:pt x="210" y="913"/>
                  </a:lnTo>
                  <a:lnTo>
                    <a:pt x="210" y="907"/>
                  </a:lnTo>
                  <a:lnTo>
                    <a:pt x="215" y="907"/>
                  </a:lnTo>
                  <a:lnTo>
                    <a:pt x="215" y="896"/>
                  </a:lnTo>
                  <a:lnTo>
                    <a:pt x="215" y="890"/>
                  </a:lnTo>
                  <a:lnTo>
                    <a:pt x="221" y="884"/>
                  </a:lnTo>
                  <a:lnTo>
                    <a:pt x="227" y="884"/>
                  </a:lnTo>
                  <a:lnTo>
                    <a:pt x="227" y="879"/>
                  </a:lnTo>
                  <a:lnTo>
                    <a:pt x="232" y="879"/>
                  </a:lnTo>
                  <a:lnTo>
                    <a:pt x="238" y="873"/>
                  </a:lnTo>
                  <a:lnTo>
                    <a:pt x="244" y="873"/>
                  </a:lnTo>
                  <a:lnTo>
                    <a:pt x="244" y="867"/>
                  </a:lnTo>
                  <a:lnTo>
                    <a:pt x="249" y="867"/>
                  </a:lnTo>
                  <a:lnTo>
                    <a:pt x="255" y="867"/>
                  </a:lnTo>
                  <a:lnTo>
                    <a:pt x="255" y="862"/>
                  </a:lnTo>
                  <a:lnTo>
                    <a:pt x="261" y="862"/>
                  </a:lnTo>
                  <a:lnTo>
                    <a:pt x="261" y="856"/>
                  </a:lnTo>
                  <a:lnTo>
                    <a:pt x="266" y="850"/>
                  </a:lnTo>
                  <a:lnTo>
                    <a:pt x="266" y="828"/>
                  </a:lnTo>
                  <a:lnTo>
                    <a:pt x="272" y="799"/>
                  </a:lnTo>
                  <a:lnTo>
                    <a:pt x="272" y="788"/>
                  </a:lnTo>
                  <a:lnTo>
                    <a:pt x="272" y="777"/>
                  </a:lnTo>
                  <a:lnTo>
                    <a:pt x="272" y="765"/>
                  </a:lnTo>
                  <a:lnTo>
                    <a:pt x="272" y="760"/>
                  </a:lnTo>
                  <a:lnTo>
                    <a:pt x="272" y="754"/>
                  </a:lnTo>
                  <a:lnTo>
                    <a:pt x="272" y="748"/>
                  </a:lnTo>
                  <a:lnTo>
                    <a:pt x="272" y="743"/>
                  </a:lnTo>
                  <a:lnTo>
                    <a:pt x="272" y="731"/>
                  </a:lnTo>
                  <a:lnTo>
                    <a:pt x="272" y="726"/>
                  </a:lnTo>
                  <a:lnTo>
                    <a:pt x="266" y="726"/>
                  </a:lnTo>
                  <a:lnTo>
                    <a:pt x="261" y="714"/>
                  </a:lnTo>
                  <a:lnTo>
                    <a:pt x="255" y="703"/>
                  </a:lnTo>
                  <a:lnTo>
                    <a:pt x="249" y="703"/>
                  </a:lnTo>
                  <a:lnTo>
                    <a:pt x="244" y="697"/>
                  </a:lnTo>
                  <a:lnTo>
                    <a:pt x="244" y="692"/>
                  </a:lnTo>
                  <a:lnTo>
                    <a:pt x="238" y="686"/>
                  </a:lnTo>
                  <a:lnTo>
                    <a:pt x="238" y="680"/>
                  </a:lnTo>
                  <a:lnTo>
                    <a:pt x="227" y="675"/>
                  </a:lnTo>
                  <a:lnTo>
                    <a:pt x="215" y="669"/>
                  </a:lnTo>
                  <a:lnTo>
                    <a:pt x="215" y="663"/>
                  </a:lnTo>
                  <a:lnTo>
                    <a:pt x="210" y="658"/>
                  </a:lnTo>
                  <a:lnTo>
                    <a:pt x="204" y="652"/>
                  </a:lnTo>
                  <a:lnTo>
                    <a:pt x="198" y="646"/>
                  </a:lnTo>
                  <a:lnTo>
                    <a:pt x="193" y="646"/>
                  </a:lnTo>
                  <a:lnTo>
                    <a:pt x="187" y="641"/>
                  </a:lnTo>
                  <a:lnTo>
                    <a:pt x="187" y="635"/>
                  </a:lnTo>
                  <a:lnTo>
                    <a:pt x="181" y="635"/>
                  </a:lnTo>
                  <a:lnTo>
                    <a:pt x="181" y="629"/>
                  </a:lnTo>
                  <a:lnTo>
                    <a:pt x="176" y="629"/>
                  </a:lnTo>
                  <a:lnTo>
                    <a:pt x="170" y="629"/>
                  </a:lnTo>
                  <a:lnTo>
                    <a:pt x="170" y="623"/>
                  </a:lnTo>
                  <a:lnTo>
                    <a:pt x="170" y="618"/>
                  </a:lnTo>
                  <a:lnTo>
                    <a:pt x="164" y="618"/>
                  </a:lnTo>
                  <a:lnTo>
                    <a:pt x="159" y="618"/>
                  </a:lnTo>
                  <a:lnTo>
                    <a:pt x="153" y="618"/>
                  </a:lnTo>
                  <a:lnTo>
                    <a:pt x="147" y="612"/>
                  </a:lnTo>
                  <a:lnTo>
                    <a:pt x="142" y="612"/>
                  </a:lnTo>
                  <a:lnTo>
                    <a:pt x="136" y="606"/>
                  </a:lnTo>
                  <a:lnTo>
                    <a:pt x="119" y="606"/>
                  </a:lnTo>
                  <a:lnTo>
                    <a:pt x="113" y="612"/>
                  </a:lnTo>
                  <a:lnTo>
                    <a:pt x="91" y="618"/>
                  </a:lnTo>
                  <a:lnTo>
                    <a:pt x="85" y="618"/>
                  </a:lnTo>
                  <a:lnTo>
                    <a:pt x="62" y="629"/>
                  </a:lnTo>
                  <a:lnTo>
                    <a:pt x="57" y="629"/>
                  </a:lnTo>
                  <a:lnTo>
                    <a:pt x="51" y="629"/>
                  </a:lnTo>
                  <a:lnTo>
                    <a:pt x="45" y="629"/>
                  </a:lnTo>
                  <a:lnTo>
                    <a:pt x="40" y="629"/>
                  </a:lnTo>
                  <a:lnTo>
                    <a:pt x="34" y="635"/>
                  </a:lnTo>
                  <a:lnTo>
                    <a:pt x="28" y="641"/>
                  </a:lnTo>
                  <a:lnTo>
                    <a:pt x="23" y="646"/>
                  </a:lnTo>
                  <a:lnTo>
                    <a:pt x="17" y="646"/>
                  </a:lnTo>
                  <a:lnTo>
                    <a:pt x="17" y="652"/>
                  </a:lnTo>
                  <a:lnTo>
                    <a:pt x="6" y="652"/>
                  </a:lnTo>
                  <a:lnTo>
                    <a:pt x="0" y="652"/>
                  </a:lnTo>
                  <a:lnTo>
                    <a:pt x="0" y="646"/>
                  </a:lnTo>
                  <a:lnTo>
                    <a:pt x="0" y="641"/>
                  </a:lnTo>
                  <a:lnTo>
                    <a:pt x="0" y="635"/>
                  </a:lnTo>
                  <a:lnTo>
                    <a:pt x="6" y="635"/>
                  </a:lnTo>
                  <a:lnTo>
                    <a:pt x="6" y="629"/>
                  </a:lnTo>
                  <a:lnTo>
                    <a:pt x="6" y="623"/>
                  </a:lnTo>
                  <a:lnTo>
                    <a:pt x="6" y="618"/>
                  </a:lnTo>
                  <a:lnTo>
                    <a:pt x="11" y="618"/>
                  </a:lnTo>
                  <a:lnTo>
                    <a:pt x="11" y="612"/>
                  </a:lnTo>
                  <a:lnTo>
                    <a:pt x="11" y="606"/>
                  </a:lnTo>
                  <a:lnTo>
                    <a:pt x="17" y="606"/>
                  </a:lnTo>
                  <a:lnTo>
                    <a:pt x="17" y="601"/>
                  </a:lnTo>
                  <a:lnTo>
                    <a:pt x="11" y="601"/>
                  </a:lnTo>
                  <a:lnTo>
                    <a:pt x="11" y="595"/>
                  </a:lnTo>
                  <a:lnTo>
                    <a:pt x="17" y="601"/>
                  </a:lnTo>
                  <a:lnTo>
                    <a:pt x="23" y="601"/>
                  </a:lnTo>
                  <a:lnTo>
                    <a:pt x="28" y="601"/>
                  </a:lnTo>
                  <a:lnTo>
                    <a:pt x="40" y="589"/>
                  </a:lnTo>
                  <a:lnTo>
                    <a:pt x="45" y="589"/>
                  </a:lnTo>
                  <a:lnTo>
                    <a:pt x="45" y="584"/>
                  </a:lnTo>
                  <a:lnTo>
                    <a:pt x="51" y="584"/>
                  </a:lnTo>
                  <a:lnTo>
                    <a:pt x="51" y="578"/>
                  </a:lnTo>
                  <a:lnTo>
                    <a:pt x="57" y="578"/>
                  </a:lnTo>
                  <a:lnTo>
                    <a:pt x="57" y="572"/>
                  </a:lnTo>
                  <a:lnTo>
                    <a:pt x="62" y="572"/>
                  </a:lnTo>
                  <a:lnTo>
                    <a:pt x="74" y="561"/>
                  </a:lnTo>
                  <a:lnTo>
                    <a:pt x="79" y="561"/>
                  </a:lnTo>
                  <a:lnTo>
                    <a:pt x="85" y="555"/>
                  </a:lnTo>
                  <a:lnTo>
                    <a:pt x="85" y="550"/>
                  </a:lnTo>
                  <a:lnTo>
                    <a:pt x="91" y="550"/>
                  </a:lnTo>
                  <a:lnTo>
                    <a:pt x="91" y="544"/>
                  </a:lnTo>
                  <a:lnTo>
                    <a:pt x="91" y="538"/>
                  </a:lnTo>
                  <a:lnTo>
                    <a:pt x="91" y="533"/>
                  </a:lnTo>
                  <a:lnTo>
                    <a:pt x="91" y="527"/>
                  </a:lnTo>
                  <a:lnTo>
                    <a:pt x="91" y="521"/>
                  </a:lnTo>
                  <a:lnTo>
                    <a:pt x="85" y="521"/>
                  </a:lnTo>
                  <a:lnTo>
                    <a:pt x="85" y="516"/>
                  </a:lnTo>
                  <a:lnTo>
                    <a:pt x="85" y="504"/>
                  </a:lnTo>
                  <a:lnTo>
                    <a:pt x="79" y="504"/>
                  </a:lnTo>
                  <a:lnTo>
                    <a:pt x="74" y="499"/>
                  </a:lnTo>
                  <a:lnTo>
                    <a:pt x="74" y="493"/>
                  </a:lnTo>
                  <a:lnTo>
                    <a:pt x="74" y="487"/>
                  </a:lnTo>
                  <a:lnTo>
                    <a:pt x="74" y="482"/>
                  </a:lnTo>
                  <a:lnTo>
                    <a:pt x="68" y="476"/>
                  </a:lnTo>
                  <a:lnTo>
                    <a:pt x="68" y="465"/>
                  </a:lnTo>
                  <a:lnTo>
                    <a:pt x="74" y="459"/>
                  </a:lnTo>
                  <a:lnTo>
                    <a:pt x="74" y="453"/>
                  </a:lnTo>
                  <a:lnTo>
                    <a:pt x="85" y="453"/>
                  </a:lnTo>
                  <a:lnTo>
                    <a:pt x="85" y="448"/>
                  </a:lnTo>
                  <a:lnTo>
                    <a:pt x="91" y="448"/>
                  </a:lnTo>
                  <a:lnTo>
                    <a:pt x="96" y="453"/>
                  </a:lnTo>
                  <a:lnTo>
                    <a:pt x="102" y="453"/>
                  </a:lnTo>
                  <a:lnTo>
                    <a:pt x="113" y="453"/>
                  </a:lnTo>
                  <a:lnTo>
                    <a:pt x="113" y="459"/>
                  </a:lnTo>
                  <a:lnTo>
                    <a:pt x="119" y="459"/>
                  </a:lnTo>
                  <a:lnTo>
                    <a:pt x="125" y="459"/>
                  </a:lnTo>
                  <a:lnTo>
                    <a:pt x="130" y="465"/>
                  </a:lnTo>
                  <a:lnTo>
                    <a:pt x="136" y="465"/>
                  </a:lnTo>
                  <a:lnTo>
                    <a:pt x="142" y="465"/>
                  </a:lnTo>
                  <a:lnTo>
                    <a:pt x="147" y="465"/>
                  </a:lnTo>
                  <a:lnTo>
                    <a:pt x="159" y="465"/>
                  </a:lnTo>
                  <a:lnTo>
                    <a:pt x="159" y="459"/>
                  </a:lnTo>
                  <a:lnTo>
                    <a:pt x="159" y="453"/>
                  </a:lnTo>
                  <a:lnTo>
                    <a:pt x="164" y="453"/>
                  </a:lnTo>
                  <a:lnTo>
                    <a:pt x="170" y="448"/>
                  </a:lnTo>
                  <a:lnTo>
                    <a:pt x="170" y="442"/>
                  </a:lnTo>
                  <a:lnTo>
                    <a:pt x="176" y="436"/>
                  </a:lnTo>
                  <a:lnTo>
                    <a:pt x="187" y="436"/>
                  </a:lnTo>
                  <a:lnTo>
                    <a:pt x="198" y="436"/>
                  </a:lnTo>
                  <a:lnTo>
                    <a:pt x="204" y="436"/>
                  </a:lnTo>
                  <a:lnTo>
                    <a:pt x="210" y="436"/>
                  </a:lnTo>
                  <a:lnTo>
                    <a:pt x="215" y="431"/>
                  </a:lnTo>
                  <a:lnTo>
                    <a:pt x="227" y="431"/>
                  </a:lnTo>
                  <a:lnTo>
                    <a:pt x="232" y="425"/>
                  </a:lnTo>
                  <a:lnTo>
                    <a:pt x="238" y="425"/>
                  </a:lnTo>
                  <a:lnTo>
                    <a:pt x="244" y="419"/>
                  </a:lnTo>
                  <a:lnTo>
                    <a:pt x="249" y="419"/>
                  </a:lnTo>
                  <a:lnTo>
                    <a:pt x="255" y="419"/>
                  </a:lnTo>
                  <a:lnTo>
                    <a:pt x="261" y="414"/>
                  </a:lnTo>
                  <a:lnTo>
                    <a:pt x="261" y="408"/>
                  </a:lnTo>
                  <a:lnTo>
                    <a:pt x="266" y="408"/>
                  </a:lnTo>
                  <a:lnTo>
                    <a:pt x="272" y="408"/>
                  </a:lnTo>
                  <a:lnTo>
                    <a:pt x="278" y="402"/>
                  </a:lnTo>
                  <a:lnTo>
                    <a:pt x="284" y="397"/>
                  </a:lnTo>
                  <a:lnTo>
                    <a:pt x="289" y="397"/>
                  </a:lnTo>
                  <a:lnTo>
                    <a:pt x="289" y="391"/>
                  </a:lnTo>
                  <a:lnTo>
                    <a:pt x="295" y="391"/>
                  </a:lnTo>
                  <a:lnTo>
                    <a:pt x="301" y="391"/>
                  </a:lnTo>
                  <a:lnTo>
                    <a:pt x="301" y="385"/>
                  </a:lnTo>
                  <a:lnTo>
                    <a:pt x="306" y="380"/>
                  </a:lnTo>
                  <a:lnTo>
                    <a:pt x="312" y="380"/>
                  </a:lnTo>
                  <a:lnTo>
                    <a:pt x="318" y="374"/>
                  </a:lnTo>
                  <a:lnTo>
                    <a:pt x="323" y="374"/>
                  </a:lnTo>
                  <a:lnTo>
                    <a:pt x="323" y="368"/>
                  </a:lnTo>
                  <a:lnTo>
                    <a:pt x="329" y="368"/>
                  </a:lnTo>
                  <a:lnTo>
                    <a:pt x="329" y="363"/>
                  </a:lnTo>
                  <a:lnTo>
                    <a:pt x="335" y="363"/>
                  </a:lnTo>
                  <a:lnTo>
                    <a:pt x="340" y="363"/>
                  </a:lnTo>
                  <a:lnTo>
                    <a:pt x="340" y="357"/>
                  </a:lnTo>
                  <a:lnTo>
                    <a:pt x="346" y="357"/>
                  </a:lnTo>
                  <a:lnTo>
                    <a:pt x="346" y="351"/>
                  </a:lnTo>
                  <a:lnTo>
                    <a:pt x="352" y="351"/>
                  </a:lnTo>
                  <a:lnTo>
                    <a:pt x="352" y="346"/>
                  </a:lnTo>
                  <a:lnTo>
                    <a:pt x="357" y="346"/>
                  </a:lnTo>
                  <a:lnTo>
                    <a:pt x="357" y="340"/>
                  </a:lnTo>
                  <a:lnTo>
                    <a:pt x="363" y="340"/>
                  </a:lnTo>
                  <a:lnTo>
                    <a:pt x="369" y="340"/>
                  </a:lnTo>
                  <a:lnTo>
                    <a:pt x="369" y="334"/>
                  </a:lnTo>
                  <a:lnTo>
                    <a:pt x="369" y="329"/>
                  </a:lnTo>
                  <a:lnTo>
                    <a:pt x="374" y="329"/>
                  </a:lnTo>
                  <a:lnTo>
                    <a:pt x="380" y="329"/>
                  </a:lnTo>
                  <a:lnTo>
                    <a:pt x="380" y="323"/>
                  </a:lnTo>
                  <a:lnTo>
                    <a:pt x="386" y="312"/>
                  </a:lnTo>
                  <a:lnTo>
                    <a:pt x="391" y="312"/>
                  </a:lnTo>
                  <a:lnTo>
                    <a:pt x="397" y="312"/>
                  </a:lnTo>
                  <a:lnTo>
                    <a:pt x="397" y="306"/>
                  </a:lnTo>
                  <a:lnTo>
                    <a:pt x="397" y="300"/>
                  </a:lnTo>
                  <a:lnTo>
                    <a:pt x="408" y="295"/>
                  </a:lnTo>
                  <a:lnTo>
                    <a:pt x="414" y="295"/>
                  </a:lnTo>
                  <a:lnTo>
                    <a:pt x="420" y="283"/>
                  </a:lnTo>
                  <a:lnTo>
                    <a:pt x="425" y="283"/>
                  </a:lnTo>
                  <a:lnTo>
                    <a:pt x="425" y="278"/>
                  </a:lnTo>
                  <a:lnTo>
                    <a:pt x="431" y="278"/>
                  </a:lnTo>
                  <a:lnTo>
                    <a:pt x="431" y="272"/>
                  </a:lnTo>
                  <a:lnTo>
                    <a:pt x="442" y="266"/>
                  </a:lnTo>
                  <a:lnTo>
                    <a:pt x="448" y="261"/>
                  </a:lnTo>
                  <a:lnTo>
                    <a:pt x="454" y="261"/>
                  </a:lnTo>
                  <a:lnTo>
                    <a:pt x="454" y="255"/>
                  </a:lnTo>
                  <a:lnTo>
                    <a:pt x="459" y="255"/>
                  </a:lnTo>
                  <a:lnTo>
                    <a:pt x="465" y="255"/>
                  </a:lnTo>
                  <a:lnTo>
                    <a:pt x="471" y="249"/>
                  </a:lnTo>
                  <a:lnTo>
                    <a:pt x="476" y="249"/>
                  </a:lnTo>
                  <a:lnTo>
                    <a:pt x="482" y="244"/>
                  </a:lnTo>
                  <a:lnTo>
                    <a:pt x="488" y="244"/>
                  </a:lnTo>
                  <a:lnTo>
                    <a:pt x="505" y="244"/>
                  </a:lnTo>
                  <a:lnTo>
                    <a:pt x="516" y="244"/>
                  </a:lnTo>
                  <a:lnTo>
                    <a:pt x="522" y="244"/>
                  </a:lnTo>
                  <a:lnTo>
                    <a:pt x="522" y="238"/>
                  </a:lnTo>
                  <a:lnTo>
                    <a:pt x="527" y="238"/>
                  </a:lnTo>
                  <a:lnTo>
                    <a:pt x="539" y="232"/>
                  </a:lnTo>
                  <a:lnTo>
                    <a:pt x="539" y="227"/>
                  </a:lnTo>
                  <a:lnTo>
                    <a:pt x="539" y="215"/>
                  </a:lnTo>
                  <a:lnTo>
                    <a:pt x="539" y="210"/>
                  </a:lnTo>
                  <a:lnTo>
                    <a:pt x="539" y="204"/>
                  </a:lnTo>
                  <a:lnTo>
                    <a:pt x="533" y="198"/>
                  </a:lnTo>
                  <a:lnTo>
                    <a:pt x="527" y="198"/>
                  </a:lnTo>
                  <a:lnTo>
                    <a:pt x="527" y="193"/>
                  </a:lnTo>
                  <a:lnTo>
                    <a:pt x="527" y="187"/>
                  </a:lnTo>
                  <a:lnTo>
                    <a:pt x="522" y="176"/>
                  </a:lnTo>
                  <a:lnTo>
                    <a:pt x="522" y="170"/>
                  </a:lnTo>
                  <a:lnTo>
                    <a:pt x="510" y="153"/>
                  </a:lnTo>
                  <a:lnTo>
                    <a:pt x="510" y="142"/>
                  </a:lnTo>
                  <a:lnTo>
                    <a:pt x="510" y="130"/>
                  </a:lnTo>
                  <a:lnTo>
                    <a:pt x="505" y="113"/>
                  </a:lnTo>
                  <a:lnTo>
                    <a:pt x="505" y="102"/>
                  </a:lnTo>
                  <a:lnTo>
                    <a:pt x="499" y="91"/>
                  </a:lnTo>
                  <a:lnTo>
                    <a:pt x="499" y="85"/>
                  </a:lnTo>
                  <a:lnTo>
                    <a:pt x="499" y="79"/>
                  </a:lnTo>
                  <a:lnTo>
                    <a:pt x="499" y="74"/>
                  </a:lnTo>
                  <a:lnTo>
                    <a:pt x="505" y="74"/>
                  </a:lnTo>
                  <a:lnTo>
                    <a:pt x="505" y="68"/>
                  </a:lnTo>
                  <a:lnTo>
                    <a:pt x="505" y="62"/>
                  </a:lnTo>
                  <a:lnTo>
                    <a:pt x="510" y="62"/>
                  </a:lnTo>
                  <a:lnTo>
                    <a:pt x="510" y="57"/>
                  </a:lnTo>
                  <a:lnTo>
                    <a:pt x="510" y="51"/>
                  </a:lnTo>
                  <a:lnTo>
                    <a:pt x="510" y="45"/>
                  </a:lnTo>
                  <a:lnTo>
                    <a:pt x="527" y="34"/>
                  </a:lnTo>
                  <a:lnTo>
                    <a:pt x="533" y="34"/>
                  </a:lnTo>
                  <a:lnTo>
                    <a:pt x="539" y="34"/>
                  </a:lnTo>
                  <a:lnTo>
                    <a:pt x="550" y="34"/>
                  </a:lnTo>
                  <a:lnTo>
                    <a:pt x="556" y="34"/>
                  </a:lnTo>
                  <a:lnTo>
                    <a:pt x="561" y="34"/>
                  </a:lnTo>
                  <a:lnTo>
                    <a:pt x="567" y="28"/>
                  </a:lnTo>
                  <a:lnTo>
                    <a:pt x="573" y="28"/>
                  </a:lnTo>
                  <a:lnTo>
                    <a:pt x="573" y="23"/>
                  </a:lnTo>
                  <a:lnTo>
                    <a:pt x="578" y="23"/>
                  </a:lnTo>
                  <a:lnTo>
                    <a:pt x="584" y="17"/>
                  </a:lnTo>
                  <a:lnTo>
                    <a:pt x="590" y="17"/>
                  </a:lnTo>
                  <a:lnTo>
                    <a:pt x="595" y="17"/>
                  </a:lnTo>
                  <a:lnTo>
                    <a:pt x="595" y="11"/>
                  </a:lnTo>
                  <a:lnTo>
                    <a:pt x="601" y="11"/>
                  </a:lnTo>
                  <a:lnTo>
                    <a:pt x="607" y="6"/>
                  </a:lnTo>
                  <a:lnTo>
                    <a:pt x="612" y="6"/>
                  </a:lnTo>
                  <a:lnTo>
                    <a:pt x="618" y="6"/>
                  </a:lnTo>
                  <a:lnTo>
                    <a:pt x="624" y="6"/>
                  </a:lnTo>
                  <a:lnTo>
                    <a:pt x="629" y="0"/>
                  </a:lnTo>
                  <a:lnTo>
                    <a:pt x="641" y="0"/>
                  </a:lnTo>
                  <a:lnTo>
                    <a:pt x="646" y="0"/>
                  </a:lnTo>
                  <a:lnTo>
                    <a:pt x="658" y="6"/>
                  </a:lnTo>
                  <a:lnTo>
                    <a:pt x="669" y="6"/>
                  </a:lnTo>
                  <a:lnTo>
                    <a:pt x="680" y="6"/>
                  </a:lnTo>
                  <a:lnTo>
                    <a:pt x="686" y="6"/>
                  </a:lnTo>
                  <a:lnTo>
                    <a:pt x="703" y="11"/>
                  </a:lnTo>
                  <a:lnTo>
                    <a:pt x="714" y="11"/>
                  </a:lnTo>
                  <a:lnTo>
                    <a:pt x="731" y="11"/>
                  </a:lnTo>
                  <a:lnTo>
                    <a:pt x="737" y="11"/>
                  </a:lnTo>
                  <a:lnTo>
                    <a:pt x="743" y="11"/>
                  </a:lnTo>
                  <a:lnTo>
                    <a:pt x="748" y="11"/>
                  </a:lnTo>
                  <a:lnTo>
                    <a:pt x="748" y="17"/>
                  </a:lnTo>
                  <a:lnTo>
                    <a:pt x="754" y="17"/>
                  </a:lnTo>
                  <a:lnTo>
                    <a:pt x="760" y="17"/>
                  </a:lnTo>
                  <a:lnTo>
                    <a:pt x="771" y="23"/>
                  </a:lnTo>
                  <a:lnTo>
                    <a:pt x="777" y="17"/>
                  </a:lnTo>
                  <a:lnTo>
                    <a:pt x="777" y="23"/>
                  </a:lnTo>
                  <a:lnTo>
                    <a:pt x="782" y="23"/>
                  </a:lnTo>
                  <a:lnTo>
                    <a:pt x="782" y="17"/>
                  </a:lnTo>
                  <a:lnTo>
                    <a:pt x="788" y="17"/>
                  </a:lnTo>
                  <a:lnTo>
                    <a:pt x="794" y="17"/>
                  </a:lnTo>
                  <a:lnTo>
                    <a:pt x="799" y="17"/>
                  </a:lnTo>
                  <a:lnTo>
                    <a:pt x="805" y="11"/>
                  </a:lnTo>
                  <a:lnTo>
                    <a:pt x="816" y="23"/>
                  </a:lnTo>
                  <a:lnTo>
                    <a:pt x="822" y="23"/>
                  </a:lnTo>
                  <a:lnTo>
                    <a:pt x="822" y="28"/>
                  </a:lnTo>
                  <a:lnTo>
                    <a:pt x="822" y="34"/>
                  </a:lnTo>
                  <a:lnTo>
                    <a:pt x="822" y="40"/>
                  </a:lnTo>
                  <a:lnTo>
                    <a:pt x="828" y="40"/>
                  </a:lnTo>
                  <a:lnTo>
                    <a:pt x="828" y="45"/>
                  </a:lnTo>
                  <a:lnTo>
                    <a:pt x="833" y="45"/>
                  </a:lnTo>
                  <a:lnTo>
                    <a:pt x="833" y="51"/>
                  </a:lnTo>
                  <a:lnTo>
                    <a:pt x="833" y="57"/>
                  </a:lnTo>
                  <a:lnTo>
                    <a:pt x="833" y="62"/>
                  </a:lnTo>
                  <a:lnTo>
                    <a:pt x="839" y="62"/>
                  </a:lnTo>
                  <a:lnTo>
                    <a:pt x="845" y="68"/>
                  </a:lnTo>
                  <a:lnTo>
                    <a:pt x="850" y="74"/>
                  </a:lnTo>
                  <a:lnTo>
                    <a:pt x="862" y="74"/>
                  </a:lnTo>
                  <a:lnTo>
                    <a:pt x="867" y="74"/>
                  </a:lnTo>
                  <a:lnTo>
                    <a:pt x="867" y="79"/>
                  </a:lnTo>
                  <a:lnTo>
                    <a:pt x="873" y="85"/>
                  </a:lnTo>
                  <a:lnTo>
                    <a:pt x="879" y="85"/>
                  </a:lnTo>
                  <a:lnTo>
                    <a:pt x="879" y="91"/>
                  </a:lnTo>
                  <a:lnTo>
                    <a:pt x="884" y="91"/>
                  </a:lnTo>
                  <a:lnTo>
                    <a:pt x="884" y="96"/>
                  </a:lnTo>
                  <a:lnTo>
                    <a:pt x="890" y="96"/>
                  </a:lnTo>
                  <a:lnTo>
                    <a:pt x="890" y="102"/>
                  </a:lnTo>
                  <a:lnTo>
                    <a:pt x="896" y="102"/>
                  </a:lnTo>
                  <a:lnTo>
                    <a:pt x="896" y="108"/>
                  </a:lnTo>
                  <a:lnTo>
                    <a:pt x="901" y="108"/>
                  </a:lnTo>
                  <a:lnTo>
                    <a:pt x="901" y="113"/>
                  </a:lnTo>
                  <a:lnTo>
                    <a:pt x="901" y="119"/>
                  </a:lnTo>
                  <a:lnTo>
                    <a:pt x="907" y="119"/>
                  </a:lnTo>
                  <a:lnTo>
                    <a:pt x="907" y="125"/>
                  </a:lnTo>
                  <a:lnTo>
                    <a:pt x="907" y="130"/>
                  </a:lnTo>
                  <a:lnTo>
                    <a:pt x="907" y="142"/>
                  </a:lnTo>
                  <a:lnTo>
                    <a:pt x="907" y="147"/>
                  </a:lnTo>
                  <a:lnTo>
                    <a:pt x="907" y="159"/>
                  </a:lnTo>
                  <a:lnTo>
                    <a:pt x="907" y="170"/>
                  </a:lnTo>
                  <a:lnTo>
                    <a:pt x="907" y="176"/>
                  </a:lnTo>
                  <a:lnTo>
                    <a:pt x="907" y="181"/>
                  </a:lnTo>
                  <a:lnTo>
                    <a:pt x="913" y="187"/>
                  </a:lnTo>
                  <a:lnTo>
                    <a:pt x="918" y="187"/>
                  </a:lnTo>
                  <a:lnTo>
                    <a:pt x="918" y="193"/>
                  </a:lnTo>
                  <a:lnTo>
                    <a:pt x="918" y="198"/>
                  </a:lnTo>
                  <a:lnTo>
                    <a:pt x="930" y="198"/>
                  </a:lnTo>
                  <a:lnTo>
                    <a:pt x="930" y="204"/>
                  </a:lnTo>
                  <a:lnTo>
                    <a:pt x="935" y="210"/>
                  </a:lnTo>
                  <a:lnTo>
                    <a:pt x="935" y="215"/>
                  </a:lnTo>
                  <a:lnTo>
                    <a:pt x="947" y="215"/>
                  </a:lnTo>
                  <a:lnTo>
                    <a:pt x="947" y="221"/>
                  </a:lnTo>
                  <a:lnTo>
                    <a:pt x="958" y="227"/>
                  </a:lnTo>
                  <a:lnTo>
                    <a:pt x="964" y="227"/>
                  </a:lnTo>
                  <a:lnTo>
                    <a:pt x="964" y="232"/>
                  </a:lnTo>
                  <a:lnTo>
                    <a:pt x="964" y="238"/>
                  </a:lnTo>
                  <a:lnTo>
                    <a:pt x="969" y="244"/>
                  </a:lnTo>
                  <a:lnTo>
                    <a:pt x="969" y="249"/>
                  </a:lnTo>
                  <a:lnTo>
                    <a:pt x="969" y="255"/>
                  </a:lnTo>
                  <a:lnTo>
                    <a:pt x="964" y="266"/>
                  </a:lnTo>
                  <a:lnTo>
                    <a:pt x="964" y="272"/>
                  </a:lnTo>
                  <a:lnTo>
                    <a:pt x="958" y="283"/>
                  </a:lnTo>
                  <a:lnTo>
                    <a:pt x="947" y="295"/>
                  </a:lnTo>
                  <a:lnTo>
                    <a:pt x="947" y="300"/>
                  </a:lnTo>
                  <a:lnTo>
                    <a:pt x="941" y="300"/>
                  </a:lnTo>
                  <a:lnTo>
                    <a:pt x="941" y="312"/>
                  </a:lnTo>
                  <a:lnTo>
                    <a:pt x="935" y="312"/>
                  </a:lnTo>
                  <a:lnTo>
                    <a:pt x="935" y="317"/>
                  </a:lnTo>
                  <a:lnTo>
                    <a:pt x="935" y="323"/>
                  </a:lnTo>
                  <a:lnTo>
                    <a:pt x="935" y="329"/>
                  </a:lnTo>
                  <a:lnTo>
                    <a:pt x="930" y="340"/>
                  </a:lnTo>
                  <a:lnTo>
                    <a:pt x="930" y="363"/>
                  </a:lnTo>
                  <a:lnTo>
                    <a:pt x="930" y="368"/>
                  </a:lnTo>
                  <a:lnTo>
                    <a:pt x="930" y="374"/>
                  </a:lnTo>
                  <a:lnTo>
                    <a:pt x="930" y="380"/>
                  </a:lnTo>
                  <a:lnTo>
                    <a:pt x="930" y="385"/>
                  </a:lnTo>
                  <a:lnTo>
                    <a:pt x="924" y="385"/>
                  </a:lnTo>
                  <a:lnTo>
                    <a:pt x="924" y="391"/>
                  </a:lnTo>
                  <a:lnTo>
                    <a:pt x="918" y="391"/>
                  </a:lnTo>
                  <a:lnTo>
                    <a:pt x="918" y="397"/>
                  </a:lnTo>
                  <a:lnTo>
                    <a:pt x="913" y="402"/>
                  </a:lnTo>
                  <a:lnTo>
                    <a:pt x="907" y="408"/>
                  </a:lnTo>
                  <a:lnTo>
                    <a:pt x="901" y="408"/>
                  </a:lnTo>
                  <a:lnTo>
                    <a:pt x="896" y="414"/>
                  </a:lnTo>
                  <a:lnTo>
                    <a:pt x="890" y="414"/>
                  </a:lnTo>
                  <a:lnTo>
                    <a:pt x="890" y="419"/>
                  </a:lnTo>
                  <a:lnTo>
                    <a:pt x="884" y="419"/>
                  </a:lnTo>
                  <a:lnTo>
                    <a:pt x="879" y="419"/>
                  </a:lnTo>
                  <a:lnTo>
                    <a:pt x="873" y="425"/>
                  </a:lnTo>
                  <a:lnTo>
                    <a:pt x="867" y="431"/>
                  </a:lnTo>
                  <a:lnTo>
                    <a:pt x="867" y="436"/>
                  </a:lnTo>
                  <a:lnTo>
                    <a:pt x="862" y="436"/>
                  </a:lnTo>
                  <a:lnTo>
                    <a:pt x="862" y="442"/>
                  </a:lnTo>
                  <a:lnTo>
                    <a:pt x="862" y="448"/>
                  </a:lnTo>
                  <a:lnTo>
                    <a:pt x="856" y="448"/>
                  </a:lnTo>
                  <a:lnTo>
                    <a:pt x="856" y="453"/>
                  </a:lnTo>
                  <a:lnTo>
                    <a:pt x="850" y="459"/>
                  </a:lnTo>
                  <a:lnTo>
                    <a:pt x="850" y="465"/>
                  </a:lnTo>
                  <a:lnTo>
                    <a:pt x="845" y="465"/>
                  </a:lnTo>
                  <a:lnTo>
                    <a:pt x="845" y="470"/>
                  </a:lnTo>
                  <a:lnTo>
                    <a:pt x="839" y="476"/>
                  </a:lnTo>
                  <a:lnTo>
                    <a:pt x="833" y="476"/>
                  </a:lnTo>
                  <a:lnTo>
                    <a:pt x="833" y="482"/>
                  </a:lnTo>
                  <a:lnTo>
                    <a:pt x="833" y="487"/>
                  </a:lnTo>
                  <a:lnTo>
                    <a:pt x="828" y="487"/>
                  </a:lnTo>
                  <a:lnTo>
                    <a:pt x="828" y="493"/>
                  </a:lnTo>
                  <a:lnTo>
                    <a:pt x="828" y="499"/>
                  </a:lnTo>
                  <a:lnTo>
                    <a:pt x="822" y="504"/>
                  </a:lnTo>
                  <a:lnTo>
                    <a:pt x="816" y="504"/>
                  </a:lnTo>
                  <a:lnTo>
                    <a:pt x="816" y="510"/>
                  </a:lnTo>
                  <a:lnTo>
                    <a:pt x="811" y="510"/>
                  </a:lnTo>
                  <a:lnTo>
                    <a:pt x="811" y="516"/>
                  </a:lnTo>
                  <a:lnTo>
                    <a:pt x="805" y="516"/>
                  </a:lnTo>
                  <a:lnTo>
                    <a:pt x="805" y="521"/>
                  </a:lnTo>
                  <a:lnTo>
                    <a:pt x="799" y="521"/>
                  </a:lnTo>
                  <a:lnTo>
                    <a:pt x="799" y="527"/>
                  </a:lnTo>
                  <a:lnTo>
                    <a:pt x="799" y="533"/>
                  </a:lnTo>
                  <a:lnTo>
                    <a:pt x="794" y="533"/>
                  </a:lnTo>
                  <a:lnTo>
                    <a:pt x="788" y="538"/>
                  </a:lnTo>
                  <a:lnTo>
                    <a:pt x="788" y="544"/>
                  </a:lnTo>
                  <a:lnTo>
                    <a:pt x="782" y="544"/>
                  </a:lnTo>
                  <a:lnTo>
                    <a:pt x="788" y="550"/>
                  </a:lnTo>
                  <a:lnTo>
                    <a:pt x="794" y="550"/>
                  </a:lnTo>
                  <a:lnTo>
                    <a:pt x="799" y="550"/>
                  </a:lnTo>
                  <a:lnTo>
                    <a:pt x="799" y="555"/>
                  </a:lnTo>
                  <a:lnTo>
                    <a:pt x="805" y="561"/>
                  </a:lnTo>
                  <a:lnTo>
                    <a:pt x="811" y="572"/>
                  </a:lnTo>
                  <a:lnTo>
                    <a:pt x="816" y="578"/>
                  </a:lnTo>
                  <a:lnTo>
                    <a:pt x="816" y="584"/>
                  </a:lnTo>
                  <a:lnTo>
                    <a:pt x="822" y="595"/>
                  </a:lnTo>
                  <a:lnTo>
                    <a:pt x="822" y="601"/>
                  </a:lnTo>
                  <a:lnTo>
                    <a:pt x="828" y="606"/>
                  </a:lnTo>
                  <a:lnTo>
                    <a:pt x="828" y="618"/>
                  </a:lnTo>
                  <a:lnTo>
                    <a:pt x="833" y="618"/>
                  </a:lnTo>
                  <a:lnTo>
                    <a:pt x="833" y="623"/>
                  </a:lnTo>
                  <a:lnTo>
                    <a:pt x="839" y="623"/>
                  </a:lnTo>
                  <a:lnTo>
                    <a:pt x="845" y="629"/>
                  </a:lnTo>
                  <a:lnTo>
                    <a:pt x="850" y="623"/>
                  </a:lnTo>
                  <a:lnTo>
                    <a:pt x="856" y="618"/>
                  </a:lnTo>
                  <a:lnTo>
                    <a:pt x="856" y="612"/>
                  </a:lnTo>
                  <a:lnTo>
                    <a:pt x="862" y="606"/>
                  </a:lnTo>
                  <a:lnTo>
                    <a:pt x="862" y="601"/>
                  </a:lnTo>
                  <a:lnTo>
                    <a:pt x="862" y="595"/>
                  </a:lnTo>
                  <a:lnTo>
                    <a:pt x="867" y="589"/>
                  </a:lnTo>
                  <a:lnTo>
                    <a:pt x="873" y="589"/>
                  </a:lnTo>
                  <a:lnTo>
                    <a:pt x="873" y="584"/>
                  </a:lnTo>
                  <a:lnTo>
                    <a:pt x="879" y="584"/>
                  </a:lnTo>
                  <a:lnTo>
                    <a:pt x="884" y="584"/>
                  </a:lnTo>
                  <a:lnTo>
                    <a:pt x="890" y="589"/>
                  </a:lnTo>
                  <a:lnTo>
                    <a:pt x="896" y="589"/>
                  </a:lnTo>
                  <a:lnTo>
                    <a:pt x="896" y="595"/>
                  </a:lnTo>
                  <a:lnTo>
                    <a:pt x="901" y="601"/>
                  </a:lnTo>
                  <a:lnTo>
                    <a:pt x="907" y="606"/>
                  </a:lnTo>
                  <a:lnTo>
                    <a:pt x="913" y="606"/>
                  </a:lnTo>
                  <a:lnTo>
                    <a:pt x="913" y="618"/>
                  </a:lnTo>
                  <a:lnTo>
                    <a:pt x="918" y="618"/>
                  </a:lnTo>
                  <a:lnTo>
                    <a:pt x="924" y="629"/>
                  </a:lnTo>
                  <a:lnTo>
                    <a:pt x="930" y="629"/>
                  </a:lnTo>
                  <a:lnTo>
                    <a:pt x="935" y="629"/>
                  </a:lnTo>
                  <a:lnTo>
                    <a:pt x="935" y="635"/>
                  </a:lnTo>
                  <a:lnTo>
                    <a:pt x="941" y="635"/>
                  </a:lnTo>
                  <a:lnTo>
                    <a:pt x="941" y="641"/>
                  </a:lnTo>
                  <a:lnTo>
                    <a:pt x="947" y="646"/>
                  </a:lnTo>
                  <a:lnTo>
                    <a:pt x="952" y="646"/>
                  </a:lnTo>
                  <a:lnTo>
                    <a:pt x="952" y="658"/>
                  </a:lnTo>
                  <a:lnTo>
                    <a:pt x="952" y="663"/>
                  </a:lnTo>
                  <a:lnTo>
                    <a:pt x="952" y="669"/>
                  </a:lnTo>
                  <a:lnTo>
                    <a:pt x="952" y="675"/>
                  </a:lnTo>
                  <a:lnTo>
                    <a:pt x="952" y="680"/>
                  </a:lnTo>
                  <a:lnTo>
                    <a:pt x="952" y="686"/>
                  </a:lnTo>
                  <a:lnTo>
                    <a:pt x="952" y="692"/>
                  </a:lnTo>
                  <a:lnTo>
                    <a:pt x="952" y="697"/>
                  </a:lnTo>
                  <a:lnTo>
                    <a:pt x="952" y="703"/>
                  </a:lnTo>
                  <a:lnTo>
                    <a:pt x="958" y="720"/>
                  </a:lnTo>
                  <a:lnTo>
                    <a:pt x="958" y="726"/>
                  </a:lnTo>
                  <a:lnTo>
                    <a:pt x="958" y="737"/>
                  </a:lnTo>
                  <a:lnTo>
                    <a:pt x="964" y="743"/>
                  </a:lnTo>
                  <a:lnTo>
                    <a:pt x="969" y="754"/>
                  </a:lnTo>
                  <a:lnTo>
                    <a:pt x="969" y="760"/>
                  </a:lnTo>
                  <a:lnTo>
                    <a:pt x="969" y="765"/>
                  </a:lnTo>
                  <a:lnTo>
                    <a:pt x="952" y="777"/>
                  </a:lnTo>
                  <a:lnTo>
                    <a:pt x="947" y="782"/>
                  </a:lnTo>
                  <a:lnTo>
                    <a:pt x="947" y="788"/>
                  </a:lnTo>
                  <a:lnTo>
                    <a:pt x="947" y="794"/>
                  </a:lnTo>
                  <a:lnTo>
                    <a:pt x="941" y="794"/>
                  </a:lnTo>
                  <a:lnTo>
                    <a:pt x="941" y="805"/>
                  </a:lnTo>
                  <a:lnTo>
                    <a:pt x="935" y="811"/>
                  </a:lnTo>
                  <a:lnTo>
                    <a:pt x="935" y="822"/>
                  </a:lnTo>
                  <a:lnTo>
                    <a:pt x="935" y="828"/>
                  </a:lnTo>
                  <a:lnTo>
                    <a:pt x="935" y="833"/>
                  </a:lnTo>
                  <a:lnTo>
                    <a:pt x="941" y="833"/>
                  </a:lnTo>
                  <a:lnTo>
                    <a:pt x="941" y="845"/>
                  </a:lnTo>
                  <a:lnTo>
                    <a:pt x="941" y="856"/>
                  </a:lnTo>
                  <a:lnTo>
                    <a:pt x="947" y="867"/>
                  </a:lnTo>
                  <a:lnTo>
                    <a:pt x="952" y="879"/>
                  </a:lnTo>
                  <a:lnTo>
                    <a:pt x="952" y="884"/>
                  </a:lnTo>
                  <a:lnTo>
                    <a:pt x="947" y="890"/>
                  </a:lnTo>
                  <a:lnTo>
                    <a:pt x="935" y="890"/>
                  </a:lnTo>
                  <a:lnTo>
                    <a:pt x="924" y="890"/>
                  </a:lnTo>
                  <a:lnTo>
                    <a:pt x="918" y="890"/>
                  </a:lnTo>
                  <a:lnTo>
                    <a:pt x="913" y="890"/>
                  </a:lnTo>
                  <a:lnTo>
                    <a:pt x="907" y="890"/>
                  </a:lnTo>
                  <a:lnTo>
                    <a:pt x="907" y="901"/>
                  </a:lnTo>
                  <a:lnTo>
                    <a:pt x="901" y="901"/>
                  </a:lnTo>
                  <a:lnTo>
                    <a:pt x="896" y="907"/>
                  </a:lnTo>
                  <a:lnTo>
                    <a:pt x="890" y="913"/>
                  </a:lnTo>
                  <a:lnTo>
                    <a:pt x="884" y="913"/>
                  </a:lnTo>
                  <a:lnTo>
                    <a:pt x="884" y="918"/>
                  </a:lnTo>
                  <a:lnTo>
                    <a:pt x="879" y="918"/>
                  </a:lnTo>
                  <a:lnTo>
                    <a:pt x="873" y="924"/>
                  </a:lnTo>
                  <a:lnTo>
                    <a:pt x="873" y="930"/>
                  </a:lnTo>
                  <a:lnTo>
                    <a:pt x="873" y="941"/>
                  </a:lnTo>
                  <a:lnTo>
                    <a:pt x="867" y="941"/>
                  </a:lnTo>
                  <a:lnTo>
                    <a:pt x="862" y="947"/>
                  </a:lnTo>
                  <a:lnTo>
                    <a:pt x="856" y="947"/>
                  </a:lnTo>
                  <a:lnTo>
                    <a:pt x="856" y="952"/>
                  </a:lnTo>
                  <a:lnTo>
                    <a:pt x="856" y="958"/>
                  </a:lnTo>
                  <a:lnTo>
                    <a:pt x="850" y="958"/>
                  </a:lnTo>
                  <a:lnTo>
                    <a:pt x="850" y="964"/>
                  </a:lnTo>
                  <a:lnTo>
                    <a:pt x="856" y="964"/>
                  </a:lnTo>
                  <a:lnTo>
                    <a:pt x="856" y="969"/>
                  </a:lnTo>
                  <a:lnTo>
                    <a:pt x="862" y="969"/>
                  </a:lnTo>
                  <a:lnTo>
                    <a:pt x="862" y="975"/>
                  </a:lnTo>
                  <a:lnTo>
                    <a:pt x="862" y="981"/>
                  </a:lnTo>
                  <a:lnTo>
                    <a:pt x="867" y="981"/>
                  </a:lnTo>
                  <a:lnTo>
                    <a:pt x="862" y="986"/>
                  </a:lnTo>
                  <a:lnTo>
                    <a:pt x="856" y="992"/>
                  </a:lnTo>
                  <a:lnTo>
                    <a:pt x="856" y="998"/>
                  </a:lnTo>
                  <a:lnTo>
                    <a:pt x="862" y="998"/>
                  </a:lnTo>
                  <a:lnTo>
                    <a:pt x="862" y="1003"/>
                  </a:lnTo>
                  <a:lnTo>
                    <a:pt x="862" y="1009"/>
                  </a:lnTo>
                  <a:lnTo>
                    <a:pt x="856" y="1009"/>
                  </a:lnTo>
                  <a:lnTo>
                    <a:pt x="850" y="1009"/>
                  </a:lnTo>
                  <a:lnTo>
                    <a:pt x="850" y="1015"/>
                  </a:lnTo>
                  <a:lnTo>
                    <a:pt x="850" y="1020"/>
                  </a:lnTo>
                  <a:lnTo>
                    <a:pt x="850" y="1026"/>
                  </a:lnTo>
                  <a:lnTo>
                    <a:pt x="850" y="1032"/>
                  </a:lnTo>
                  <a:lnTo>
                    <a:pt x="845" y="1032"/>
                  </a:lnTo>
                  <a:lnTo>
                    <a:pt x="845" y="1037"/>
                  </a:lnTo>
                  <a:lnTo>
                    <a:pt x="839" y="1037"/>
                  </a:lnTo>
                  <a:lnTo>
                    <a:pt x="839" y="1043"/>
                  </a:lnTo>
                  <a:lnTo>
                    <a:pt x="839" y="1049"/>
                  </a:lnTo>
                  <a:lnTo>
                    <a:pt x="833" y="1049"/>
                  </a:lnTo>
                  <a:lnTo>
                    <a:pt x="833" y="1054"/>
                  </a:lnTo>
                  <a:lnTo>
                    <a:pt x="828" y="1054"/>
                  </a:lnTo>
                  <a:lnTo>
                    <a:pt x="822" y="1054"/>
                  </a:lnTo>
                  <a:lnTo>
                    <a:pt x="816" y="1049"/>
                  </a:lnTo>
                  <a:lnTo>
                    <a:pt x="811" y="1054"/>
                  </a:lnTo>
                  <a:lnTo>
                    <a:pt x="805" y="1054"/>
                  </a:lnTo>
                  <a:lnTo>
                    <a:pt x="805" y="1060"/>
                  </a:lnTo>
                  <a:lnTo>
                    <a:pt x="805" y="1066"/>
                  </a:lnTo>
                  <a:lnTo>
                    <a:pt x="805" y="1071"/>
                  </a:lnTo>
                  <a:lnTo>
                    <a:pt x="805" y="1077"/>
                  </a:lnTo>
                  <a:lnTo>
                    <a:pt x="794" y="1077"/>
                  </a:lnTo>
                  <a:lnTo>
                    <a:pt x="788" y="1077"/>
                  </a:lnTo>
                  <a:lnTo>
                    <a:pt x="788" y="1083"/>
                  </a:lnTo>
                  <a:lnTo>
                    <a:pt x="782" y="1077"/>
                  </a:lnTo>
                  <a:lnTo>
                    <a:pt x="777" y="1083"/>
                  </a:lnTo>
                  <a:lnTo>
                    <a:pt x="777" y="1088"/>
                  </a:lnTo>
                  <a:lnTo>
                    <a:pt x="771" y="1088"/>
                  </a:lnTo>
                  <a:lnTo>
                    <a:pt x="765" y="1088"/>
                  </a:lnTo>
                  <a:lnTo>
                    <a:pt x="765" y="1083"/>
                  </a:lnTo>
                  <a:lnTo>
                    <a:pt x="760" y="1083"/>
                  </a:lnTo>
                  <a:lnTo>
                    <a:pt x="754" y="1077"/>
                  </a:lnTo>
                  <a:lnTo>
                    <a:pt x="748" y="1077"/>
                  </a:lnTo>
                  <a:lnTo>
                    <a:pt x="743" y="1083"/>
                  </a:lnTo>
                  <a:lnTo>
                    <a:pt x="737" y="1083"/>
                  </a:lnTo>
                  <a:lnTo>
                    <a:pt x="737" y="1077"/>
                  </a:lnTo>
                  <a:lnTo>
                    <a:pt x="731" y="1077"/>
                  </a:lnTo>
                  <a:lnTo>
                    <a:pt x="726" y="1077"/>
                  </a:lnTo>
                  <a:lnTo>
                    <a:pt x="720" y="1077"/>
                  </a:lnTo>
                  <a:lnTo>
                    <a:pt x="720" y="1071"/>
                  </a:lnTo>
                  <a:lnTo>
                    <a:pt x="714" y="1071"/>
                  </a:lnTo>
                  <a:lnTo>
                    <a:pt x="714" y="1066"/>
                  </a:lnTo>
                  <a:lnTo>
                    <a:pt x="709" y="1066"/>
                  </a:lnTo>
                  <a:lnTo>
                    <a:pt x="703" y="1071"/>
                  </a:lnTo>
                  <a:lnTo>
                    <a:pt x="697" y="1077"/>
                  </a:lnTo>
                  <a:lnTo>
                    <a:pt x="692" y="1077"/>
                  </a:lnTo>
                  <a:lnTo>
                    <a:pt x="686" y="1077"/>
                  </a:lnTo>
                  <a:lnTo>
                    <a:pt x="686" y="1071"/>
                  </a:lnTo>
                  <a:lnTo>
                    <a:pt x="686" y="1060"/>
                  </a:lnTo>
                  <a:lnTo>
                    <a:pt x="686" y="1049"/>
                  </a:lnTo>
                  <a:lnTo>
                    <a:pt x="686" y="1037"/>
                  </a:lnTo>
                  <a:lnTo>
                    <a:pt x="692" y="1026"/>
                  </a:lnTo>
                  <a:lnTo>
                    <a:pt x="686" y="1020"/>
                  </a:lnTo>
                  <a:lnTo>
                    <a:pt x="680" y="1020"/>
                  </a:lnTo>
                  <a:lnTo>
                    <a:pt x="680" y="1015"/>
                  </a:lnTo>
                  <a:lnTo>
                    <a:pt x="675" y="1015"/>
                  </a:lnTo>
                  <a:lnTo>
                    <a:pt x="669" y="1015"/>
                  </a:lnTo>
                  <a:lnTo>
                    <a:pt x="669" y="1009"/>
                  </a:lnTo>
                  <a:lnTo>
                    <a:pt x="663" y="1009"/>
                  </a:lnTo>
                  <a:lnTo>
                    <a:pt x="663" y="1015"/>
                  </a:lnTo>
                  <a:lnTo>
                    <a:pt x="652" y="1020"/>
                  </a:lnTo>
                  <a:lnTo>
                    <a:pt x="652" y="1026"/>
                  </a:lnTo>
                  <a:lnTo>
                    <a:pt x="646" y="1026"/>
                  </a:lnTo>
                  <a:lnTo>
                    <a:pt x="646" y="1020"/>
                  </a:lnTo>
                  <a:lnTo>
                    <a:pt x="641" y="1026"/>
                  </a:lnTo>
                  <a:lnTo>
                    <a:pt x="635" y="1020"/>
                  </a:lnTo>
                  <a:lnTo>
                    <a:pt x="635" y="1026"/>
                  </a:lnTo>
                  <a:lnTo>
                    <a:pt x="624" y="1015"/>
                  </a:lnTo>
                  <a:lnTo>
                    <a:pt x="624" y="1003"/>
                  </a:lnTo>
                  <a:lnTo>
                    <a:pt x="624" y="998"/>
                  </a:lnTo>
                  <a:lnTo>
                    <a:pt x="618" y="992"/>
                  </a:lnTo>
                  <a:lnTo>
                    <a:pt x="618" y="998"/>
                  </a:lnTo>
                  <a:lnTo>
                    <a:pt x="612" y="998"/>
                  </a:lnTo>
                  <a:lnTo>
                    <a:pt x="612" y="992"/>
                  </a:lnTo>
                  <a:lnTo>
                    <a:pt x="607" y="986"/>
                  </a:lnTo>
                  <a:lnTo>
                    <a:pt x="601" y="981"/>
                  </a:lnTo>
                  <a:lnTo>
                    <a:pt x="595" y="981"/>
                  </a:lnTo>
                  <a:lnTo>
                    <a:pt x="595" y="975"/>
                  </a:lnTo>
                  <a:lnTo>
                    <a:pt x="590" y="975"/>
                  </a:lnTo>
                  <a:lnTo>
                    <a:pt x="590" y="969"/>
                  </a:lnTo>
                  <a:lnTo>
                    <a:pt x="590" y="964"/>
                  </a:lnTo>
                  <a:lnTo>
                    <a:pt x="590" y="958"/>
                  </a:lnTo>
                  <a:lnTo>
                    <a:pt x="595" y="935"/>
                  </a:lnTo>
                  <a:lnTo>
                    <a:pt x="590" y="930"/>
                  </a:lnTo>
                  <a:lnTo>
                    <a:pt x="584" y="930"/>
                  </a:lnTo>
                  <a:lnTo>
                    <a:pt x="584" y="924"/>
                  </a:lnTo>
                  <a:lnTo>
                    <a:pt x="578" y="924"/>
                  </a:lnTo>
                  <a:lnTo>
                    <a:pt x="573" y="924"/>
                  </a:lnTo>
                  <a:lnTo>
                    <a:pt x="573" y="930"/>
                  </a:lnTo>
                  <a:lnTo>
                    <a:pt x="567" y="930"/>
                  </a:lnTo>
                  <a:lnTo>
                    <a:pt x="567" y="924"/>
                  </a:lnTo>
                  <a:lnTo>
                    <a:pt x="561" y="924"/>
                  </a:lnTo>
                  <a:lnTo>
                    <a:pt x="561" y="918"/>
                  </a:lnTo>
                  <a:lnTo>
                    <a:pt x="556" y="913"/>
                  </a:lnTo>
                  <a:lnTo>
                    <a:pt x="550" y="913"/>
                  </a:lnTo>
                  <a:lnTo>
                    <a:pt x="544" y="907"/>
                  </a:lnTo>
                  <a:lnTo>
                    <a:pt x="539" y="907"/>
                  </a:lnTo>
                  <a:lnTo>
                    <a:pt x="539" y="901"/>
                  </a:lnTo>
                  <a:lnTo>
                    <a:pt x="539" y="896"/>
                  </a:lnTo>
                  <a:lnTo>
                    <a:pt x="533" y="896"/>
                  </a:lnTo>
                  <a:lnTo>
                    <a:pt x="527" y="896"/>
                  </a:lnTo>
                  <a:lnTo>
                    <a:pt x="522" y="896"/>
                  </a:lnTo>
                  <a:lnTo>
                    <a:pt x="510" y="884"/>
                  </a:lnTo>
                  <a:lnTo>
                    <a:pt x="510" y="879"/>
                  </a:lnTo>
                  <a:lnTo>
                    <a:pt x="510" y="873"/>
                  </a:lnTo>
                  <a:lnTo>
                    <a:pt x="510" y="867"/>
                  </a:lnTo>
                  <a:lnTo>
                    <a:pt x="510" y="862"/>
                  </a:lnTo>
                  <a:lnTo>
                    <a:pt x="510" y="856"/>
                  </a:lnTo>
                  <a:lnTo>
                    <a:pt x="505" y="856"/>
                  </a:lnTo>
                  <a:lnTo>
                    <a:pt x="499" y="856"/>
                  </a:lnTo>
                  <a:lnTo>
                    <a:pt x="499" y="862"/>
                  </a:lnTo>
                  <a:lnTo>
                    <a:pt x="499" y="873"/>
                  </a:lnTo>
                  <a:lnTo>
                    <a:pt x="499" y="879"/>
                  </a:lnTo>
                  <a:lnTo>
                    <a:pt x="499" y="890"/>
                  </a:lnTo>
                  <a:lnTo>
                    <a:pt x="499" y="896"/>
                  </a:lnTo>
                  <a:lnTo>
                    <a:pt x="493" y="913"/>
                  </a:lnTo>
                  <a:lnTo>
                    <a:pt x="493" y="918"/>
                  </a:lnTo>
                  <a:lnTo>
                    <a:pt x="493" y="924"/>
                  </a:lnTo>
                  <a:lnTo>
                    <a:pt x="488" y="924"/>
                  </a:lnTo>
                  <a:lnTo>
                    <a:pt x="488" y="935"/>
                  </a:lnTo>
                  <a:lnTo>
                    <a:pt x="482" y="941"/>
                  </a:lnTo>
                  <a:lnTo>
                    <a:pt x="476" y="941"/>
                  </a:lnTo>
                  <a:lnTo>
                    <a:pt x="471" y="941"/>
                  </a:lnTo>
                  <a:lnTo>
                    <a:pt x="471" y="947"/>
                  </a:lnTo>
                  <a:lnTo>
                    <a:pt x="465" y="941"/>
                  </a:lnTo>
                  <a:lnTo>
                    <a:pt x="454" y="941"/>
                  </a:lnTo>
                  <a:lnTo>
                    <a:pt x="448" y="941"/>
                  </a:lnTo>
                  <a:lnTo>
                    <a:pt x="437" y="947"/>
                  </a:lnTo>
                  <a:lnTo>
                    <a:pt x="431" y="947"/>
                  </a:lnTo>
                  <a:lnTo>
                    <a:pt x="425" y="947"/>
                  </a:lnTo>
                  <a:lnTo>
                    <a:pt x="420" y="947"/>
                  </a:lnTo>
                  <a:lnTo>
                    <a:pt x="391" y="947"/>
                  </a:lnTo>
                  <a:lnTo>
                    <a:pt x="374" y="952"/>
                  </a:lnTo>
                  <a:lnTo>
                    <a:pt x="374" y="947"/>
                  </a:lnTo>
                  <a:lnTo>
                    <a:pt x="357" y="935"/>
                  </a:lnTo>
                  <a:lnTo>
                    <a:pt x="357" y="930"/>
                  </a:lnTo>
                  <a:lnTo>
                    <a:pt x="363" y="930"/>
                  </a:lnTo>
                  <a:lnTo>
                    <a:pt x="363" y="924"/>
                  </a:lnTo>
                  <a:lnTo>
                    <a:pt x="363" y="918"/>
                  </a:lnTo>
                  <a:lnTo>
                    <a:pt x="357" y="918"/>
                  </a:lnTo>
                  <a:lnTo>
                    <a:pt x="357" y="913"/>
                  </a:lnTo>
                  <a:lnTo>
                    <a:pt x="357" y="907"/>
                  </a:lnTo>
                  <a:lnTo>
                    <a:pt x="363" y="907"/>
                  </a:lnTo>
                  <a:lnTo>
                    <a:pt x="357" y="907"/>
                  </a:lnTo>
                  <a:lnTo>
                    <a:pt x="357" y="901"/>
                  </a:lnTo>
                  <a:lnTo>
                    <a:pt x="352" y="896"/>
                  </a:lnTo>
                  <a:lnTo>
                    <a:pt x="346" y="901"/>
                  </a:lnTo>
                  <a:lnTo>
                    <a:pt x="346" y="907"/>
                  </a:lnTo>
                  <a:lnTo>
                    <a:pt x="340" y="907"/>
                  </a:lnTo>
                  <a:lnTo>
                    <a:pt x="340" y="913"/>
                  </a:lnTo>
                  <a:lnTo>
                    <a:pt x="329" y="918"/>
                  </a:lnTo>
                  <a:lnTo>
                    <a:pt x="323" y="924"/>
                  </a:lnTo>
                  <a:lnTo>
                    <a:pt x="318" y="930"/>
                  </a:lnTo>
                  <a:lnTo>
                    <a:pt x="312" y="935"/>
                  </a:lnTo>
                  <a:lnTo>
                    <a:pt x="306" y="941"/>
                  </a:lnTo>
                  <a:lnTo>
                    <a:pt x="301" y="947"/>
                  </a:lnTo>
                  <a:lnTo>
                    <a:pt x="295" y="947"/>
                  </a:lnTo>
                  <a:lnTo>
                    <a:pt x="289" y="958"/>
                  </a:lnTo>
                  <a:lnTo>
                    <a:pt x="284" y="964"/>
                  </a:lnTo>
                  <a:lnTo>
                    <a:pt x="278" y="969"/>
                  </a:lnTo>
                  <a:lnTo>
                    <a:pt x="266" y="975"/>
                  </a:lnTo>
                  <a:lnTo>
                    <a:pt x="266" y="981"/>
                  </a:lnTo>
                  <a:lnTo>
                    <a:pt x="261" y="986"/>
                  </a:lnTo>
                  <a:lnTo>
                    <a:pt x="255" y="992"/>
                  </a:lnTo>
                  <a:lnTo>
                    <a:pt x="249" y="992"/>
                  </a:lnTo>
                  <a:lnTo>
                    <a:pt x="244" y="992"/>
                  </a:lnTo>
                  <a:lnTo>
                    <a:pt x="232" y="986"/>
                  </a:lnTo>
                  <a:lnTo>
                    <a:pt x="227" y="986"/>
                  </a:lnTo>
                  <a:lnTo>
                    <a:pt x="221" y="986"/>
                  </a:lnTo>
                  <a:lnTo>
                    <a:pt x="215" y="986"/>
                  </a:lnTo>
                  <a:lnTo>
                    <a:pt x="215" y="992"/>
                  </a:lnTo>
                  <a:lnTo>
                    <a:pt x="215" y="998"/>
                  </a:lnTo>
                  <a:lnTo>
                    <a:pt x="215" y="1003"/>
                  </a:lnTo>
                  <a:lnTo>
                    <a:pt x="210" y="1009"/>
                  </a:lnTo>
                  <a:lnTo>
                    <a:pt x="210" y="1015"/>
                  </a:lnTo>
                  <a:lnTo>
                    <a:pt x="210" y="1020"/>
                  </a:lnTo>
                  <a:lnTo>
                    <a:pt x="210" y="1026"/>
                  </a:lnTo>
                  <a:lnTo>
                    <a:pt x="210" y="1032"/>
                  </a:lnTo>
                  <a:lnTo>
                    <a:pt x="210" y="1037"/>
                  </a:lnTo>
                  <a:lnTo>
                    <a:pt x="204" y="1037"/>
                  </a:lnTo>
                  <a:lnTo>
                    <a:pt x="204" y="1043"/>
                  </a:lnTo>
                  <a:lnTo>
                    <a:pt x="204" y="1049"/>
                  </a:lnTo>
                  <a:lnTo>
                    <a:pt x="198" y="1054"/>
                  </a:lnTo>
                  <a:lnTo>
                    <a:pt x="198" y="1066"/>
                  </a:lnTo>
                  <a:lnTo>
                    <a:pt x="198" y="1071"/>
                  </a:lnTo>
                  <a:lnTo>
                    <a:pt x="193" y="1083"/>
                  </a:lnTo>
                  <a:lnTo>
                    <a:pt x="193" y="1088"/>
                  </a:lnTo>
                  <a:lnTo>
                    <a:pt x="187" y="1088"/>
                  </a:lnTo>
                  <a:lnTo>
                    <a:pt x="187" y="1083"/>
                  </a:lnTo>
                  <a:lnTo>
                    <a:pt x="187" y="1088"/>
                  </a:lnTo>
                  <a:lnTo>
                    <a:pt x="181" y="1083"/>
                  </a:lnTo>
                  <a:close/>
                </a:path>
              </a:pathLst>
            </a:custGeom>
            <a:solidFill>
              <a:srgbClr val="006600"/>
            </a:solidFill>
            <a:ln w="25400">
              <a:solidFill>
                <a:srgbClr val="B4B4B4"/>
              </a:solidFill>
              <a:round/>
              <a:headEnd/>
              <a:tailEnd/>
            </a:ln>
          </p:spPr>
          <p:txBody>
            <a:bodyPr lIns="93296" tIns="46648" rIns="93296" bIns="46648"/>
            <a:lstStyle/>
            <a:p>
              <a:pPr>
                <a:defRPr/>
              </a:pPr>
              <a:endParaRPr lang="en-US" sz="1000" kern="0">
                <a:solidFill>
                  <a:prstClr val="black">
                    <a:lumMod val="65000"/>
                    <a:lumOff val="35000"/>
                  </a:prstClr>
                </a:solidFill>
              </a:endParaRPr>
            </a:p>
          </p:txBody>
        </p:sp>
        <p:sp>
          <p:nvSpPr>
            <p:cNvPr id="29" name="Freeform 28"/>
            <p:cNvSpPr>
              <a:spLocks/>
            </p:cNvSpPr>
            <p:nvPr/>
          </p:nvSpPr>
          <p:spPr bwMode="gray">
            <a:xfrm>
              <a:off x="198080" y="4063750"/>
              <a:ext cx="794602" cy="158287"/>
            </a:xfrm>
            <a:custGeom>
              <a:avLst/>
              <a:gdLst>
                <a:gd name="T0" fmla="*/ 2147483647 w 567"/>
                <a:gd name="T1" fmla="*/ 2147483647 h 119"/>
                <a:gd name="T2" fmla="*/ 2147483647 w 567"/>
                <a:gd name="T3" fmla="*/ 2147483647 h 119"/>
                <a:gd name="T4" fmla="*/ 2147483647 w 567"/>
                <a:gd name="T5" fmla="*/ 2147483647 h 119"/>
                <a:gd name="T6" fmla="*/ 2147483647 w 567"/>
                <a:gd name="T7" fmla="*/ 2147483647 h 119"/>
                <a:gd name="T8" fmla="*/ 2147483647 w 567"/>
                <a:gd name="T9" fmla="*/ 2147483647 h 119"/>
                <a:gd name="T10" fmla="*/ 2147483647 w 567"/>
                <a:gd name="T11" fmla="*/ 2147483647 h 119"/>
                <a:gd name="T12" fmla="*/ 2147483647 w 567"/>
                <a:gd name="T13" fmla="*/ 2147483647 h 119"/>
                <a:gd name="T14" fmla="*/ 2147483647 w 567"/>
                <a:gd name="T15" fmla="*/ 2147483647 h 119"/>
                <a:gd name="T16" fmla="*/ 2147483647 w 567"/>
                <a:gd name="T17" fmla="*/ 2147483647 h 119"/>
                <a:gd name="T18" fmla="*/ 2147483647 w 567"/>
                <a:gd name="T19" fmla="*/ 2147483647 h 119"/>
                <a:gd name="T20" fmla="*/ 2147483647 w 567"/>
                <a:gd name="T21" fmla="*/ 2147483647 h 119"/>
                <a:gd name="T22" fmla="*/ 2147483647 w 567"/>
                <a:gd name="T23" fmla="*/ 2147483647 h 119"/>
                <a:gd name="T24" fmla="*/ 2147483647 w 567"/>
                <a:gd name="T25" fmla="*/ 2147483647 h 119"/>
                <a:gd name="T26" fmla="*/ 2147483647 w 567"/>
                <a:gd name="T27" fmla="*/ 2147483647 h 119"/>
                <a:gd name="T28" fmla="*/ 2147483647 w 567"/>
                <a:gd name="T29" fmla="*/ 2147483647 h 119"/>
                <a:gd name="T30" fmla="*/ 2147483647 w 567"/>
                <a:gd name="T31" fmla="*/ 2147483647 h 119"/>
                <a:gd name="T32" fmla="*/ 0 w 567"/>
                <a:gd name="T33" fmla="*/ 2147483647 h 119"/>
                <a:gd name="T34" fmla="*/ 2147483647 w 567"/>
                <a:gd name="T35" fmla="*/ 2147483647 h 119"/>
                <a:gd name="T36" fmla="*/ 2147483647 w 567"/>
                <a:gd name="T37" fmla="*/ 2147483647 h 119"/>
                <a:gd name="T38" fmla="*/ 2147483647 w 567"/>
                <a:gd name="T39" fmla="*/ 2147483647 h 119"/>
                <a:gd name="T40" fmla="*/ 2147483647 w 567"/>
                <a:gd name="T41" fmla="*/ 2147483647 h 119"/>
                <a:gd name="T42" fmla="*/ 2147483647 w 567"/>
                <a:gd name="T43" fmla="*/ 2147483647 h 119"/>
                <a:gd name="T44" fmla="*/ 2147483647 w 567"/>
                <a:gd name="T45" fmla="*/ 2147483647 h 119"/>
                <a:gd name="T46" fmla="*/ 2147483647 w 567"/>
                <a:gd name="T47" fmla="*/ 2147483647 h 119"/>
                <a:gd name="T48" fmla="*/ 2147483647 w 567"/>
                <a:gd name="T49" fmla="*/ 2147483647 h 119"/>
                <a:gd name="T50" fmla="*/ 2147483647 w 567"/>
                <a:gd name="T51" fmla="*/ 2147483647 h 119"/>
                <a:gd name="T52" fmla="*/ 2147483647 w 567"/>
                <a:gd name="T53" fmla="*/ 2147483647 h 119"/>
                <a:gd name="T54" fmla="*/ 2147483647 w 567"/>
                <a:gd name="T55" fmla="*/ 2147483647 h 119"/>
                <a:gd name="T56" fmla="*/ 2147483647 w 567"/>
                <a:gd name="T57" fmla="*/ 2147483647 h 119"/>
                <a:gd name="T58" fmla="*/ 2147483647 w 567"/>
                <a:gd name="T59" fmla="*/ 2147483647 h 119"/>
                <a:gd name="T60" fmla="*/ 2147483647 w 567"/>
                <a:gd name="T61" fmla="*/ 2147483647 h 119"/>
                <a:gd name="T62" fmla="*/ 2147483647 w 567"/>
                <a:gd name="T63" fmla="*/ 0 h 119"/>
                <a:gd name="T64" fmla="*/ 2147483647 w 567"/>
                <a:gd name="T65" fmla="*/ 2147483647 h 119"/>
                <a:gd name="T66" fmla="*/ 2147483647 w 567"/>
                <a:gd name="T67" fmla="*/ 2147483647 h 119"/>
                <a:gd name="T68" fmla="*/ 2147483647 w 567"/>
                <a:gd name="T69" fmla="*/ 2147483647 h 119"/>
                <a:gd name="T70" fmla="*/ 2147483647 w 567"/>
                <a:gd name="T71" fmla="*/ 2147483647 h 119"/>
                <a:gd name="T72" fmla="*/ 2147483647 w 567"/>
                <a:gd name="T73" fmla="*/ 2147483647 h 119"/>
                <a:gd name="T74" fmla="*/ 2147483647 w 567"/>
                <a:gd name="T75" fmla="*/ 2147483647 h 119"/>
                <a:gd name="T76" fmla="*/ 2147483647 w 567"/>
                <a:gd name="T77" fmla="*/ 2147483647 h 119"/>
                <a:gd name="T78" fmla="*/ 2147483647 w 567"/>
                <a:gd name="T79" fmla="*/ 2147483647 h 119"/>
                <a:gd name="T80" fmla="*/ 2147483647 w 567"/>
                <a:gd name="T81" fmla="*/ 2147483647 h 119"/>
                <a:gd name="T82" fmla="*/ 2147483647 w 567"/>
                <a:gd name="T83" fmla="*/ 2147483647 h 119"/>
                <a:gd name="T84" fmla="*/ 2147483647 w 567"/>
                <a:gd name="T85" fmla="*/ 2147483647 h 119"/>
                <a:gd name="T86" fmla="*/ 2147483647 w 567"/>
                <a:gd name="T87" fmla="*/ 2147483647 h 119"/>
                <a:gd name="T88" fmla="*/ 2147483647 w 567"/>
                <a:gd name="T89" fmla="*/ 2147483647 h 119"/>
                <a:gd name="T90" fmla="*/ 2147483647 w 567"/>
                <a:gd name="T91" fmla="*/ 2147483647 h 119"/>
                <a:gd name="T92" fmla="*/ 2147483647 w 567"/>
                <a:gd name="T93" fmla="*/ 2147483647 h 119"/>
                <a:gd name="T94" fmla="*/ 2147483647 w 567"/>
                <a:gd name="T95" fmla="*/ 2147483647 h 119"/>
                <a:gd name="T96" fmla="*/ 2147483647 w 567"/>
                <a:gd name="T97" fmla="*/ 2147483647 h 119"/>
                <a:gd name="T98" fmla="*/ 2147483647 w 567"/>
                <a:gd name="T99" fmla="*/ 2147483647 h 119"/>
                <a:gd name="T100" fmla="*/ 2147483647 w 567"/>
                <a:gd name="T101" fmla="*/ 2147483647 h 11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67"/>
                <a:gd name="T154" fmla="*/ 0 h 119"/>
                <a:gd name="T155" fmla="*/ 567 w 567"/>
                <a:gd name="T156" fmla="*/ 119 h 11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67" h="119">
                  <a:moveTo>
                    <a:pt x="567" y="119"/>
                  </a:moveTo>
                  <a:lnTo>
                    <a:pt x="561" y="119"/>
                  </a:lnTo>
                  <a:lnTo>
                    <a:pt x="550" y="119"/>
                  </a:lnTo>
                  <a:lnTo>
                    <a:pt x="544" y="119"/>
                  </a:lnTo>
                  <a:lnTo>
                    <a:pt x="539" y="113"/>
                  </a:lnTo>
                  <a:lnTo>
                    <a:pt x="533" y="113"/>
                  </a:lnTo>
                  <a:lnTo>
                    <a:pt x="516" y="113"/>
                  </a:lnTo>
                  <a:lnTo>
                    <a:pt x="505" y="107"/>
                  </a:lnTo>
                  <a:lnTo>
                    <a:pt x="488" y="107"/>
                  </a:lnTo>
                  <a:lnTo>
                    <a:pt x="476" y="102"/>
                  </a:lnTo>
                  <a:lnTo>
                    <a:pt x="471" y="102"/>
                  </a:lnTo>
                  <a:lnTo>
                    <a:pt x="459" y="102"/>
                  </a:lnTo>
                  <a:lnTo>
                    <a:pt x="437" y="102"/>
                  </a:lnTo>
                  <a:lnTo>
                    <a:pt x="431" y="102"/>
                  </a:lnTo>
                  <a:lnTo>
                    <a:pt x="408" y="102"/>
                  </a:lnTo>
                  <a:lnTo>
                    <a:pt x="397" y="96"/>
                  </a:lnTo>
                  <a:lnTo>
                    <a:pt x="391" y="96"/>
                  </a:lnTo>
                  <a:lnTo>
                    <a:pt x="386" y="96"/>
                  </a:lnTo>
                  <a:lnTo>
                    <a:pt x="380" y="96"/>
                  </a:lnTo>
                  <a:lnTo>
                    <a:pt x="369" y="102"/>
                  </a:lnTo>
                  <a:lnTo>
                    <a:pt x="340" y="102"/>
                  </a:lnTo>
                  <a:lnTo>
                    <a:pt x="335" y="102"/>
                  </a:lnTo>
                  <a:lnTo>
                    <a:pt x="318" y="102"/>
                  </a:lnTo>
                  <a:lnTo>
                    <a:pt x="295" y="102"/>
                  </a:lnTo>
                  <a:lnTo>
                    <a:pt x="289" y="107"/>
                  </a:lnTo>
                  <a:lnTo>
                    <a:pt x="272" y="107"/>
                  </a:lnTo>
                  <a:lnTo>
                    <a:pt x="267" y="107"/>
                  </a:lnTo>
                  <a:lnTo>
                    <a:pt x="261" y="107"/>
                  </a:lnTo>
                  <a:lnTo>
                    <a:pt x="250" y="107"/>
                  </a:lnTo>
                  <a:lnTo>
                    <a:pt x="244" y="107"/>
                  </a:lnTo>
                  <a:lnTo>
                    <a:pt x="244" y="113"/>
                  </a:lnTo>
                  <a:lnTo>
                    <a:pt x="238" y="113"/>
                  </a:lnTo>
                  <a:lnTo>
                    <a:pt x="233" y="113"/>
                  </a:lnTo>
                  <a:lnTo>
                    <a:pt x="210" y="113"/>
                  </a:lnTo>
                  <a:lnTo>
                    <a:pt x="187" y="113"/>
                  </a:lnTo>
                  <a:lnTo>
                    <a:pt x="176" y="113"/>
                  </a:lnTo>
                  <a:lnTo>
                    <a:pt x="165" y="113"/>
                  </a:lnTo>
                  <a:lnTo>
                    <a:pt x="153" y="113"/>
                  </a:lnTo>
                  <a:lnTo>
                    <a:pt x="148" y="113"/>
                  </a:lnTo>
                  <a:lnTo>
                    <a:pt x="142" y="113"/>
                  </a:lnTo>
                  <a:lnTo>
                    <a:pt x="125" y="113"/>
                  </a:lnTo>
                  <a:lnTo>
                    <a:pt x="114" y="113"/>
                  </a:lnTo>
                  <a:lnTo>
                    <a:pt x="102" y="113"/>
                  </a:lnTo>
                  <a:lnTo>
                    <a:pt x="97" y="113"/>
                  </a:lnTo>
                  <a:lnTo>
                    <a:pt x="68" y="113"/>
                  </a:lnTo>
                  <a:lnTo>
                    <a:pt x="57" y="113"/>
                  </a:lnTo>
                  <a:lnTo>
                    <a:pt x="51" y="113"/>
                  </a:lnTo>
                  <a:lnTo>
                    <a:pt x="29" y="119"/>
                  </a:lnTo>
                  <a:lnTo>
                    <a:pt x="6" y="119"/>
                  </a:lnTo>
                  <a:lnTo>
                    <a:pt x="0" y="119"/>
                  </a:lnTo>
                  <a:lnTo>
                    <a:pt x="0" y="107"/>
                  </a:lnTo>
                  <a:lnTo>
                    <a:pt x="0" y="102"/>
                  </a:lnTo>
                  <a:lnTo>
                    <a:pt x="0" y="90"/>
                  </a:lnTo>
                  <a:lnTo>
                    <a:pt x="6" y="85"/>
                  </a:lnTo>
                  <a:lnTo>
                    <a:pt x="6" y="79"/>
                  </a:lnTo>
                  <a:lnTo>
                    <a:pt x="6" y="73"/>
                  </a:lnTo>
                  <a:lnTo>
                    <a:pt x="17" y="73"/>
                  </a:lnTo>
                  <a:lnTo>
                    <a:pt x="23" y="73"/>
                  </a:lnTo>
                  <a:lnTo>
                    <a:pt x="29" y="79"/>
                  </a:lnTo>
                  <a:lnTo>
                    <a:pt x="34" y="73"/>
                  </a:lnTo>
                  <a:lnTo>
                    <a:pt x="40" y="73"/>
                  </a:lnTo>
                  <a:lnTo>
                    <a:pt x="46" y="73"/>
                  </a:lnTo>
                  <a:lnTo>
                    <a:pt x="46" y="68"/>
                  </a:lnTo>
                  <a:lnTo>
                    <a:pt x="51" y="62"/>
                  </a:lnTo>
                  <a:lnTo>
                    <a:pt x="57" y="56"/>
                  </a:lnTo>
                  <a:lnTo>
                    <a:pt x="63" y="56"/>
                  </a:lnTo>
                  <a:lnTo>
                    <a:pt x="68" y="56"/>
                  </a:lnTo>
                  <a:lnTo>
                    <a:pt x="74" y="62"/>
                  </a:lnTo>
                  <a:lnTo>
                    <a:pt x="80" y="62"/>
                  </a:lnTo>
                  <a:lnTo>
                    <a:pt x="85" y="62"/>
                  </a:lnTo>
                  <a:lnTo>
                    <a:pt x="91" y="62"/>
                  </a:lnTo>
                  <a:lnTo>
                    <a:pt x="97" y="62"/>
                  </a:lnTo>
                  <a:lnTo>
                    <a:pt x="102" y="62"/>
                  </a:lnTo>
                  <a:lnTo>
                    <a:pt x="108" y="62"/>
                  </a:lnTo>
                  <a:lnTo>
                    <a:pt x="114" y="62"/>
                  </a:lnTo>
                  <a:lnTo>
                    <a:pt x="119" y="62"/>
                  </a:lnTo>
                  <a:lnTo>
                    <a:pt x="125" y="62"/>
                  </a:lnTo>
                  <a:lnTo>
                    <a:pt x="131" y="62"/>
                  </a:lnTo>
                  <a:lnTo>
                    <a:pt x="136" y="62"/>
                  </a:lnTo>
                  <a:lnTo>
                    <a:pt x="142" y="62"/>
                  </a:lnTo>
                  <a:lnTo>
                    <a:pt x="148" y="62"/>
                  </a:lnTo>
                  <a:lnTo>
                    <a:pt x="153" y="62"/>
                  </a:lnTo>
                  <a:lnTo>
                    <a:pt x="153" y="56"/>
                  </a:lnTo>
                  <a:lnTo>
                    <a:pt x="159" y="51"/>
                  </a:lnTo>
                  <a:lnTo>
                    <a:pt x="165" y="51"/>
                  </a:lnTo>
                  <a:lnTo>
                    <a:pt x="170" y="39"/>
                  </a:lnTo>
                  <a:lnTo>
                    <a:pt x="170" y="34"/>
                  </a:lnTo>
                  <a:lnTo>
                    <a:pt x="170" y="28"/>
                  </a:lnTo>
                  <a:lnTo>
                    <a:pt x="176" y="28"/>
                  </a:lnTo>
                  <a:lnTo>
                    <a:pt x="176" y="22"/>
                  </a:lnTo>
                  <a:lnTo>
                    <a:pt x="182" y="17"/>
                  </a:lnTo>
                  <a:lnTo>
                    <a:pt x="182" y="11"/>
                  </a:lnTo>
                  <a:lnTo>
                    <a:pt x="182" y="5"/>
                  </a:lnTo>
                  <a:lnTo>
                    <a:pt x="187" y="5"/>
                  </a:lnTo>
                  <a:lnTo>
                    <a:pt x="187" y="0"/>
                  </a:lnTo>
                  <a:lnTo>
                    <a:pt x="199" y="0"/>
                  </a:lnTo>
                  <a:lnTo>
                    <a:pt x="210" y="0"/>
                  </a:lnTo>
                  <a:lnTo>
                    <a:pt x="216" y="0"/>
                  </a:lnTo>
                  <a:lnTo>
                    <a:pt x="216" y="5"/>
                  </a:lnTo>
                  <a:lnTo>
                    <a:pt x="221" y="11"/>
                  </a:lnTo>
                  <a:lnTo>
                    <a:pt x="227" y="17"/>
                  </a:lnTo>
                  <a:lnTo>
                    <a:pt x="233" y="17"/>
                  </a:lnTo>
                  <a:lnTo>
                    <a:pt x="238" y="17"/>
                  </a:lnTo>
                  <a:lnTo>
                    <a:pt x="244" y="17"/>
                  </a:lnTo>
                  <a:lnTo>
                    <a:pt x="250" y="17"/>
                  </a:lnTo>
                  <a:lnTo>
                    <a:pt x="250" y="11"/>
                  </a:lnTo>
                  <a:lnTo>
                    <a:pt x="250" y="5"/>
                  </a:lnTo>
                  <a:lnTo>
                    <a:pt x="255" y="5"/>
                  </a:lnTo>
                  <a:lnTo>
                    <a:pt x="352" y="5"/>
                  </a:lnTo>
                  <a:lnTo>
                    <a:pt x="357" y="5"/>
                  </a:lnTo>
                  <a:lnTo>
                    <a:pt x="369" y="5"/>
                  </a:lnTo>
                  <a:lnTo>
                    <a:pt x="437" y="5"/>
                  </a:lnTo>
                  <a:lnTo>
                    <a:pt x="476" y="5"/>
                  </a:lnTo>
                  <a:lnTo>
                    <a:pt x="499" y="5"/>
                  </a:lnTo>
                  <a:lnTo>
                    <a:pt x="505" y="5"/>
                  </a:lnTo>
                  <a:lnTo>
                    <a:pt x="505" y="11"/>
                  </a:lnTo>
                  <a:lnTo>
                    <a:pt x="499" y="11"/>
                  </a:lnTo>
                  <a:lnTo>
                    <a:pt x="499" y="17"/>
                  </a:lnTo>
                  <a:lnTo>
                    <a:pt x="493" y="17"/>
                  </a:lnTo>
                  <a:lnTo>
                    <a:pt x="482" y="22"/>
                  </a:lnTo>
                  <a:lnTo>
                    <a:pt x="482" y="28"/>
                  </a:lnTo>
                  <a:lnTo>
                    <a:pt x="476" y="28"/>
                  </a:lnTo>
                  <a:lnTo>
                    <a:pt x="476" y="34"/>
                  </a:lnTo>
                  <a:lnTo>
                    <a:pt x="482" y="45"/>
                  </a:lnTo>
                  <a:lnTo>
                    <a:pt x="482" y="51"/>
                  </a:lnTo>
                  <a:lnTo>
                    <a:pt x="488" y="51"/>
                  </a:lnTo>
                  <a:lnTo>
                    <a:pt x="493" y="51"/>
                  </a:lnTo>
                  <a:lnTo>
                    <a:pt x="499" y="45"/>
                  </a:lnTo>
                  <a:lnTo>
                    <a:pt x="505" y="45"/>
                  </a:lnTo>
                  <a:lnTo>
                    <a:pt x="510" y="45"/>
                  </a:lnTo>
                  <a:lnTo>
                    <a:pt x="516" y="45"/>
                  </a:lnTo>
                  <a:lnTo>
                    <a:pt x="522" y="39"/>
                  </a:lnTo>
                  <a:lnTo>
                    <a:pt x="527" y="39"/>
                  </a:lnTo>
                  <a:lnTo>
                    <a:pt x="527" y="45"/>
                  </a:lnTo>
                  <a:lnTo>
                    <a:pt x="533" y="45"/>
                  </a:lnTo>
                  <a:lnTo>
                    <a:pt x="533" y="51"/>
                  </a:lnTo>
                  <a:lnTo>
                    <a:pt x="527" y="56"/>
                  </a:lnTo>
                  <a:lnTo>
                    <a:pt x="527" y="62"/>
                  </a:lnTo>
                  <a:lnTo>
                    <a:pt x="522" y="62"/>
                  </a:lnTo>
                  <a:lnTo>
                    <a:pt x="516" y="62"/>
                  </a:lnTo>
                  <a:lnTo>
                    <a:pt x="510" y="62"/>
                  </a:lnTo>
                  <a:lnTo>
                    <a:pt x="505" y="68"/>
                  </a:lnTo>
                  <a:lnTo>
                    <a:pt x="505" y="73"/>
                  </a:lnTo>
                  <a:lnTo>
                    <a:pt x="510" y="79"/>
                  </a:lnTo>
                  <a:lnTo>
                    <a:pt x="522" y="79"/>
                  </a:lnTo>
                  <a:lnTo>
                    <a:pt x="527" y="85"/>
                  </a:lnTo>
                  <a:lnTo>
                    <a:pt x="533" y="90"/>
                  </a:lnTo>
                  <a:lnTo>
                    <a:pt x="539" y="90"/>
                  </a:lnTo>
                  <a:lnTo>
                    <a:pt x="550" y="90"/>
                  </a:lnTo>
                  <a:lnTo>
                    <a:pt x="561" y="90"/>
                  </a:lnTo>
                  <a:lnTo>
                    <a:pt x="567" y="90"/>
                  </a:lnTo>
                  <a:lnTo>
                    <a:pt x="567" y="102"/>
                  </a:lnTo>
                  <a:lnTo>
                    <a:pt x="567" y="119"/>
                  </a:lnTo>
                  <a:close/>
                </a:path>
              </a:pathLst>
            </a:custGeom>
            <a:solidFill>
              <a:schemeClr val="bg1">
                <a:lumMod val="95000"/>
              </a:schemeClr>
            </a:solidFill>
            <a:ln w="25400">
              <a:solidFill>
                <a:srgbClr val="B4B4B4"/>
              </a:solidFill>
              <a:round/>
              <a:headEnd/>
              <a:tailEnd/>
            </a:ln>
          </p:spPr>
          <p:txBody>
            <a:bodyPr lIns="93296" tIns="46648" rIns="93296" bIns="46648"/>
            <a:lstStyle/>
            <a:p>
              <a:pPr>
                <a:defRPr/>
              </a:pPr>
              <a:endParaRPr lang="en-US" sz="1000" kern="0">
                <a:solidFill>
                  <a:prstClr val="black">
                    <a:lumMod val="65000"/>
                    <a:lumOff val="35000"/>
                  </a:prstClr>
                </a:solidFill>
              </a:endParaRPr>
            </a:p>
          </p:txBody>
        </p:sp>
        <p:sp>
          <p:nvSpPr>
            <p:cNvPr id="30" name="Freeform 29"/>
            <p:cNvSpPr>
              <a:spLocks/>
            </p:cNvSpPr>
            <p:nvPr/>
          </p:nvSpPr>
          <p:spPr bwMode="gray">
            <a:xfrm>
              <a:off x="2418134" y="4282033"/>
              <a:ext cx="437568" cy="666337"/>
            </a:xfrm>
            <a:custGeom>
              <a:avLst/>
              <a:gdLst>
                <a:gd name="T0" fmla="*/ 2147483647 w 312"/>
                <a:gd name="T1" fmla="*/ 2147483647 h 499"/>
                <a:gd name="T2" fmla="*/ 2147483647 w 312"/>
                <a:gd name="T3" fmla="*/ 2147483647 h 499"/>
                <a:gd name="T4" fmla="*/ 2147483647 w 312"/>
                <a:gd name="T5" fmla="*/ 2147483647 h 499"/>
                <a:gd name="T6" fmla="*/ 2147483647 w 312"/>
                <a:gd name="T7" fmla="*/ 2147483647 h 499"/>
                <a:gd name="T8" fmla="*/ 2147483647 w 312"/>
                <a:gd name="T9" fmla="*/ 2147483647 h 499"/>
                <a:gd name="T10" fmla="*/ 2147483647 w 312"/>
                <a:gd name="T11" fmla="*/ 2147483647 h 499"/>
                <a:gd name="T12" fmla="*/ 2147483647 w 312"/>
                <a:gd name="T13" fmla="*/ 2147483647 h 499"/>
                <a:gd name="T14" fmla="*/ 2147483647 w 312"/>
                <a:gd name="T15" fmla="*/ 2147483647 h 499"/>
                <a:gd name="T16" fmla="*/ 2147483647 w 312"/>
                <a:gd name="T17" fmla="*/ 2147483647 h 499"/>
                <a:gd name="T18" fmla="*/ 2147483647 w 312"/>
                <a:gd name="T19" fmla="*/ 2147483647 h 499"/>
                <a:gd name="T20" fmla="*/ 2147483647 w 312"/>
                <a:gd name="T21" fmla="*/ 2147483647 h 499"/>
                <a:gd name="T22" fmla="*/ 2147483647 w 312"/>
                <a:gd name="T23" fmla="*/ 2147483647 h 499"/>
                <a:gd name="T24" fmla="*/ 2147483647 w 312"/>
                <a:gd name="T25" fmla="*/ 2147483647 h 499"/>
                <a:gd name="T26" fmla="*/ 2147483647 w 312"/>
                <a:gd name="T27" fmla="*/ 2147483647 h 499"/>
                <a:gd name="T28" fmla="*/ 2147483647 w 312"/>
                <a:gd name="T29" fmla="*/ 2147483647 h 499"/>
                <a:gd name="T30" fmla="*/ 2147483647 w 312"/>
                <a:gd name="T31" fmla="*/ 2147483647 h 499"/>
                <a:gd name="T32" fmla="*/ 2147483647 w 312"/>
                <a:gd name="T33" fmla="*/ 2147483647 h 499"/>
                <a:gd name="T34" fmla="*/ 2147483647 w 312"/>
                <a:gd name="T35" fmla="*/ 2147483647 h 499"/>
                <a:gd name="T36" fmla="*/ 2147483647 w 312"/>
                <a:gd name="T37" fmla="*/ 2147483647 h 499"/>
                <a:gd name="T38" fmla="*/ 2147483647 w 312"/>
                <a:gd name="T39" fmla="*/ 2147483647 h 499"/>
                <a:gd name="T40" fmla="*/ 2147483647 w 312"/>
                <a:gd name="T41" fmla="*/ 2147483647 h 499"/>
                <a:gd name="T42" fmla="*/ 2147483647 w 312"/>
                <a:gd name="T43" fmla="*/ 2147483647 h 499"/>
                <a:gd name="T44" fmla="*/ 2147483647 w 312"/>
                <a:gd name="T45" fmla="*/ 2147483647 h 499"/>
                <a:gd name="T46" fmla="*/ 2147483647 w 312"/>
                <a:gd name="T47" fmla="*/ 2147483647 h 499"/>
                <a:gd name="T48" fmla="*/ 2147483647 w 312"/>
                <a:gd name="T49" fmla="*/ 2147483647 h 499"/>
                <a:gd name="T50" fmla="*/ 2147483647 w 312"/>
                <a:gd name="T51" fmla="*/ 2147483647 h 499"/>
                <a:gd name="T52" fmla="*/ 2147483647 w 312"/>
                <a:gd name="T53" fmla="*/ 2147483647 h 499"/>
                <a:gd name="T54" fmla="*/ 2147483647 w 312"/>
                <a:gd name="T55" fmla="*/ 2147483647 h 499"/>
                <a:gd name="T56" fmla="*/ 2147483647 w 312"/>
                <a:gd name="T57" fmla="*/ 0 h 499"/>
                <a:gd name="T58" fmla="*/ 2147483647 w 312"/>
                <a:gd name="T59" fmla="*/ 2147483647 h 499"/>
                <a:gd name="T60" fmla="*/ 2147483647 w 312"/>
                <a:gd name="T61" fmla="*/ 2147483647 h 499"/>
                <a:gd name="T62" fmla="*/ 2147483647 w 312"/>
                <a:gd name="T63" fmla="*/ 2147483647 h 499"/>
                <a:gd name="T64" fmla="*/ 2147483647 w 312"/>
                <a:gd name="T65" fmla="*/ 2147483647 h 499"/>
                <a:gd name="T66" fmla="*/ 2147483647 w 312"/>
                <a:gd name="T67" fmla="*/ 2147483647 h 499"/>
                <a:gd name="T68" fmla="*/ 2147483647 w 312"/>
                <a:gd name="T69" fmla="*/ 2147483647 h 499"/>
                <a:gd name="T70" fmla="*/ 2147483647 w 312"/>
                <a:gd name="T71" fmla="*/ 2147483647 h 499"/>
                <a:gd name="T72" fmla="*/ 2147483647 w 312"/>
                <a:gd name="T73" fmla="*/ 2147483647 h 499"/>
                <a:gd name="T74" fmla="*/ 2147483647 w 312"/>
                <a:gd name="T75" fmla="*/ 2147483647 h 499"/>
                <a:gd name="T76" fmla="*/ 2147483647 w 312"/>
                <a:gd name="T77" fmla="*/ 2147483647 h 499"/>
                <a:gd name="T78" fmla="*/ 2147483647 w 312"/>
                <a:gd name="T79" fmla="*/ 2147483647 h 499"/>
                <a:gd name="T80" fmla="*/ 2147483647 w 312"/>
                <a:gd name="T81" fmla="*/ 2147483647 h 499"/>
                <a:gd name="T82" fmla="*/ 2147483647 w 312"/>
                <a:gd name="T83" fmla="*/ 2147483647 h 499"/>
                <a:gd name="T84" fmla="*/ 2147483647 w 312"/>
                <a:gd name="T85" fmla="*/ 2147483647 h 499"/>
                <a:gd name="T86" fmla="*/ 2147483647 w 312"/>
                <a:gd name="T87" fmla="*/ 2147483647 h 499"/>
                <a:gd name="T88" fmla="*/ 2147483647 w 312"/>
                <a:gd name="T89" fmla="*/ 2147483647 h 499"/>
                <a:gd name="T90" fmla="*/ 2147483647 w 312"/>
                <a:gd name="T91" fmla="*/ 2147483647 h 499"/>
                <a:gd name="T92" fmla="*/ 2147483647 w 312"/>
                <a:gd name="T93" fmla="*/ 2147483647 h 499"/>
                <a:gd name="T94" fmla="*/ 2147483647 w 312"/>
                <a:gd name="T95" fmla="*/ 2147483647 h 499"/>
                <a:gd name="T96" fmla="*/ 2147483647 w 312"/>
                <a:gd name="T97" fmla="*/ 2147483647 h 499"/>
                <a:gd name="T98" fmla="*/ 2147483647 w 312"/>
                <a:gd name="T99" fmla="*/ 2147483647 h 499"/>
                <a:gd name="T100" fmla="*/ 2147483647 w 312"/>
                <a:gd name="T101" fmla="*/ 2147483647 h 499"/>
                <a:gd name="T102" fmla="*/ 2147483647 w 312"/>
                <a:gd name="T103" fmla="*/ 2147483647 h 499"/>
                <a:gd name="T104" fmla="*/ 2147483647 w 312"/>
                <a:gd name="T105" fmla="*/ 2147483647 h 499"/>
                <a:gd name="T106" fmla="*/ 2147483647 w 312"/>
                <a:gd name="T107" fmla="*/ 2147483647 h 49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12"/>
                <a:gd name="T163" fmla="*/ 0 h 499"/>
                <a:gd name="T164" fmla="*/ 312 w 312"/>
                <a:gd name="T165" fmla="*/ 499 h 49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12" h="499">
                  <a:moveTo>
                    <a:pt x="108" y="499"/>
                  </a:moveTo>
                  <a:lnTo>
                    <a:pt x="102" y="499"/>
                  </a:lnTo>
                  <a:lnTo>
                    <a:pt x="96" y="499"/>
                  </a:lnTo>
                  <a:lnTo>
                    <a:pt x="91" y="499"/>
                  </a:lnTo>
                  <a:lnTo>
                    <a:pt x="85" y="499"/>
                  </a:lnTo>
                  <a:lnTo>
                    <a:pt x="73" y="499"/>
                  </a:lnTo>
                  <a:lnTo>
                    <a:pt x="62" y="493"/>
                  </a:lnTo>
                  <a:lnTo>
                    <a:pt x="56" y="499"/>
                  </a:lnTo>
                  <a:lnTo>
                    <a:pt x="51" y="499"/>
                  </a:lnTo>
                  <a:lnTo>
                    <a:pt x="45" y="499"/>
                  </a:lnTo>
                  <a:lnTo>
                    <a:pt x="39" y="499"/>
                  </a:lnTo>
                  <a:lnTo>
                    <a:pt x="34" y="499"/>
                  </a:lnTo>
                  <a:lnTo>
                    <a:pt x="28" y="499"/>
                  </a:lnTo>
                  <a:lnTo>
                    <a:pt x="22" y="499"/>
                  </a:lnTo>
                  <a:lnTo>
                    <a:pt x="17" y="499"/>
                  </a:lnTo>
                  <a:lnTo>
                    <a:pt x="11" y="493"/>
                  </a:lnTo>
                  <a:lnTo>
                    <a:pt x="5" y="493"/>
                  </a:lnTo>
                  <a:lnTo>
                    <a:pt x="5" y="488"/>
                  </a:lnTo>
                  <a:lnTo>
                    <a:pt x="0" y="482"/>
                  </a:lnTo>
                  <a:lnTo>
                    <a:pt x="5" y="476"/>
                  </a:lnTo>
                  <a:lnTo>
                    <a:pt x="5" y="471"/>
                  </a:lnTo>
                  <a:lnTo>
                    <a:pt x="5" y="465"/>
                  </a:lnTo>
                  <a:lnTo>
                    <a:pt x="5" y="459"/>
                  </a:lnTo>
                  <a:lnTo>
                    <a:pt x="11" y="454"/>
                  </a:lnTo>
                  <a:lnTo>
                    <a:pt x="17" y="454"/>
                  </a:lnTo>
                  <a:lnTo>
                    <a:pt x="28" y="454"/>
                  </a:lnTo>
                  <a:lnTo>
                    <a:pt x="28" y="448"/>
                  </a:lnTo>
                  <a:lnTo>
                    <a:pt x="34" y="448"/>
                  </a:lnTo>
                  <a:lnTo>
                    <a:pt x="34" y="442"/>
                  </a:lnTo>
                  <a:lnTo>
                    <a:pt x="34" y="437"/>
                  </a:lnTo>
                  <a:lnTo>
                    <a:pt x="39" y="437"/>
                  </a:lnTo>
                  <a:lnTo>
                    <a:pt x="39" y="431"/>
                  </a:lnTo>
                  <a:lnTo>
                    <a:pt x="39" y="425"/>
                  </a:lnTo>
                  <a:lnTo>
                    <a:pt x="39" y="420"/>
                  </a:lnTo>
                  <a:lnTo>
                    <a:pt x="39" y="397"/>
                  </a:lnTo>
                  <a:lnTo>
                    <a:pt x="39" y="386"/>
                  </a:lnTo>
                  <a:lnTo>
                    <a:pt x="34" y="380"/>
                  </a:lnTo>
                  <a:lnTo>
                    <a:pt x="34" y="374"/>
                  </a:lnTo>
                  <a:lnTo>
                    <a:pt x="34" y="368"/>
                  </a:lnTo>
                  <a:lnTo>
                    <a:pt x="34" y="357"/>
                  </a:lnTo>
                  <a:lnTo>
                    <a:pt x="39" y="357"/>
                  </a:lnTo>
                  <a:lnTo>
                    <a:pt x="39" y="346"/>
                  </a:lnTo>
                  <a:lnTo>
                    <a:pt x="45" y="340"/>
                  </a:lnTo>
                  <a:lnTo>
                    <a:pt x="45" y="334"/>
                  </a:lnTo>
                  <a:lnTo>
                    <a:pt x="51" y="329"/>
                  </a:lnTo>
                  <a:lnTo>
                    <a:pt x="56" y="323"/>
                  </a:lnTo>
                  <a:lnTo>
                    <a:pt x="56" y="317"/>
                  </a:lnTo>
                  <a:lnTo>
                    <a:pt x="56" y="312"/>
                  </a:lnTo>
                  <a:lnTo>
                    <a:pt x="62" y="306"/>
                  </a:lnTo>
                  <a:lnTo>
                    <a:pt x="62" y="295"/>
                  </a:lnTo>
                  <a:lnTo>
                    <a:pt x="68" y="289"/>
                  </a:lnTo>
                  <a:lnTo>
                    <a:pt x="73" y="289"/>
                  </a:lnTo>
                  <a:lnTo>
                    <a:pt x="73" y="283"/>
                  </a:lnTo>
                  <a:lnTo>
                    <a:pt x="79" y="278"/>
                  </a:lnTo>
                  <a:lnTo>
                    <a:pt x="79" y="272"/>
                  </a:lnTo>
                  <a:lnTo>
                    <a:pt x="85" y="272"/>
                  </a:lnTo>
                  <a:lnTo>
                    <a:pt x="85" y="266"/>
                  </a:lnTo>
                  <a:lnTo>
                    <a:pt x="85" y="261"/>
                  </a:lnTo>
                  <a:lnTo>
                    <a:pt x="91" y="255"/>
                  </a:lnTo>
                  <a:lnTo>
                    <a:pt x="91" y="249"/>
                  </a:lnTo>
                  <a:lnTo>
                    <a:pt x="96" y="244"/>
                  </a:lnTo>
                  <a:lnTo>
                    <a:pt x="102" y="232"/>
                  </a:lnTo>
                  <a:lnTo>
                    <a:pt x="102" y="227"/>
                  </a:lnTo>
                  <a:lnTo>
                    <a:pt x="102" y="221"/>
                  </a:lnTo>
                  <a:lnTo>
                    <a:pt x="96" y="221"/>
                  </a:lnTo>
                  <a:lnTo>
                    <a:pt x="96" y="215"/>
                  </a:lnTo>
                  <a:lnTo>
                    <a:pt x="91" y="210"/>
                  </a:lnTo>
                  <a:lnTo>
                    <a:pt x="91" y="204"/>
                  </a:lnTo>
                  <a:lnTo>
                    <a:pt x="85" y="204"/>
                  </a:lnTo>
                  <a:lnTo>
                    <a:pt x="85" y="198"/>
                  </a:lnTo>
                  <a:lnTo>
                    <a:pt x="85" y="193"/>
                  </a:lnTo>
                  <a:lnTo>
                    <a:pt x="91" y="198"/>
                  </a:lnTo>
                  <a:lnTo>
                    <a:pt x="91" y="193"/>
                  </a:lnTo>
                  <a:lnTo>
                    <a:pt x="91" y="187"/>
                  </a:lnTo>
                  <a:lnTo>
                    <a:pt x="91" y="181"/>
                  </a:lnTo>
                  <a:lnTo>
                    <a:pt x="91" y="176"/>
                  </a:lnTo>
                  <a:lnTo>
                    <a:pt x="91" y="164"/>
                  </a:lnTo>
                  <a:lnTo>
                    <a:pt x="91" y="153"/>
                  </a:lnTo>
                  <a:lnTo>
                    <a:pt x="91" y="147"/>
                  </a:lnTo>
                  <a:lnTo>
                    <a:pt x="91" y="142"/>
                  </a:lnTo>
                  <a:lnTo>
                    <a:pt x="91" y="136"/>
                  </a:lnTo>
                  <a:lnTo>
                    <a:pt x="91" y="130"/>
                  </a:lnTo>
                  <a:lnTo>
                    <a:pt x="85" y="130"/>
                  </a:lnTo>
                  <a:lnTo>
                    <a:pt x="85" y="125"/>
                  </a:lnTo>
                  <a:lnTo>
                    <a:pt x="79" y="125"/>
                  </a:lnTo>
                  <a:lnTo>
                    <a:pt x="73" y="119"/>
                  </a:lnTo>
                  <a:lnTo>
                    <a:pt x="62" y="119"/>
                  </a:lnTo>
                  <a:lnTo>
                    <a:pt x="56" y="119"/>
                  </a:lnTo>
                  <a:lnTo>
                    <a:pt x="51" y="113"/>
                  </a:lnTo>
                  <a:lnTo>
                    <a:pt x="45" y="108"/>
                  </a:lnTo>
                  <a:lnTo>
                    <a:pt x="39" y="108"/>
                  </a:lnTo>
                  <a:lnTo>
                    <a:pt x="39" y="102"/>
                  </a:lnTo>
                  <a:lnTo>
                    <a:pt x="45" y="91"/>
                  </a:lnTo>
                  <a:lnTo>
                    <a:pt x="45" y="85"/>
                  </a:lnTo>
                  <a:lnTo>
                    <a:pt x="56" y="79"/>
                  </a:lnTo>
                  <a:lnTo>
                    <a:pt x="62" y="79"/>
                  </a:lnTo>
                  <a:lnTo>
                    <a:pt x="68" y="79"/>
                  </a:lnTo>
                  <a:lnTo>
                    <a:pt x="73" y="79"/>
                  </a:lnTo>
                  <a:lnTo>
                    <a:pt x="73" y="74"/>
                  </a:lnTo>
                  <a:lnTo>
                    <a:pt x="79" y="74"/>
                  </a:lnTo>
                  <a:lnTo>
                    <a:pt x="85" y="74"/>
                  </a:lnTo>
                  <a:lnTo>
                    <a:pt x="85" y="79"/>
                  </a:lnTo>
                  <a:lnTo>
                    <a:pt x="91" y="85"/>
                  </a:lnTo>
                  <a:lnTo>
                    <a:pt x="91" y="91"/>
                  </a:lnTo>
                  <a:lnTo>
                    <a:pt x="96" y="91"/>
                  </a:lnTo>
                  <a:lnTo>
                    <a:pt x="102" y="85"/>
                  </a:lnTo>
                  <a:lnTo>
                    <a:pt x="108" y="85"/>
                  </a:lnTo>
                  <a:lnTo>
                    <a:pt x="113" y="79"/>
                  </a:lnTo>
                  <a:lnTo>
                    <a:pt x="113" y="85"/>
                  </a:lnTo>
                  <a:lnTo>
                    <a:pt x="125" y="85"/>
                  </a:lnTo>
                  <a:lnTo>
                    <a:pt x="130" y="85"/>
                  </a:lnTo>
                  <a:lnTo>
                    <a:pt x="130" y="91"/>
                  </a:lnTo>
                  <a:lnTo>
                    <a:pt x="136" y="91"/>
                  </a:lnTo>
                  <a:lnTo>
                    <a:pt x="142" y="91"/>
                  </a:lnTo>
                  <a:lnTo>
                    <a:pt x="142" y="96"/>
                  </a:lnTo>
                  <a:lnTo>
                    <a:pt x="147" y="96"/>
                  </a:lnTo>
                  <a:lnTo>
                    <a:pt x="153" y="96"/>
                  </a:lnTo>
                  <a:lnTo>
                    <a:pt x="159" y="96"/>
                  </a:lnTo>
                  <a:lnTo>
                    <a:pt x="170" y="102"/>
                  </a:lnTo>
                  <a:lnTo>
                    <a:pt x="181" y="108"/>
                  </a:lnTo>
                  <a:lnTo>
                    <a:pt x="187" y="113"/>
                  </a:lnTo>
                  <a:lnTo>
                    <a:pt x="187" y="119"/>
                  </a:lnTo>
                  <a:lnTo>
                    <a:pt x="193" y="119"/>
                  </a:lnTo>
                  <a:lnTo>
                    <a:pt x="198" y="119"/>
                  </a:lnTo>
                  <a:lnTo>
                    <a:pt x="198" y="113"/>
                  </a:lnTo>
                  <a:lnTo>
                    <a:pt x="198" y="108"/>
                  </a:lnTo>
                  <a:lnTo>
                    <a:pt x="198" y="102"/>
                  </a:lnTo>
                  <a:lnTo>
                    <a:pt x="198" y="96"/>
                  </a:lnTo>
                  <a:lnTo>
                    <a:pt x="198" y="91"/>
                  </a:lnTo>
                  <a:lnTo>
                    <a:pt x="193" y="91"/>
                  </a:lnTo>
                  <a:lnTo>
                    <a:pt x="193" y="85"/>
                  </a:lnTo>
                  <a:lnTo>
                    <a:pt x="193" y="79"/>
                  </a:lnTo>
                  <a:lnTo>
                    <a:pt x="198" y="79"/>
                  </a:lnTo>
                  <a:lnTo>
                    <a:pt x="198" y="74"/>
                  </a:lnTo>
                  <a:lnTo>
                    <a:pt x="210" y="68"/>
                  </a:lnTo>
                  <a:lnTo>
                    <a:pt x="210" y="62"/>
                  </a:lnTo>
                  <a:lnTo>
                    <a:pt x="215" y="57"/>
                  </a:lnTo>
                  <a:lnTo>
                    <a:pt x="215" y="51"/>
                  </a:lnTo>
                  <a:lnTo>
                    <a:pt x="215" y="40"/>
                  </a:lnTo>
                  <a:lnTo>
                    <a:pt x="215" y="34"/>
                  </a:lnTo>
                  <a:lnTo>
                    <a:pt x="210" y="17"/>
                  </a:lnTo>
                  <a:lnTo>
                    <a:pt x="210" y="11"/>
                  </a:lnTo>
                  <a:lnTo>
                    <a:pt x="210" y="6"/>
                  </a:lnTo>
                  <a:lnTo>
                    <a:pt x="215" y="6"/>
                  </a:lnTo>
                  <a:lnTo>
                    <a:pt x="215" y="0"/>
                  </a:lnTo>
                  <a:lnTo>
                    <a:pt x="221" y="0"/>
                  </a:lnTo>
                  <a:lnTo>
                    <a:pt x="227" y="0"/>
                  </a:lnTo>
                  <a:lnTo>
                    <a:pt x="232" y="6"/>
                  </a:lnTo>
                  <a:lnTo>
                    <a:pt x="238" y="6"/>
                  </a:lnTo>
                  <a:lnTo>
                    <a:pt x="244" y="11"/>
                  </a:lnTo>
                  <a:lnTo>
                    <a:pt x="249" y="11"/>
                  </a:lnTo>
                  <a:lnTo>
                    <a:pt x="249" y="17"/>
                  </a:lnTo>
                  <a:lnTo>
                    <a:pt x="255" y="17"/>
                  </a:lnTo>
                  <a:lnTo>
                    <a:pt x="255" y="23"/>
                  </a:lnTo>
                  <a:lnTo>
                    <a:pt x="266" y="23"/>
                  </a:lnTo>
                  <a:lnTo>
                    <a:pt x="272" y="23"/>
                  </a:lnTo>
                  <a:lnTo>
                    <a:pt x="272" y="28"/>
                  </a:lnTo>
                  <a:lnTo>
                    <a:pt x="272" y="34"/>
                  </a:lnTo>
                  <a:lnTo>
                    <a:pt x="272" y="40"/>
                  </a:lnTo>
                  <a:lnTo>
                    <a:pt x="278" y="40"/>
                  </a:lnTo>
                  <a:lnTo>
                    <a:pt x="278" y="45"/>
                  </a:lnTo>
                  <a:lnTo>
                    <a:pt x="278" y="51"/>
                  </a:lnTo>
                  <a:lnTo>
                    <a:pt x="283" y="51"/>
                  </a:lnTo>
                  <a:lnTo>
                    <a:pt x="283" y="57"/>
                  </a:lnTo>
                  <a:lnTo>
                    <a:pt x="289" y="57"/>
                  </a:lnTo>
                  <a:lnTo>
                    <a:pt x="289" y="62"/>
                  </a:lnTo>
                  <a:lnTo>
                    <a:pt x="295" y="62"/>
                  </a:lnTo>
                  <a:lnTo>
                    <a:pt x="295" y="68"/>
                  </a:lnTo>
                  <a:lnTo>
                    <a:pt x="300" y="68"/>
                  </a:lnTo>
                  <a:lnTo>
                    <a:pt x="300" y="74"/>
                  </a:lnTo>
                  <a:lnTo>
                    <a:pt x="306" y="79"/>
                  </a:lnTo>
                  <a:lnTo>
                    <a:pt x="312" y="79"/>
                  </a:lnTo>
                  <a:lnTo>
                    <a:pt x="295" y="79"/>
                  </a:lnTo>
                  <a:lnTo>
                    <a:pt x="283" y="85"/>
                  </a:lnTo>
                  <a:lnTo>
                    <a:pt x="283" y="91"/>
                  </a:lnTo>
                  <a:lnTo>
                    <a:pt x="283" y="96"/>
                  </a:lnTo>
                  <a:lnTo>
                    <a:pt x="289" y="102"/>
                  </a:lnTo>
                  <a:lnTo>
                    <a:pt x="289" y="108"/>
                  </a:lnTo>
                  <a:lnTo>
                    <a:pt x="283" y="119"/>
                  </a:lnTo>
                  <a:lnTo>
                    <a:pt x="283" y="136"/>
                  </a:lnTo>
                  <a:lnTo>
                    <a:pt x="272" y="142"/>
                  </a:lnTo>
                  <a:lnTo>
                    <a:pt x="266" y="147"/>
                  </a:lnTo>
                  <a:lnTo>
                    <a:pt x="272" y="153"/>
                  </a:lnTo>
                  <a:lnTo>
                    <a:pt x="272" y="164"/>
                  </a:lnTo>
                  <a:lnTo>
                    <a:pt x="266" y="170"/>
                  </a:lnTo>
                  <a:lnTo>
                    <a:pt x="266" y="176"/>
                  </a:lnTo>
                  <a:lnTo>
                    <a:pt x="261" y="176"/>
                  </a:lnTo>
                  <a:lnTo>
                    <a:pt x="255" y="187"/>
                  </a:lnTo>
                  <a:lnTo>
                    <a:pt x="249" y="193"/>
                  </a:lnTo>
                  <a:lnTo>
                    <a:pt x="255" y="198"/>
                  </a:lnTo>
                  <a:lnTo>
                    <a:pt x="255" y="204"/>
                  </a:lnTo>
                  <a:lnTo>
                    <a:pt x="255" y="215"/>
                  </a:lnTo>
                  <a:lnTo>
                    <a:pt x="255" y="227"/>
                  </a:lnTo>
                  <a:lnTo>
                    <a:pt x="261" y="244"/>
                  </a:lnTo>
                  <a:lnTo>
                    <a:pt x="261" y="249"/>
                  </a:lnTo>
                  <a:lnTo>
                    <a:pt x="261" y="255"/>
                  </a:lnTo>
                  <a:lnTo>
                    <a:pt x="261" y="261"/>
                  </a:lnTo>
                  <a:lnTo>
                    <a:pt x="266" y="272"/>
                  </a:lnTo>
                  <a:lnTo>
                    <a:pt x="272" y="283"/>
                  </a:lnTo>
                  <a:lnTo>
                    <a:pt x="272" y="289"/>
                  </a:lnTo>
                  <a:lnTo>
                    <a:pt x="272" y="295"/>
                  </a:lnTo>
                  <a:lnTo>
                    <a:pt x="278" y="300"/>
                  </a:lnTo>
                  <a:lnTo>
                    <a:pt x="272" y="312"/>
                  </a:lnTo>
                  <a:lnTo>
                    <a:pt x="266" y="312"/>
                  </a:lnTo>
                  <a:lnTo>
                    <a:pt x="255" y="306"/>
                  </a:lnTo>
                  <a:lnTo>
                    <a:pt x="255" y="300"/>
                  </a:lnTo>
                  <a:lnTo>
                    <a:pt x="249" y="306"/>
                  </a:lnTo>
                  <a:lnTo>
                    <a:pt x="244" y="312"/>
                  </a:lnTo>
                  <a:lnTo>
                    <a:pt x="238" y="306"/>
                  </a:lnTo>
                  <a:lnTo>
                    <a:pt x="232" y="300"/>
                  </a:lnTo>
                  <a:lnTo>
                    <a:pt x="221" y="289"/>
                  </a:lnTo>
                  <a:lnTo>
                    <a:pt x="215" y="283"/>
                  </a:lnTo>
                  <a:lnTo>
                    <a:pt x="215" y="272"/>
                  </a:lnTo>
                  <a:lnTo>
                    <a:pt x="210" y="261"/>
                  </a:lnTo>
                  <a:lnTo>
                    <a:pt x="198" y="255"/>
                  </a:lnTo>
                  <a:lnTo>
                    <a:pt x="193" y="255"/>
                  </a:lnTo>
                  <a:lnTo>
                    <a:pt x="187" y="261"/>
                  </a:lnTo>
                  <a:lnTo>
                    <a:pt x="187" y="266"/>
                  </a:lnTo>
                  <a:lnTo>
                    <a:pt x="187" y="278"/>
                  </a:lnTo>
                  <a:lnTo>
                    <a:pt x="181" y="283"/>
                  </a:lnTo>
                  <a:lnTo>
                    <a:pt x="176" y="289"/>
                  </a:lnTo>
                  <a:lnTo>
                    <a:pt x="170" y="289"/>
                  </a:lnTo>
                  <a:lnTo>
                    <a:pt x="164" y="289"/>
                  </a:lnTo>
                  <a:lnTo>
                    <a:pt x="159" y="295"/>
                  </a:lnTo>
                  <a:lnTo>
                    <a:pt x="153" y="300"/>
                  </a:lnTo>
                  <a:lnTo>
                    <a:pt x="153" y="312"/>
                  </a:lnTo>
                  <a:lnTo>
                    <a:pt x="164" y="312"/>
                  </a:lnTo>
                  <a:lnTo>
                    <a:pt x="170" y="317"/>
                  </a:lnTo>
                  <a:lnTo>
                    <a:pt x="170" y="323"/>
                  </a:lnTo>
                  <a:lnTo>
                    <a:pt x="164" y="329"/>
                  </a:lnTo>
                  <a:lnTo>
                    <a:pt x="153" y="329"/>
                  </a:lnTo>
                  <a:lnTo>
                    <a:pt x="142" y="329"/>
                  </a:lnTo>
                  <a:lnTo>
                    <a:pt x="130" y="329"/>
                  </a:lnTo>
                  <a:lnTo>
                    <a:pt x="130" y="334"/>
                  </a:lnTo>
                  <a:lnTo>
                    <a:pt x="125" y="334"/>
                  </a:lnTo>
                  <a:lnTo>
                    <a:pt x="125" y="340"/>
                  </a:lnTo>
                  <a:lnTo>
                    <a:pt x="130" y="340"/>
                  </a:lnTo>
                  <a:lnTo>
                    <a:pt x="130" y="346"/>
                  </a:lnTo>
                  <a:lnTo>
                    <a:pt x="142" y="346"/>
                  </a:lnTo>
                  <a:lnTo>
                    <a:pt x="136" y="351"/>
                  </a:lnTo>
                  <a:lnTo>
                    <a:pt x="130" y="351"/>
                  </a:lnTo>
                  <a:lnTo>
                    <a:pt x="125" y="363"/>
                  </a:lnTo>
                  <a:lnTo>
                    <a:pt x="125" y="368"/>
                  </a:lnTo>
                  <a:lnTo>
                    <a:pt x="125" y="374"/>
                  </a:lnTo>
                  <a:lnTo>
                    <a:pt x="125" y="386"/>
                  </a:lnTo>
                  <a:lnTo>
                    <a:pt x="125" y="391"/>
                  </a:lnTo>
                  <a:lnTo>
                    <a:pt x="130" y="397"/>
                  </a:lnTo>
                  <a:lnTo>
                    <a:pt x="125" y="408"/>
                  </a:lnTo>
                  <a:lnTo>
                    <a:pt x="125" y="420"/>
                  </a:lnTo>
                  <a:lnTo>
                    <a:pt x="119" y="425"/>
                  </a:lnTo>
                  <a:lnTo>
                    <a:pt x="113" y="431"/>
                  </a:lnTo>
                  <a:lnTo>
                    <a:pt x="113" y="437"/>
                  </a:lnTo>
                  <a:lnTo>
                    <a:pt x="108" y="437"/>
                  </a:lnTo>
                  <a:lnTo>
                    <a:pt x="102" y="442"/>
                  </a:lnTo>
                  <a:lnTo>
                    <a:pt x="102" y="448"/>
                  </a:lnTo>
                  <a:lnTo>
                    <a:pt x="108" y="448"/>
                  </a:lnTo>
                  <a:lnTo>
                    <a:pt x="119" y="448"/>
                  </a:lnTo>
                  <a:lnTo>
                    <a:pt x="125" y="442"/>
                  </a:lnTo>
                  <a:lnTo>
                    <a:pt x="125" y="448"/>
                  </a:lnTo>
                  <a:lnTo>
                    <a:pt x="125" y="454"/>
                  </a:lnTo>
                  <a:lnTo>
                    <a:pt x="119" y="454"/>
                  </a:lnTo>
                  <a:lnTo>
                    <a:pt x="113" y="465"/>
                  </a:lnTo>
                  <a:lnTo>
                    <a:pt x="108" y="465"/>
                  </a:lnTo>
                  <a:lnTo>
                    <a:pt x="108" y="471"/>
                  </a:lnTo>
                  <a:lnTo>
                    <a:pt x="102" y="471"/>
                  </a:lnTo>
                  <a:lnTo>
                    <a:pt x="113" y="476"/>
                  </a:lnTo>
                  <a:lnTo>
                    <a:pt x="113" y="482"/>
                  </a:lnTo>
                  <a:lnTo>
                    <a:pt x="119" y="482"/>
                  </a:lnTo>
                  <a:lnTo>
                    <a:pt x="119" y="488"/>
                  </a:lnTo>
                  <a:lnTo>
                    <a:pt x="113" y="493"/>
                  </a:lnTo>
                  <a:lnTo>
                    <a:pt x="113" y="499"/>
                  </a:lnTo>
                  <a:lnTo>
                    <a:pt x="108" y="499"/>
                  </a:lnTo>
                  <a:close/>
                </a:path>
              </a:pathLst>
            </a:custGeom>
            <a:solidFill>
              <a:schemeClr val="bg1">
                <a:lumMod val="95000"/>
              </a:schemeClr>
            </a:solidFill>
            <a:ln w="25400">
              <a:solidFill>
                <a:srgbClr val="B4B4B4"/>
              </a:solidFill>
              <a:round/>
              <a:headEnd/>
              <a:tailEnd/>
            </a:ln>
          </p:spPr>
          <p:txBody>
            <a:bodyPr lIns="93296" tIns="46648" rIns="93296" bIns="46648"/>
            <a:lstStyle/>
            <a:p>
              <a:pPr>
                <a:defRPr/>
              </a:pPr>
              <a:endParaRPr lang="en-US" sz="1000" kern="0">
                <a:solidFill>
                  <a:prstClr val="black">
                    <a:lumMod val="65000"/>
                    <a:lumOff val="35000"/>
                  </a:prstClr>
                </a:solidFill>
              </a:endParaRPr>
            </a:p>
          </p:txBody>
        </p:sp>
        <p:sp>
          <p:nvSpPr>
            <p:cNvPr id="31" name="Freeform 30"/>
            <p:cNvSpPr>
              <a:spLocks noEditPoints="1"/>
            </p:cNvSpPr>
            <p:nvPr/>
          </p:nvSpPr>
          <p:spPr bwMode="gray">
            <a:xfrm>
              <a:off x="2561753" y="4622860"/>
              <a:ext cx="444280" cy="499115"/>
            </a:xfrm>
            <a:custGeom>
              <a:avLst/>
              <a:gdLst>
                <a:gd name="T0" fmla="*/ 2147483647 w 317"/>
                <a:gd name="T1" fmla="*/ 2147483647 h 374"/>
                <a:gd name="T2" fmla="*/ 0 w 317"/>
                <a:gd name="T3" fmla="*/ 2147483647 h 374"/>
                <a:gd name="T4" fmla="*/ 2147483647 w 317"/>
                <a:gd name="T5" fmla="*/ 2147483647 h 374"/>
                <a:gd name="T6" fmla="*/ 2147483647 w 317"/>
                <a:gd name="T7" fmla="*/ 2147483647 h 374"/>
                <a:gd name="T8" fmla="*/ 2147483647 w 317"/>
                <a:gd name="T9" fmla="*/ 2147483647 h 374"/>
                <a:gd name="T10" fmla="*/ 2147483647 w 317"/>
                <a:gd name="T11" fmla="*/ 2147483647 h 374"/>
                <a:gd name="T12" fmla="*/ 2147483647 w 317"/>
                <a:gd name="T13" fmla="*/ 2147483647 h 374"/>
                <a:gd name="T14" fmla="*/ 2147483647 w 317"/>
                <a:gd name="T15" fmla="*/ 2147483647 h 374"/>
                <a:gd name="T16" fmla="*/ 2147483647 w 317"/>
                <a:gd name="T17" fmla="*/ 2147483647 h 374"/>
                <a:gd name="T18" fmla="*/ 2147483647 w 317"/>
                <a:gd name="T19" fmla="*/ 2147483647 h 374"/>
                <a:gd name="T20" fmla="*/ 2147483647 w 317"/>
                <a:gd name="T21" fmla="*/ 2147483647 h 374"/>
                <a:gd name="T22" fmla="*/ 2147483647 w 317"/>
                <a:gd name="T23" fmla="*/ 2147483647 h 374"/>
                <a:gd name="T24" fmla="*/ 2147483647 w 317"/>
                <a:gd name="T25" fmla="*/ 2147483647 h 374"/>
                <a:gd name="T26" fmla="*/ 2147483647 w 317"/>
                <a:gd name="T27" fmla="*/ 2147483647 h 374"/>
                <a:gd name="T28" fmla="*/ 2147483647 w 317"/>
                <a:gd name="T29" fmla="*/ 2147483647 h 374"/>
                <a:gd name="T30" fmla="*/ 2147483647 w 317"/>
                <a:gd name="T31" fmla="*/ 2147483647 h 374"/>
                <a:gd name="T32" fmla="*/ 2147483647 w 317"/>
                <a:gd name="T33" fmla="*/ 2147483647 h 374"/>
                <a:gd name="T34" fmla="*/ 2147483647 w 317"/>
                <a:gd name="T35" fmla="*/ 2147483647 h 374"/>
                <a:gd name="T36" fmla="*/ 2147483647 w 317"/>
                <a:gd name="T37" fmla="*/ 2147483647 h 374"/>
                <a:gd name="T38" fmla="*/ 2147483647 w 317"/>
                <a:gd name="T39" fmla="*/ 2147483647 h 374"/>
                <a:gd name="T40" fmla="*/ 2147483647 w 317"/>
                <a:gd name="T41" fmla="*/ 2147483647 h 374"/>
                <a:gd name="T42" fmla="*/ 2147483647 w 317"/>
                <a:gd name="T43" fmla="*/ 2147483647 h 374"/>
                <a:gd name="T44" fmla="*/ 2147483647 w 317"/>
                <a:gd name="T45" fmla="*/ 2147483647 h 374"/>
                <a:gd name="T46" fmla="*/ 2147483647 w 317"/>
                <a:gd name="T47" fmla="*/ 2147483647 h 374"/>
                <a:gd name="T48" fmla="*/ 2147483647 w 317"/>
                <a:gd name="T49" fmla="*/ 2147483647 h 374"/>
                <a:gd name="T50" fmla="*/ 2147483647 w 317"/>
                <a:gd name="T51" fmla="*/ 2147483647 h 374"/>
                <a:gd name="T52" fmla="*/ 2147483647 w 317"/>
                <a:gd name="T53" fmla="*/ 2147483647 h 374"/>
                <a:gd name="T54" fmla="*/ 2147483647 w 317"/>
                <a:gd name="T55" fmla="*/ 2147483647 h 374"/>
                <a:gd name="T56" fmla="*/ 2147483647 w 317"/>
                <a:gd name="T57" fmla="*/ 2147483647 h 374"/>
                <a:gd name="T58" fmla="*/ 2147483647 w 317"/>
                <a:gd name="T59" fmla="*/ 2147483647 h 374"/>
                <a:gd name="T60" fmla="*/ 2147483647 w 317"/>
                <a:gd name="T61" fmla="*/ 2147483647 h 374"/>
                <a:gd name="T62" fmla="*/ 2147483647 w 317"/>
                <a:gd name="T63" fmla="*/ 2147483647 h 374"/>
                <a:gd name="T64" fmla="*/ 2147483647 w 317"/>
                <a:gd name="T65" fmla="*/ 2147483647 h 374"/>
                <a:gd name="T66" fmla="*/ 2147483647 w 317"/>
                <a:gd name="T67" fmla="*/ 2147483647 h 374"/>
                <a:gd name="T68" fmla="*/ 2147483647 w 317"/>
                <a:gd name="T69" fmla="*/ 2147483647 h 374"/>
                <a:gd name="T70" fmla="*/ 2147483647 w 317"/>
                <a:gd name="T71" fmla="*/ 2147483647 h 374"/>
                <a:gd name="T72" fmla="*/ 2147483647 w 317"/>
                <a:gd name="T73" fmla="*/ 2147483647 h 374"/>
                <a:gd name="T74" fmla="*/ 2147483647 w 317"/>
                <a:gd name="T75" fmla="*/ 2147483647 h 374"/>
                <a:gd name="T76" fmla="*/ 2147483647 w 317"/>
                <a:gd name="T77" fmla="*/ 2147483647 h 374"/>
                <a:gd name="T78" fmla="*/ 2147483647 w 317"/>
                <a:gd name="T79" fmla="*/ 2147483647 h 374"/>
                <a:gd name="T80" fmla="*/ 2147483647 w 317"/>
                <a:gd name="T81" fmla="*/ 2147483647 h 374"/>
                <a:gd name="T82" fmla="*/ 2147483647 w 317"/>
                <a:gd name="T83" fmla="*/ 2147483647 h 374"/>
                <a:gd name="T84" fmla="*/ 2147483647 w 317"/>
                <a:gd name="T85" fmla="*/ 2147483647 h 374"/>
                <a:gd name="T86" fmla="*/ 2147483647 w 317"/>
                <a:gd name="T87" fmla="*/ 2147483647 h 374"/>
                <a:gd name="T88" fmla="*/ 2147483647 w 317"/>
                <a:gd name="T89" fmla="*/ 2147483647 h 374"/>
                <a:gd name="T90" fmla="*/ 2147483647 w 317"/>
                <a:gd name="T91" fmla="*/ 2147483647 h 374"/>
                <a:gd name="T92" fmla="*/ 2147483647 w 317"/>
                <a:gd name="T93" fmla="*/ 2147483647 h 374"/>
                <a:gd name="T94" fmla="*/ 2147483647 w 317"/>
                <a:gd name="T95" fmla="*/ 2147483647 h 374"/>
                <a:gd name="T96" fmla="*/ 2147483647 w 317"/>
                <a:gd name="T97" fmla="*/ 2147483647 h 37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17"/>
                <a:gd name="T148" fmla="*/ 0 h 374"/>
                <a:gd name="T149" fmla="*/ 317 w 317"/>
                <a:gd name="T150" fmla="*/ 374 h 37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17" h="374">
                  <a:moveTo>
                    <a:pt x="6" y="244"/>
                  </a:moveTo>
                  <a:lnTo>
                    <a:pt x="11" y="244"/>
                  </a:lnTo>
                  <a:lnTo>
                    <a:pt x="11" y="238"/>
                  </a:lnTo>
                  <a:lnTo>
                    <a:pt x="17" y="233"/>
                  </a:lnTo>
                  <a:lnTo>
                    <a:pt x="17" y="227"/>
                  </a:lnTo>
                  <a:lnTo>
                    <a:pt x="11" y="227"/>
                  </a:lnTo>
                  <a:lnTo>
                    <a:pt x="11" y="221"/>
                  </a:lnTo>
                  <a:lnTo>
                    <a:pt x="0" y="216"/>
                  </a:lnTo>
                  <a:lnTo>
                    <a:pt x="6" y="216"/>
                  </a:lnTo>
                  <a:lnTo>
                    <a:pt x="6" y="210"/>
                  </a:lnTo>
                  <a:lnTo>
                    <a:pt x="11" y="210"/>
                  </a:lnTo>
                  <a:lnTo>
                    <a:pt x="17" y="199"/>
                  </a:lnTo>
                  <a:lnTo>
                    <a:pt x="23" y="199"/>
                  </a:lnTo>
                  <a:lnTo>
                    <a:pt x="23" y="193"/>
                  </a:lnTo>
                  <a:lnTo>
                    <a:pt x="23" y="187"/>
                  </a:lnTo>
                  <a:lnTo>
                    <a:pt x="17" y="193"/>
                  </a:lnTo>
                  <a:lnTo>
                    <a:pt x="6" y="193"/>
                  </a:lnTo>
                  <a:lnTo>
                    <a:pt x="0" y="193"/>
                  </a:lnTo>
                  <a:lnTo>
                    <a:pt x="0" y="187"/>
                  </a:lnTo>
                  <a:lnTo>
                    <a:pt x="6" y="182"/>
                  </a:lnTo>
                  <a:lnTo>
                    <a:pt x="11" y="182"/>
                  </a:lnTo>
                  <a:lnTo>
                    <a:pt x="11" y="176"/>
                  </a:lnTo>
                  <a:lnTo>
                    <a:pt x="17" y="170"/>
                  </a:lnTo>
                  <a:lnTo>
                    <a:pt x="23" y="165"/>
                  </a:lnTo>
                  <a:lnTo>
                    <a:pt x="23" y="153"/>
                  </a:lnTo>
                  <a:lnTo>
                    <a:pt x="28" y="142"/>
                  </a:lnTo>
                  <a:lnTo>
                    <a:pt x="23" y="136"/>
                  </a:lnTo>
                  <a:lnTo>
                    <a:pt x="23" y="131"/>
                  </a:lnTo>
                  <a:lnTo>
                    <a:pt x="23" y="119"/>
                  </a:lnTo>
                  <a:lnTo>
                    <a:pt x="23" y="113"/>
                  </a:lnTo>
                  <a:lnTo>
                    <a:pt x="23" y="108"/>
                  </a:lnTo>
                  <a:lnTo>
                    <a:pt x="28" y="96"/>
                  </a:lnTo>
                  <a:lnTo>
                    <a:pt x="34" y="96"/>
                  </a:lnTo>
                  <a:lnTo>
                    <a:pt x="40" y="91"/>
                  </a:lnTo>
                  <a:lnTo>
                    <a:pt x="28" y="91"/>
                  </a:lnTo>
                  <a:lnTo>
                    <a:pt x="28" y="85"/>
                  </a:lnTo>
                  <a:lnTo>
                    <a:pt x="23" y="85"/>
                  </a:lnTo>
                  <a:lnTo>
                    <a:pt x="23" y="79"/>
                  </a:lnTo>
                  <a:lnTo>
                    <a:pt x="28" y="79"/>
                  </a:lnTo>
                  <a:lnTo>
                    <a:pt x="28" y="74"/>
                  </a:lnTo>
                  <a:lnTo>
                    <a:pt x="40" y="74"/>
                  </a:lnTo>
                  <a:lnTo>
                    <a:pt x="51" y="74"/>
                  </a:lnTo>
                  <a:lnTo>
                    <a:pt x="62" y="74"/>
                  </a:lnTo>
                  <a:lnTo>
                    <a:pt x="68" y="68"/>
                  </a:lnTo>
                  <a:lnTo>
                    <a:pt x="68" y="62"/>
                  </a:lnTo>
                  <a:lnTo>
                    <a:pt x="62" y="57"/>
                  </a:lnTo>
                  <a:lnTo>
                    <a:pt x="51" y="57"/>
                  </a:lnTo>
                  <a:lnTo>
                    <a:pt x="51" y="45"/>
                  </a:lnTo>
                  <a:lnTo>
                    <a:pt x="57" y="40"/>
                  </a:lnTo>
                  <a:lnTo>
                    <a:pt x="62" y="34"/>
                  </a:lnTo>
                  <a:lnTo>
                    <a:pt x="68" y="34"/>
                  </a:lnTo>
                  <a:lnTo>
                    <a:pt x="74" y="34"/>
                  </a:lnTo>
                  <a:lnTo>
                    <a:pt x="79" y="28"/>
                  </a:lnTo>
                  <a:lnTo>
                    <a:pt x="85" y="23"/>
                  </a:lnTo>
                  <a:lnTo>
                    <a:pt x="85" y="11"/>
                  </a:lnTo>
                  <a:lnTo>
                    <a:pt x="85" y="6"/>
                  </a:lnTo>
                  <a:lnTo>
                    <a:pt x="91" y="0"/>
                  </a:lnTo>
                  <a:lnTo>
                    <a:pt x="96" y="0"/>
                  </a:lnTo>
                  <a:lnTo>
                    <a:pt x="108" y="6"/>
                  </a:lnTo>
                  <a:lnTo>
                    <a:pt x="113" y="17"/>
                  </a:lnTo>
                  <a:lnTo>
                    <a:pt x="113" y="28"/>
                  </a:lnTo>
                  <a:lnTo>
                    <a:pt x="119" y="34"/>
                  </a:lnTo>
                  <a:lnTo>
                    <a:pt x="130" y="45"/>
                  </a:lnTo>
                  <a:lnTo>
                    <a:pt x="136" y="51"/>
                  </a:lnTo>
                  <a:lnTo>
                    <a:pt x="142" y="57"/>
                  </a:lnTo>
                  <a:lnTo>
                    <a:pt x="147" y="62"/>
                  </a:lnTo>
                  <a:lnTo>
                    <a:pt x="147" y="68"/>
                  </a:lnTo>
                  <a:lnTo>
                    <a:pt x="142" y="68"/>
                  </a:lnTo>
                  <a:lnTo>
                    <a:pt x="136" y="68"/>
                  </a:lnTo>
                  <a:lnTo>
                    <a:pt x="136" y="74"/>
                  </a:lnTo>
                  <a:lnTo>
                    <a:pt x="142" y="74"/>
                  </a:lnTo>
                  <a:lnTo>
                    <a:pt x="142" y="79"/>
                  </a:lnTo>
                  <a:lnTo>
                    <a:pt x="153" y="85"/>
                  </a:lnTo>
                  <a:lnTo>
                    <a:pt x="159" y="85"/>
                  </a:lnTo>
                  <a:lnTo>
                    <a:pt x="164" y="91"/>
                  </a:lnTo>
                  <a:lnTo>
                    <a:pt x="170" y="91"/>
                  </a:lnTo>
                  <a:lnTo>
                    <a:pt x="181" y="96"/>
                  </a:lnTo>
                  <a:lnTo>
                    <a:pt x="193" y="96"/>
                  </a:lnTo>
                  <a:lnTo>
                    <a:pt x="198" y="96"/>
                  </a:lnTo>
                  <a:lnTo>
                    <a:pt x="210" y="96"/>
                  </a:lnTo>
                  <a:lnTo>
                    <a:pt x="221" y="102"/>
                  </a:lnTo>
                  <a:lnTo>
                    <a:pt x="227" y="113"/>
                  </a:lnTo>
                  <a:lnTo>
                    <a:pt x="227" y="119"/>
                  </a:lnTo>
                  <a:lnTo>
                    <a:pt x="221" y="131"/>
                  </a:lnTo>
                  <a:lnTo>
                    <a:pt x="221" y="142"/>
                  </a:lnTo>
                  <a:lnTo>
                    <a:pt x="221" y="148"/>
                  </a:lnTo>
                  <a:lnTo>
                    <a:pt x="232" y="165"/>
                  </a:lnTo>
                  <a:lnTo>
                    <a:pt x="238" y="182"/>
                  </a:lnTo>
                  <a:lnTo>
                    <a:pt x="249" y="193"/>
                  </a:lnTo>
                  <a:lnTo>
                    <a:pt x="255" y="193"/>
                  </a:lnTo>
                  <a:lnTo>
                    <a:pt x="266" y="199"/>
                  </a:lnTo>
                  <a:lnTo>
                    <a:pt x="278" y="204"/>
                  </a:lnTo>
                  <a:lnTo>
                    <a:pt x="278" y="210"/>
                  </a:lnTo>
                  <a:lnTo>
                    <a:pt x="295" y="227"/>
                  </a:lnTo>
                  <a:lnTo>
                    <a:pt x="300" y="244"/>
                  </a:lnTo>
                  <a:lnTo>
                    <a:pt x="295" y="244"/>
                  </a:lnTo>
                  <a:lnTo>
                    <a:pt x="289" y="250"/>
                  </a:lnTo>
                  <a:lnTo>
                    <a:pt x="295" y="250"/>
                  </a:lnTo>
                  <a:lnTo>
                    <a:pt x="289" y="250"/>
                  </a:lnTo>
                  <a:lnTo>
                    <a:pt x="289" y="255"/>
                  </a:lnTo>
                  <a:lnTo>
                    <a:pt x="289" y="261"/>
                  </a:lnTo>
                  <a:lnTo>
                    <a:pt x="295" y="261"/>
                  </a:lnTo>
                  <a:lnTo>
                    <a:pt x="295" y="267"/>
                  </a:lnTo>
                  <a:lnTo>
                    <a:pt x="300" y="267"/>
                  </a:lnTo>
                  <a:lnTo>
                    <a:pt x="306" y="272"/>
                  </a:lnTo>
                  <a:lnTo>
                    <a:pt x="312" y="272"/>
                  </a:lnTo>
                  <a:lnTo>
                    <a:pt x="312" y="278"/>
                  </a:lnTo>
                  <a:lnTo>
                    <a:pt x="312" y="284"/>
                  </a:lnTo>
                  <a:lnTo>
                    <a:pt x="312" y="289"/>
                  </a:lnTo>
                  <a:lnTo>
                    <a:pt x="306" y="289"/>
                  </a:lnTo>
                  <a:lnTo>
                    <a:pt x="312" y="289"/>
                  </a:lnTo>
                  <a:lnTo>
                    <a:pt x="306" y="289"/>
                  </a:lnTo>
                  <a:lnTo>
                    <a:pt x="312" y="289"/>
                  </a:lnTo>
                  <a:lnTo>
                    <a:pt x="312" y="295"/>
                  </a:lnTo>
                  <a:lnTo>
                    <a:pt x="312" y="306"/>
                  </a:lnTo>
                  <a:lnTo>
                    <a:pt x="312" y="312"/>
                  </a:lnTo>
                  <a:lnTo>
                    <a:pt x="306" y="312"/>
                  </a:lnTo>
                  <a:lnTo>
                    <a:pt x="312" y="312"/>
                  </a:lnTo>
                  <a:lnTo>
                    <a:pt x="317" y="318"/>
                  </a:lnTo>
                  <a:lnTo>
                    <a:pt x="312" y="323"/>
                  </a:lnTo>
                  <a:lnTo>
                    <a:pt x="312" y="329"/>
                  </a:lnTo>
                  <a:lnTo>
                    <a:pt x="306" y="329"/>
                  </a:lnTo>
                  <a:lnTo>
                    <a:pt x="306" y="335"/>
                  </a:lnTo>
                  <a:lnTo>
                    <a:pt x="300" y="340"/>
                  </a:lnTo>
                  <a:lnTo>
                    <a:pt x="306" y="340"/>
                  </a:lnTo>
                  <a:lnTo>
                    <a:pt x="300" y="346"/>
                  </a:lnTo>
                  <a:lnTo>
                    <a:pt x="295" y="352"/>
                  </a:lnTo>
                  <a:lnTo>
                    <a:pt x="300" y="352"/>
                  </a:lnTo>
                  <a:lnTo>
                    <a:pt x="295" y="352"/>
                  </a:lnTo>
                  <a:lnTo>
                    <a:pt x="283" y="352"/>
                  </a:lnTo>
                  <a:lnTo>
                    <a:pt x="272" y="352"/>
                  </a:lnTo>
                  <a:lnTo>
                    <a:pt x="266" y="352"/>
                  </a:lnTo>
                  <a:lnTo>
                    <a:pt x="249" y="352"/>
                  </a:lnTo>
                  <a:lnTo>
                    <a:pt x="244" y="352"/>
                  </a:lnTo>
                  <a:lnTo>
                    <a:pt x="238" y="352"/>
                  </a:lnTo>
                  <a:lnTo>
                    <a:pt x="210" y="352"/>
                  </a:lnTo>
                  <a:lnTo>
                    <a:pt x="204" y="352"/>
                  </a:lnTo>
                  <a:lnTo>
                    <a:pt x="198" y="352"/>
                  </a:lnTo>
                  <a:lnTo>
                    <a:pt x="193" y="352"/>
                  </a:lnTo>
                  <a:lnTo>
                    <a:pt x="187" y="352"/>
                  </a:lnTo>
                  <a:lnTo>
                    <a:pt x="176" y="352"/>
                  </a:lnTo>
                  <a:lnTo>
                    <a:pt x="170" y="352"/>
                  </a:lnTo>
                  <a:lnTo>
                    <a:pt x="176" y="357"/>
                  </a:lnTo>
                  <a:lnTo>
                    <a:pt x="164" y="357"/>
                  </a:lnTo>
                  <a:lnTo>
                    <a:pt x="159" y="357"/>
                  </a:lnTo>
                  <a:lnTo>
                    <a:pt x="130" y="363"/>
                  </a:lnTo>
                  <a:lnTo>
                    <a:pt x="125" y="363"/>
                  </a:lnTo>
                  <a:lnTo>
                    <a:pt x="119" y="363"/>
                  </a:lnTo>
                  <a:lnTo>
                    <a:pt x="113" y="363"/>
                  </a:lnTo>
                  <a:lnTo>
                    <a:pt x="96" y="363"/>
                  </a:lnTo>
                  <a:lnTo>
                    <a:pt x="91" y="369"/>
                  </a:lnTo>
                  <a:lnTo>
                    <a:pt x="85" y="369"/>
                  </a:lnTo>
                  <a:lnTo>
                    <a:pt x="79" y="369"/>
                  </a:lnTo>
                  <a:lnTo>
                    <a:pt x="74" y="369"/>
                  </a:lnTo>
                  <a:lnTo>
                    <a:pt x="62" y="374"/>
                  </a:lnTo>
                  <a:lnTo>
                    <a:pt x="57" y="374"/>
                  </a:lnTo>
                  <a:lnTo>
                    <a:pt x="57" y="369"/>
                  </a:lnTo>
                  <a:lnTo>
                    <a:pt x="51" y="369"/>
                  </a:lnTo>
                  <a:lnTo>
                    <a:pt x="51" y="363"/>
                  </a:lnTo>
                  <a:lnTo>
                    <a:pt x="45" y="363"/>
                  </a:lnTo>
                  <a:lnTo>
                    <a:pt x="40" y="357"/>
                  </a:lnTo>
                  <a:lnTo>
                    <a:pt x="40" y="352"/>
                  </a:lnTo>
                  <a:lnTo>
                    <a:pt x="40" y="340"/>
                  </a:lnTo>
                  <a:lnTo>
                    <a:pt x="40" y="335"/>
                  </a:lnTo>
                  <a:lnTo>
                    <a:pt x="40" y="323"/>
                  </a:lnTo>
                  <a:lnTo>
                    <a:pt x="40" y="318"/>
                  </a:lnTo>
                  <a:lnTo>
                    <a:pt x="40" y="312"/>
                  </a:lnTo>
                  <a:lnTo>
                    <a:pt x="40" y="306"/>
                  </a:lnTo>
                  <a:lnTo>
                    <a:pt x="40" y="301"/>
                  </a:lnTo>
                  <a:lnTo>
                    <a:pt x="40" y="295"/>
                  </a:lnTo>
                  <a:lnTo>
                    <a:pt x="40" y="289"/>
                  </a:lnTo>
                  <a:lnTo>
                    <a:pt x="40" y="284"/>
                  </a:lnTo>
                  <a:lnTo>
                    <a:pt x="40" y="272"/>
                  </a:lnTo>
                  <a:lnTo>
                    <a:pt x="28" y="267"/>
                  </a:lnTo>
                  <a:lnTo>
                    <a:pt x="28" y="261"/>
                  </a:lnTo>
                  <a:lnTo>
                    <a:pt x="28" y="255"/>
                  </a:lnTo>
                  <a:lnTo>
                    <a:pt x="23" y="255"/>
                  </a:lnTo>
                  <a:lnTo>
                    <a:pt x="23" y="250"/>
                  </a:lnTo>
                  <a:lnTo>
                    <a:pt x="17" y="250"/>
                  </a:lnTo>
                  <a:lnTo>
                    <a:pt x="11" y="250"/>
                  </a:lnTo>
                  <a:lnTo>
                    <a:pt x="6" y="244"/>
                  </a:lnTo>
                  <a:close/>
                  <a:moveTo>
                    <a:pt x="300" y="255"/>
                  </a:moveTo>
                  <a:lnTo>
                    <a:pt x="295" y="250"/>
                  </a:lnTo>
                  <a:lnTo>
                    <a:pt x="300" y="250"/>
                  </a:lnTo>
                  <a:lnTo>
                    <a:pt x="306" y="250"/>
                  </a:lnTo>
                  <a:lnTo>
                    <a:pt x="306" y="255"/>
                  </a:lnTo>
                  <a:lnTo>
                    <a:pt x="306" y="261"/>
                  </a:lnTo>
                  <a:lnTo>
                    <a:pt x="300" y="261"/>
                  </a:lnTo>
                  <a:lnTo>
                    <a:pt x="300" y="255"/>
                  </a:lnTo>
                  <a:close/>
                  <a:moveTo>
                    <a:pt x="312" y="335"/>
                  </a:moveTo>
                  <a:lnTo>
                    <a:pt x="306" y="329"/>
                  </a:lnTo>
                  <a:lnTo>
                    <a:pt x="312" y="329"/>
                  </a:lnTo>
                  <a:lnTo>
                    <a:pt x="312" y="323"/>
                  </a:lnTo>
                  <a:lnTo>
                    <a:pt x="312" y="318"/>
                  </a:lnTo>
                  <a:lnTo>
                    <a:pt x="317" y="318"/>
                  </a:lnTo>
                  <a:lnTo>
                    <a:pt x="317" y="323"/>
                  </a:lnTo>
                  <a:lnTo>
                    <a:pt x="317" y="329"/>
                  </a:lnTo>
                  <a:lnTo>
                    <a:pt x="317" y="335"/>
                  </a:lnTo>
                  <a:lnTo>
                    <a:pt x="312" y="335"/>
                  </a:lnTo>
                  <a:close/>
                </a:path>
              </a:pathLst>
            </a:custGeom>
            <a:solidFill>
              <a:schemeClr val="bg1">
                <a:lumMod val="95000"/>
              </a:schemeClr>
            </a:solidFill>
            <a:ln w="25400">
              <a:solidFill>
                <a:srgbClr val="B4B4B4"/>
              </a:solidFill>
              <a:round/>
              <a:headEnd/>
              <a:tailEnd/>
            </a:ln>
          </p:spPr>
          <p:txBody>
            <a:bodyPr lIns="93296" tIns="46648" rIns="93296" bIns="46648"/>
            <a:lstStyle/>
            <a:p>
              <a:pPr>
                <a:defRPr/>
              </a:pPr>
              <a:endParaRPr lang="en-US" sz="1000" kern="0">
                <a:solidFill>
                  <a:prstClr val="black">
                    <a:lumMod val="65000"/>
                    <a:lumOff val="35000"/>
                  </a:prstClr>
                </a:solidFill>
              </a:endParaRPr>
            </a:p>
          </p:txBody>
        </p:sp>
        <p:sp>
          <p:nvSpPr>
            <p:cNvPr id="32" name="Freeform 31"/>
            <p:cNvSpPr>
              <a:spLocks/>
            </p:cNvSpPr>
            <p:nvPr/>
          </p:nvSpPr>
          <p:spPr bwMode="gray">
            <a:xfrm>
              <a:off x="2147003" y="4047157"/>
              <a:ext cx="373141" cy="476136"/>
            </a:xfrm>
            <a:custGeom>
              <a:avLst/>
              <a:gdLst>
                <a:gd name="T0" fmla="*/ 2147483647 w 266"/>
                <a:gd name="T1" fmla="*/ 2147483647 h 357"/>
                <a:gd name="T2" fmla="*/ 2147483647 w 266"/>
                <a:gd name="T3" fmla="*/ 2147483647 h 357"/>
                <a:gd name="T4" fmla="*/ 2147483647 w 266"/>
                <a:gd name="T5" fmla="*/ 2147483647 h 357"/>
                <a:gd name="T6" fmla="*/ 2147483647 w 266"/>
                <a:gd name="T7" fmla="*/ 2147483647 h 357"/>
                <a:gd name="T8" fmla="*/ 2147483647 w 266"/>
                <a:gd name="T9" fmla="*/ 2147483647 h 357"/>
                <a:gd name="T10" fmla="*/ 2147483647 w 266"/>
                <a:gd name="T11" fmla="*/ 2147483647 h 357"/>
                <a:gd name="T12" fmla="*/ 2147483647 w 266"/>
                <a:gd name="T13" fmla="*/ 2147483647 h 357"/>
                <a:gd name="T14" fmla="*/ 2147483647 w 266"/>
                <a:gd name="T15" fmla="*/ 2147483647 h 357"/>
                <a:gd name="T16" fmla="*/ 2147483647 w 266"/>
                <a:gd name="T17" fmla="*/ 2147483647 h 357"/>
                <a:gd name="T18" fmla="*/ 2147483647 w 266"/>
                <a:gd name="T19" fmla="*/ 2147483647 h 357"/>
                <a:gd name="T20" fmla="*/ 2147483647 w 266"/>
                <a:gd name="T21" fmla="*/ 2147483647 h 357"/>
                <a:gd name="T22" fmla="*/ 2147483647 w 266"/>
                <a:gd name="T23" fmla="*/ 2147483647 h 357"/>
                <a:gd name="T24" fmla="*/ 2147483647 w 266"/>
                <a:gd name="T25" fmla="*/ 2147483647 h 357"/>
                <a:gd name="T26" fmla="*/ 2147483647 w 266"/>
                <a:gd name="T27" fmla="*/ 2147483647 h 357"/>
                <a:gd name="T28" fmla="*/ 2147483647 w 266"/>
                <a:gd name="T29" fmla="*/ 2147483647 h 357"/>
                <a:gd name="T30" fmla="*/ 2147483647 w 266"/>
                <a:gd name="T31" fmla="*/ 2147483647 h 357"/>
                <a:gd name="T32" fmla="*/ 2147483647 w 266"/>
                <a:gd name="T33" fmla="*/ 0 h 357"/>
                <a:gd name="T34" fmla="*/ 2147483647 w 266"/>
                <a:gd name="T35" fmla="*/ 2147483647 h 357"/>
                <a:gd name="T36" fmla="*/ 2147483647 w 266"/>
                <a:gd name="T37" fmla="*/ 2147483647 h 357"/>
                <a:gd name="T38" fmla="*/ 2147483647 w 266"/>
                <a:gd name="T39" fmla="*/ 2147483647 h 357"/>
                <a:gd name="T40" fmla="*/ 2147483647 w 266"/>
                <a:gd name="T41" fmla="*/ 2147483647 h 357"/>
                <a:gd name="T42" fmla="*/ 2147483647 w 266"/>
                <a:gd name="T43" fmla="*/ 2147483647 h 357"/>
                <a:gd name="T44" fmla="*/ 2147483647 w 266"/>
                <a:gd name="T45" fmla="*/ 2147483647 h 357"/>
                <a:gd name="T46" fmla="*/ 2147483647 w 266"/>
                <a:gd name="T47" fmla="*/ 2147483647 h 357"/>
                <a:gd name="T48" fmla="*/ 2147483647 w 266"/>
                <a:gd name="T49" fmla="*/ 2147483647 h 357"/>
                <a:gd name="T50" fmla="*/ 2147483647 w 266"/>
                <a:gd name="T51" fmla="*/ 2147483647 h 357"/>
                <a:gd name="T52" fmla="*/ 2147483647 w 266"/>
                <a:gd name="T53" fmla="*/ 2147483647 h 357"/>
                <a:gd name="T54" fmla="*/ 2147483647 w 266"/>
                <a:gd name="T55" fmla="*/ 2147483647 h 357"/>
                <a:gd name="T56" fmla="*/ 2147483647 w 266"/>
                <a:gd name="T57" fmla="*/ 2147483647 h 357"/>
                <a:gd name="T58" fmla="*/ 2147483647 w 266"/>
                <a:gd name="T59" fmla="*/ 2147483647 h 357"/>
                <a:gd name="T60" fmla="*/ 2147483647 w 266"/>
                <a:gd name="T61" fmla="*/ 2147483647 h 357"/>
                <a:gd name="T62" fmla="*/ 2147483647 w 266"/>
                <a:gd name="T63" fmla="*/ 2147483647 h 357"/>
                <a:gd name="T64" fmla="*/ 2147483647 w 266"/>
                <a:gd name="T65" fmla="*/ 2147483647 h 357"/>
                <a:gd name="T66" fmla="*/ 2147483647 w 266"/>
                <a:gd name="T67" fmla="*/ 2147483647 h 357"/>
                <a:gd name="T68" fmla="*/ 2147483647 w 266"/>
                <a:gd name="T69" fmla="*/ 2147483647 h 357"/>
                <a:gd name="T70" fmla="*/ 2147483647 w 266"/>
                <a:gd name="T71" fmla="*/ 2147483647 h 357"/>
                <a:gd name="T72" fmla="*/ 2147483647 w 266"/>
                <a:gd name="T73" fmla="*/ 2147483647 h 357"/>
                <a:gd name="T74" fmla="*/ 2147483647 w 266"/>
                <a:gd name="T75" fmla="*/ 2147483647 h 357"/>
                <a:gd name="T76" fmla="*/ 2147483647 w 266"/>
                <a:gd name="T77" fmla="*/ 2147483647 h 357"/>
                <a:gd name="T78" fmla="*/ 2147483647 w 266"/>
                <a:gd name="T79" fmla="*/ 2147483647 h 357"/>
                <a:gd name="T80" fmla="*/ 2147483647 w 266"/>
                <a:gd name="T81" fmla="*/ 2147483647 h 357"/>
                <a:gd name="T82" fmla="*/ 2147483647 w 266"/>
                <a:gd name="T83" fmla="*/ 2147483647 h 357"/>
                <a:gd name="T84" fmla="*/ 2147483647 w 266"/>
                <a:gd name="T85" fmla="*/ 2147483647 h 357"/>
                <a:gd name="T86" fmla="*/ 2147483647 w 266"/>
                <a:gd name="T87" fmla="*/ 2147483647 h 357"/>
                <a:gd name="T88" fmla="*/ 2147483647 w 266"/>
                <a:gd name="T89" fmla="*/ 2147483647 h 357"/>
                <a:gd name="T90" fmla="*/ 2147483647 w 266"/>
                <a:gd name="T91" fmla="*/ 2147483647 h 357"/>
                <a:gd name="T92" fmla="*/ 2147483647 w 266"/>
                <a:gd name="T93" fmla="*/ 2147483647 h 357"/>
                <a:gd name="T94" fmla="*/ 2147483647 w 266"/>
                <a:gd name="T95" fmla="*/ 2147483647 h 357"/>
                <a:gd name="T96" fmla="*/ 2147483647 w 266"/>
                <a:gd name="T97" fmla="*/ 2147483647 h 357"/>
                <a:gd name="T98" fmla="*/ 2147483647 w 266"/>
                <a:gd name="T99" fmla="*/ 2147483647 h 357"/>
                <a:gd name="T100" fmla="*/ 2147483647 w 266"/>
                <a:gd name="T101" fmla="*/ 2147483647 h 357"/>
                <a:gd name="T102" fmla="*/ 2147483647 w 266"/>
                <a:gd name="T103" fmla="*/ 2147483647 h 357"/>
                <a:gd name="T104" fmla="*/ 2147483647 w 266"/>
                <a:gd name="T105" fmla="*/ 2147483647 h 357"/>
                <a:gd name="T106" fmla="*/ 2147483647 w 266"/>
                <a:gd name="T107" fmla="*/ 2147483647 h 35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66"/>
                <a:gd name="T163" fmla="*/ 0 h 357"/>
                <a:gd name="T164" fmla="*/ 266 w 266"/>
                <a:gd name="T165" fmla="*/ 357 h 35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66" h="357">
                  <a:moveTo>
                    <a:pt x="6" y="352"/>
                  </a:moveTo>
                  <a:lnTo>
                    <a:pt x="0" y="352"/>
                  </a:lnTo>
                  <a:lnTo>
                    <a:pt x="6" y="346"/>
                  </a:lnTo>
                  <a:lnTo>
                    <a:pt x="6" y="335"/>
                  </a:lnTo>
                  <a:lnTo>
                    <a:pt x="11" y="323"/>
                  </a:lnTo>
                  <a:lnTo>
                    <a:pt x="11" y="312"/>
                  </a:lnTo>
                  <a:lnTo>
                    <a:pt x="11" y="306"/>
                  </a:lnTo>
                  <a:lnTo>
                    <a:pt x="17" y="301"/>
                  </a:lnTo>
                  <a:lnTo>
                    <a:pt x="17" y="295"/>
                  </a:lnTo>
                  <a:lnTo>
                    <a:pt x="23" y="284"/>
                  </a:lnTo>
                  <a:lnTo>
                    <a:pt x="28" y="278"/>
                  </a:lnTo>
                  <a:lnTo>
                    <a:pt x="28" y="267"/>
                  </a:lnTo>
                  <a:lnTo>
                    <a:pt x="28" y="255"/>
                  </a:lnTo>
                  <a:lnTo>
                    <a:pt x="34" y="250"/>
                  </a:lnTo>
                  <a:lnTo>
                    <a:pt x="34" y="238"/>
                  </a:lnTo>
                  <a:lnTo>
                    <a:pt x="40" y="227"/>
                  </a:lnTo>
                  <a:lnTo>
                    <a:pt x="45" y="216"/>
                  </a:lnTo>
                  <a:lnTo>
                    <a:pt x="45" y="210"/>
                  </a:lnTo>
                  <a:lnTo>
                    <a:pt x="40" y="199"/>
                  </a:lnTo>
                  <a:lnTo>
                    <a:pt x="40" y="182"/>
                  </a:lnTo>
                  <a:lnTo>
                    <a:pt x="40" y="176"/>
                  </a:lnTo>
                  <a:lnTo>
                    <a:pt x="40" y="165"/>
                  </a:lnTo>
                  <a:lnTo>
                    <a:pt x="34" y="153"/>
                  </a:lnTo>
                  <a:lnTo>
                    <a:pt x="28" y="136"/>
                  </a:lnTo>
                  <a:lnTo>
                    <a:pt x="28" y="131"/>
                  </a:lnTo>
                  <a:lnTo>
                    <a:pt x="23" y="114"/>
                  </a:lnTo>
                  <a:lnTo>
                    <a:pt x="17" y="102"/>
                  </a:lnTo>
                  <a:lnTo>
                    <a:pt x="17" y="91"/>
                  </a:lnTo>
                  <a:lnTo>
                    <a:pt x="17" y="85"/>
                  </a:lnTo>
                  <a:lnTo>
                    <a:pt x="23" y="85"/>
                  </a:lnTo>
                  <a:lnTo>
                    <a:pt x="28" y="85"/>
                  </a:lnTo>
                  <a:lnTo>
                    <a:pt x="23" y="74"/>
                  </a:lnTo>
                  <a:lnTo>
                    <a:pt x="40" y="74"/>
                  </a:lnTo>
                  <a:lnTo>
                    <a:pt x="45" y="74"/>
                  </a:lnTo>
                  <a:lnTo>
                    <a:pt x="51" y="74"/>
                  </a:lnTo>
                  <a:lnTo>
                    <a:pt x="57" y="74"/>
                  </a:lnTo>
                  <a:lnTo>
                    <a:pt x="62" y="74"/>
                  </a:lnTo>
                  <a:lnTo>
                    <a:pt x="68" y="68"/>
                  </a:lnTo>
                  <a:lnTo>
                    <a:pt x="74" y="68"/>
                  </a:lnTo>
                  <a:lnTo>
                    <a:pt x="79" y="63"/>
                  </a:lnTo>
                  <a:lnTo>
                    <a:pt x="79" y="57"/>
                  </a:lnTo>
                  <a:lnTo>
                    <a:pt x="79" y="51"/>
                  </a:lnTo>
                  <a:lnTo>
                    <a:pt x="85" y="40"/>
                  </a:lnTo>
                  <a:lnTo>
                    <a:pt x="85" y="29"/>
                  </a:lnTo>
                  <a:lnTo>
                    <a:pt x="85" y="23"/>
                  </a:lnTo>
                  <a:lnTo>
                    <a:pt x="91" y="17"/>
                  </a:lnTo>
                  <a:lnTo>
                    <a:pt x="96" y="17"/>
                  </a:lnTo>
                  <a:lnTo>
                    <a:pt x="96" y="12"/>
                  </a:lnTo>
                  <a:lnTo>
                    <a:pt x="102" y="6"/>
                  </a:lnTo>
                  <a:lnTo>
                    <a:pt x="108" y="0"/>
                  </a:lnTo>
                  <a:lnTo>
                    <a:pt x="113" y="0"/>
                  </a:lnTo>
                  <a:lnTo>
                    <a:pt x="113" y="6"/>
                  </a:lnTo>
                  <a:lnTo>
                    <a:pt x="113" y="12"/>
                  </a:lnTo>
                  <a:lnTo>
                    <a:pt x="113" y="17"/>
                  </a:lnTo>
                  <a:lnTo>
                    <a:pt x="119" y="17"/>
                  </a:lnTo>
                  <a:lnTo>
                    <a:pt x="125" y="17"/>
                  </a:lnTo>
                  <a:lnTo>
                    <a:pt x="125" y="12"/>
                  </a:lnTo>
                  <a:lnTo>
                    <a:pt x="130" y="12"/>
                  </a:lnTo>
                  <a:lnTo>
                    <a:pt x="136" y="12"/>
                  </a:lnTo>
                  <a:lnTo>
                    <a:pt x="142" y="12"/>
                  </a:lnTo>
                  <a:lnTo>
                    <a:pt x="147" y="17"/>
                  </a:lnTo>
                  <a:lnTo>
                    <a:pt x="153" y="17"/>
                  </a:lnTo>
                  <a:lnTo>
                    <a:pt x="159" y="23"/>
                  </a:lnTo>
                  <a:lnTo>
                    <a:pt x="164" y="23"/>
                  </a:lnTo>
                  <a:lnTo>
                    <a:pt x="170" y="23"/>
                  </a:lnTo>
                  <a:lnTo>
                    <a:pt x="176" y="29"/>
                  </a:lnTo>
                  <a:lnTo>
                    <a:pt x="181" y="29"/>
                  </a:lnTo>
                  <a:lnTo>
                    <a:pt x="187" y="34"/>
                  </a:lnTo>
                  <a:lnTo>
                    <a:pt x="187" y="40"/>
                  </a:lnTo>
                  <a:lnTo>
                    <a:pt x="181" y="46"/>
                  </a:lnTo>
                  <a:lnTo>
                    <a:pt x="181" y="51"/>
                  </a:lnTo>
                  <a:lnTo>
                    <a:pt x="181" y="57"/>
                  </a:lnTo>
                  <a:lnTo>
                    <a:pt x="176" y="57"/>
                  </a:lnTo>
                  <a:lnTo>
                    <a:pt x="176" y="63"/>
                  </a:lnTo>
                  <a:lnTo>
                    <a:pt x="170" y="63"/>
                  </a:lnTo>
                  <a:lnTo>
                    <a:pt x="164" y="68"/>
                  </a:lnTo>
                  <a:lnTo>
                    <a:pt x="159" y="74"/>
                  </a:lnTo>
                  <a:lnTo>
                    <a:pt x="159" y="80"/>
                  </a:lnTo>
                  <a:lnTo>
                    <a:pt x="153" y="85"/>
                  </a:lnTo>
                  <a:lnTo>
                    <a:pt x="153" y="91"/>
                  </a:lnTo>
                  <a:lnTo>
                    <a:pt x="159" y="97"/>
                  </a:lnTo>
                  <a:lnTo>
                    <a:pt x="153" y="97"/>
                  </a:lnTo>
                  <a:lnTo>
                    <a:pt x="153" y="102"/>
                  </a:lnTo>
                  <a:lnTo>
                    <a:pt x="153" y="108"/>
                  </a:lnTo>
                  <a:lnTo>
                    <a:pt x="153" y="114"/>
                  </a:lnTo>
                  <a:lnTo>
                    <a:pt x="159" y="114"/>
                  </a:lnTo>
                  <a:lnTo>
                    <a:pt x="164" y="114"/>
                  </a:lnTo>
                  <a:lnTo>
                    <a:pt x="170" y="114"/>
                  </a:lnTo>
                  <a:lnTo>
                    <a:pt x="170" y="119"/>
                  </a:lnTo>
                  <a:lnTo>
                    <a:pt x="176" y="125"/>
                  </a:lnTo>
                  <a:lnTo>
                    <a:pt x="181" y="125"/>
                  </a:lnTo>
                  <a:lnTo>
                    <a:pt x="181" y="131"/>
                  </a:lnTo>
                  <a:lnTo>
                    <a:pt x="187" y="131"/>
                  </a:lnTo>
                  <a:lnTo>
                    <a:pt x="193" y="136"/>
                  </a:lnTo>
                  <a:lnTo>
                    <a:pt x="193" y="142"/>
                  </a:lnTo>
                  <a:lnTo>
                    <a:pt x="193" y="153"/>
                  </a:lnTo>
                  <a:lnTo>
                    <a:pt x="198" y="153"/>
                  </a:lnTo>
                  <a:lnTo>
                    <a:pt x="198" y="159"/>
                  </a:lnTo>
                  <a:lnTo>
                    <a:pt x="193" y="165"/>
                  </a:lnTo>
                  <a:lnTo>
                    <a:pt x="193" y="170"/>
                  </a:lnTo>
                  <a:lnTo>
                    <a:pt x="193" y="176"/>
                  </a:lnTo>
                  <a:lnTo>
                    <a:pt x="193" y="182"/>
                  </a:lnTo>
                  <a:lnTo>
                    <a:pt x="198" y="182"/>
                  </a:lnTo>
                  <a:lnTo>
                    <a:pt x="204" y="182"/>
                  </a:lnTo>
                  <a:lnTo>
                    <a:pt x="210" y="182"/>
                  </a:lnTo>
                  <a:lnTo>
                    <a:pt x="210" y="187"/>
                  </a:lnTo>
                  <a:lnTo>
                    <a:pt x="210" y="193"/>
                  </a:lnTo>
                  <a:lnTo>
                    <a:pt x="210" y="199"/>
                  </a:lnTo>
                  <a:lnTo>
                    <a:pt x="215" y="199"/>
                  </a:lnTo>
                  <a:lnTo>
                    <a:pt x="221" y="199"/>
                  </a:lnTo>
                  <a:lnTo>
                    <a:pt x="221" y="204"/>
                  </a:lnTo>
                  <a:lnTo>
                    <a:pt x="221" y="216"/>
                  </a:lnTo>
                  <a:lnTo>
                    <a:pt x="221" y="221"/>
                  </a:lnTo>
                  <a:lnTo>
                    <a:pt x="227" y="227"/>
                  </a:lnTo>
                  <a:lnTo>
                    <a:pt x="227" y="238"/>
                  </a:lnTo>
                  <a:lnTo>
                    <a:pt x="232" y="244"/>
                  </a:lnTo>
                  <a:lnTo>
                    <a:pt x="238" y="244"/>
                  </a:lnTo>
                  <a:lnTo>
                    <a:pt x="238" y="250"/>
                  </a:lnTo>
                  <a:lnTo>
                    <a:pt x="244" y="250"/>
                  </a:lnTo>
                  <a:lnTo>
                    <a:pt x="249" y="250"/>
                  </a:lnTo>
                  <a:lnTo>
                    <a:pt x="255" y="250"/>
                  </a:lnTo>
                  <a:lnTo>
                    <a:pt x="261" y="250"/>
                  </a:lnTo>
                  <a:lnTo>
                    <a:pt x="266" y="250"/>
                  </a:lnTo>
                  <a:lnTo>
                    <a:pt x="266" y="255"/>
                  </a:lnTo>
                  <a:lnTo>
                    <a:pt x="261" y="255"/>
                  </a:lnTo>
                  <a:lnTo>
                    <a:pt x="255" y="255"/>
                  </a:lnTo>
                  <a:lnTo>
                    <a:pt x="249" y="255"/>
                  </a:lnTo>
                  <a:lnTo>
                    <a:pt x="238" y="261"/>
                  </a:lnTo>
                  <a:lnTo>
                    <a:pt x="238" y="267"/>
                  </a:lnTo>
                  <a:lnTo>
                    <a:pt x="232" y="278"/>
                  </a:lnTo>
                  <a:lnTo>
                    <a:pt x="232" y="284"/>
                  </a:lnTo>
                  <a:lnTo>
                    <a:pt x="227" y="284"/>
                  </a:lnTo>
                  <a:lnTo>
                    <a:pt x="221" y="289"/>
                  </a:lnTo>
                  <a:lnTo>
                    <a:pt x="210" y="295"/>
                  </a:lnTo>
                  <a:lnTo>
                    <a:pt x="198" y="295"/>
                  </a:lnTo>
                  <a:lnTo>
                    <a:pt x="187" y="295"/>
                  </a:lnTo>
                  <a:lnTo>
                    <a:pt x="181" y="295"/>
                  </a:lnTo>
                  <a:lnTo>
                    <a:pt x="170" y="289"/>
                  </a:lnTo>
                  <a:lnTo>
                    <a:pt x="164" y="289"/>
                  </a:lnTo>
                  <a:lnTo>
                    <a:pt x="147" y="295"/>
                  </a:lnTo>
                  <a:lnTo>
                    <a:pt x="136" y="295"/>
                  </a:lnTo>
                  <a:lnTo>
                    <a:pt x="130" y="295"/>
                  </a:lnTo>
                  <a:lnTo>
                    <a:pt x="125" y="295"/>
                  </a:lnTo>
                  <a:lnTo>
                    <a:pt x="119" y="295"/>
                  </a:lnTo>
                  <a:lnTo>
                    <a:pt x="113" y="301"/>
                  </a:lnTo>
                  <a:lnTo>
                    <a:pt x="113" y="306"/>
                  </a:lnTo>
                  <a:lnTo>
                    <a:pt x="119" y="312"/>
                  </a:lnTo>
                  <a:lnTo>
                    <a:pt x="119" y="318"/>
                  </a:lnTo>
                  <a:lnTo>
                    <a:pt x="113" y="329"/>
                  </a:lnTo>
                  <a:lnTo>
                    <a:pt x="108" y="335"/>
                  </a:lnTo>
                  <a:lnTo>
                    <a:pt x="96" y="340"/>
                  </a:lnTo>
                  <a:lnTo>
                    <a:pt x="96" y="352"/>
                  </a:lnTo>
                  <a:lnTo>
                    <a:pt x="85" y="352"/>
                  </a:lnTo>
                  <a:lnTo>
                    <a:pt x="74" y="346"/>
                  </a:lnTo>
                  <a:lnTo>
                    <a:pt x="68" y="340"/>
                  </a:lnTo>
                  <a:lnTo>
                    <a:pt x="57" y="340"/>
                  </a:lnTo>
                  <a:lnTo>
                    <a:pt x="45" y="340"/>
                  </a:lnTo>
                  <a:lnTo>
                    <a:pt x="40" y="340"/>
                  </a:lnTo>
                  <a:lnTo>
                    <a:pt x="28" y="346"/>
                  </a:lnTo>
                  <a:lnTo>
                    <a:pt x="23" y="352"/>
                  </a:lnTo>
                  <a:lnTo>
                    <a:pt x="17" y="357"/>
                  </a:lnTo>
                  <a:lnTo>
                    <a:pt x="6" y="352"/>
                  </a:lnTo>
                  <a:close/>
                </a:path>
              </a:pathLst>
            </a:custGeom>
            <a:solidFill>
              <a:schemeClr val="bg1">
                <a:lumMod val="95000"/>
              </a:schemeClr>
            </a:solidFill>
            <a:ln w="25400">
              <a:solidFill>
                <a:srgbClr val="B4B4B4"/>
              </a:solidFill>
              <a:round/>
              <a:headEnd/>
              <a:tailEnd/>
            </a:ln>
          </p:spPr>
          <p:txBody>
            <a:bodyPr lIns="93296" tIns="46648" rIns="93296" bIns="46648"/>
            <a:lstStyle/>
            <a:p>
              <a:pPr>
                <a:defRPr/>
              </a:pPr>
              <a:endParaRPr lang="en-US" sz="1000" kern="0">
                <a:solidFill>
                  <a:prstClr val="black">
                    <a:lumMod val="65000"/>
                    <a:lumOff val="35000"/>
                  </a:prstClr>
                </a:solidFill>
              </a:endParaRPr>
            </a:p>
          </p:txBody>
        </p:sp>
        <p:sp>
          <p:nvSpPr>
            <p:cNvPr id="33" name="Freeform 32"/>
            <p:cNvSpPr>
              <a:spLocks/>
            </p:cNvSpPr>
            <p:nvPr/>
          </p:nvSpPr>
          <p:spPr bwMode="gray">
            <a:xfrm>
              <a:off x="2155057" y="4426278"/>
              <a:ext cx="406696" cy="371464"/>
            </a:xfrm>
            <a:custGeom>
              <a:avLst/>
              <a:gdLst>
                <a:gd name="T0" fmla="*/ 2147483647 w 289"/>
                <a:gd name="T1" fmla="*/ 2147483647 h 278"/>
                <a:gd name="T2" fmla="*/ 2147483647 w 289"/>
                <a:gd name="T3" fmla="*/ 2147483647 h 278"/>
                <a:gd name="T4" fmla="*/ 2147483647 w 289"/>
                <a:gd name="T5" fmla="*/ 2147483647 h 278"/>
                <a:gd name="T6" fmla="*/ 2147483647 w 289"/>
                <a:gd name="T7" fmla="*/ 2147483647 h 278"/>
                <a:gd name="T8" fmla="*/ 2147483647 w 289"/>
                <a:gd name="T9" fmla="*/ 2147483647 h 278"/>
                <a:gd name="T10" fmla="*/ 2147483647 w 289"/>
                <a:gd name="T11" fmla="*/ 2147483647 h 278"/>
                <a:gd name="T12" fmla="*/ 2147483647 w 289"/>
                <a:gd name="T13" fmla="*/ 2147483647 h 278"/>
                <a:gd name="T14" fmla="*/ 2147483647 w 289"/>
                <a:gd name="T15" fmla="*/ 2147483647 h 278"/>
                <a:gd name="T16" fmla="*/ 2147483647 w 289"/>
                <a:gd name="T17" fmla="*/ 2147483647 h 278"/>
                <a:gd name="T18" fmla="*/ 2147483647 w 289"/>
                <a:gd name="T19" fmla="*/ 2147483647 h 278"/>
                <a:gd name="T20" fmla="*/ 2147483647 w 289"/>
                <a:gd name="T21" fmla="*/ 2147483647 h 278"/>
                <a:gd name="T22" fmla="*/ 2147483647 w 289"/>
                <a:gd name="T23" fmla="*/ 2147483647 h 278"/>
                <a:gd name="T24" fmla="*/ 2147483647 w 289"/>
                <a:gd name="T25" fmla="*/ 2147483647 h 278"/>
                <a:gd name="T26" fmla="*/ 2147483647 w 289"/>
                <a:gd name="T27" fmla="*/ 2147483647 h 278"/>
                <a:gd name="T28" fmla="*/ 2147483647 w 289"/>
                <a:gd name="T29" fmla="*/ 2147483647 h 278"/>
                <a:gd name="T30" fmla="*/ 2147483647 w 289"/>
                <a:gd name="T31" fmla="*/ 2147483647 h 278"/>
                <a:gd name="T32" fmla="*/ 2147483647 w 289"/>
                <a:gd name="T33" fmla="*/ 2147483647 h 278"/>
                <a:gd name="T34" fmla="*/ 0 w 289"/>
                <a:gd name="T35" fmla="*/ 2147483647 h 278"/>
                <a:gd name="T36" fmla="*/ 2147483647 w 289"/>
                <a:gd name="T37" fmla="*/ 2147483647 h 278"/>
                <a:gd name="T38" fmla="*/ 2147483647 w 289"/>
                <a:gd name="T39" fmla="*/ 2147483647 h 278"/>
                <a:gd name="T40" fmla="*/ 2147483647 w 289"/>
                <a:gd name="T41" fmla="*/ 2147483647 h 278"/>
                <a:gd name="T42" fmla="*/ 2147483647 w 289"/>
                <a:gd name="T43" fmla="*/ 2147483647 h 278"/>
                <a:gd name="T44" fmla="*/ 2147483647 w 289"/>
                <a:gd name="T45" fmla="*/ 2147483647 h 278"/>
                <a:gd name="T46" fmla="*/ 2147483647 w 289"/>
                <a:gd name="T47" fmla="*/ 2147483647 h 278"/>
                <a:gd name="T48" fmla="*/ 2147483647 w 289"/>
                <a:gd name="T49" fmla="*/ 2147483647 h 278"/>
                <a:gd name="T50" fmla="*/ 2147483647 w 289"/>
                <a:gd name="T51" fmla="*/ 2147483647 h 278"/>
                <a:gd name="T52" fmla="*/ 2147483647 w 289"/>
                <a:gd name="T53" fmla="*/ 2147483647 h 278"/>
                <a:gd name="T54" fmla="*/ 2147483647 w 289"/>
                <a:gd name="T55" fmla="*/ 2147483647 h 278"/>
                <a:gd name="T56" fmla="*/ 2147483647 w 289"/>
                <a:gd name="T57" fmla="*/ 2147483647 h 278"/>
                <a:gd name="T58" fmla="*/ 2147483647 w 289"/>
                <a:gd name="T59" fmla="*/ 2147483647 h 278"/>
                <a:gd name="T60" fmla="*/ 2147483647 w 289"/>
                <a:gd name="T61" fmla="*/ 2147483647 h 278"/>
                <a:gd name="T62" fmla="*/ 2147483647 w 289"/>
                <a:gd name="T63" fmla="*/ 2147483647 h 278"/>
                <a:gd name="T64" fmla="*/ 2147483647 w 289"/>
                <a:gd name="T65" fmla="*/ 0 h 278"/>
                <a:gd name="T66" fmla="*/ 2147483647 w 289"/>
                <a:gd name="T67" fmla="*/ 2147483647 h 278"/>
                <a:gd name="T68" fmla="*/ 2147483647 w 289"/>
                <a:gd name="T69" fmla="*/ 2147483647 h 278"/>
                <a:gd name="T70" fmla="*/ 2147483647 w 289"/>
                <a:gd name="T71" fmla="*/ 2147483647 h 278"/>
                <a:gd name="T72" fmla="*/ 2147483647 w 289"/>
                <a:gd name="T73" fmla="*/ 2147483647 h 278"/>
                <a:gd name="T74" fmla="*/ 2147483647 w 289"/>
                <a:gd name="T75" fmla="*/ 2147483647 h 278"/>
                <a:gd name="T76" fmla="*/ 2147483647 w 289"/>
                <a:gd name="T77" fmla="*/ 2147483647 h 278"/>
                <a:gd name="T78" fmla="*/ 2147483647 w 289"/>
                <a:gd name="T79" fmla="*/ 2147483647 h 278"/>
                <a:gd name="T80" fmla="*/ 2147483647 w 289"/>
                <a:gd name="T81" fmla="*/ 2147483647 h 278"/>
                <a:gd name="T82" fmla="*/ 2147483647 w 289"/>
                <a:gd name="T83" fmla="*/ 2147483647 h 278"/>
                <a:gd name="T84" fmla="*/ 2147483647 w 289"/>
                <a:gd name="T85" fmla="*/ 2147483647 h 278"/>
                <a:gd name="T86" fmla="*/ 2147483647 w 289"/>
                <a:gd name="T87" fmla="*/ 2147483647 h 278"/>
                <a:gd name="T88" fmla="*/ 2147483647 w 289"/>
                <a:gd name="T89" fmla="*/ 2147483647 h 278"/>
                <a:gd name="T90" fmla="*/ 2147483647 w 289"/>
                <a:gd name="T91" fmla="*/ 2147483647 h 278"/>
                <a:gd name="T92" fmla="*/ 2147483647 w 289"/>
                <a:gd name="T93" fmla="*/ 2147483647 h 278"/>
                <a:gd name="T94" fmla="*/ 2147483647 w 289"/>
                <a:gd name="T95" fmla="*/ 2147483647 h 278"/>
                <a:gd name="T96" fmla="*/ 2147483647 w 289"/>
                <a:gd name="T97" fmla="*/ 2147483647 h 278"/>
                <a:gd name="T98" fmla="*/ 2147483647 w 289"/>
                <a:gd name="T99" fmla="*/ 2147483647 h 27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89"/>
                <a:gd name="T151" fmla="*/ 0 h 278"/>
                <a:gd name="T152" fmla="*/ 289 w 289"/>
                <a:gd name="T153" fmla="*/ 278 h 27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89" h="278">
                  <a:moveTo>
                    <a:pt x="221" y="272"/>
                  </a:moveTo>
                  <a:lnTo>
                    <a:pt x="215" y="278"/>
                  </a:lnTo>
                  <a:lnTo>
                    <a:pt x="209" y="278"/>
                  </a:lnTo>
                  <a:lnTo>
                    <a:pt x="198" y="272"/>
                  </a:lnTo>
                  <a:lnTo>
                    <a:pt x="192" y="272"/>
                  </a:lnTo>
                  <a:lnTo>
                    <a:pt x="192" y="266"/>
                  </a:lnTo>
                  <a:lnTo>
                    <a:pt x="187" y="266"/>
                  </a:lnTo>
                  <a:lnTo>
                    <a:pt x="187" y="272"/>
                  </a:lnTo>
                  <a:lnTo>
                    <a:pt x="181" y="272"/>
                  </a:lnTo>
                  <a:lnTo>
                    <a:pt x="175" y="266"/>
                  </a:lnTo>
                  <a:lnTo>
                    <a:pt x="175" y="272"/>
                  </a:lnTo>
                  <a:lnTo>
                    <a:pt x="170" y="272"/>
                  </a:lnTo>
                  <a:lnTo>
                    <a:pt x="164" y="266"/>
                  </a:lnTo>
                  <a:lnTo>
                    <a:pt x="158" y="266"/>
                  </a:lnTo>
                  <a:lnTo>
                    <a:pt x="153" y="266"/>
                  </a:lnTo>
                  <a:lnTo>
                    <a:pt x="147" y="266"/>
                  </a:lnTo>
                  <a:lnTo>
                    <a:pt x="136" y="266"/>
                  </a:lnTo>
                  <a:lnTo>
                    <a:pt x="130" y="266"/>
                  </a:lnTo>
                  <a:lnTo>
                    <a:pt x="124" y="266"/>
                  </a:lnTo>
                  <a:lnTo>
                    <a:pt x="119" y="266"/>
                  </a:lnTo>
                  <a:lnTo>
                    <a:pt x="113" y="266"/>
                  </a:lnTo>
                  <a:lnTo>
                    <a:pt x="102" y="266"/>
                  </a:lnTo>
                  <a:lnTo>
                    <a:pt x="96" y="266"/>
                  </a:lnTo>
                  <a:lnTo>
                    <a:pt x="85" y="266"/>
                  </a:lnTo>
                  <a:lnTo>
                    <a:pt x="79" y="266"/>
                  </a:lnTo>
                  <a:lnTo>
                    <a:pt x="73" y="266"/>
                  </a:lnTo>
                  <a:lnTo>
                    <a:pt x="68" y="266"/>
                  </a:lnTo>
                  <a:lnTo>
                    <a:pt x="68" y="260"/>
                  </a:lnTo>
                  <a:lnTo>
                    <a:pt x="62" y="260"/>
                  </a:lnTo>
                  <a:lnTo>
                    <a:pt x="62" y="249"/>
                  </a:lnTo>
                  <a:lnTo>
                    <a:pt x="56" y="249"/>
                  </a:lnTo>
                  <a:lnTo>
                    <a:pt x="51" y="249"/>
                  </a:lnTo>
                  <a:lnTo>
                    <a:pt x="51" y="243"/>
                  </a:lnTo>
                  <a:lnTo>
                    <a:pt x="51" y="238"/>
                  </a:lnTo>
                  <a:lnTo>
                    <a:pt x="45" y="238"/>
                  </a:lnTo>
                  <a:lnTo>
                    <a:pt x="39" y="232"/>
                  </a:lnTo>
                  <a:lnTo>
                    <a:pt x="34" y="232"/>
                  </a:lnTo>
                  <a:lnTo>
                    <a:pt x="34" y="226"/>
                  </a:lnTo>
                  <a:lnTo>
                    <a:pt x="34" y="221"/>
                  </a:lnTo>
                  <a:lnTo>
                    <a:pt x="39" y="221"/>
                  </a:lnTo>
                  <a:lnTo>
                    <a:pt x="39" y="215"/>
                  </a:lnTo>
                  <a:lnTo>
                    <a:pt x="39" y="209"/>
                  </a:lnTo>
                  <a:lnTo>
                    <a:pt x="39" y="204"/>
                  </a:lnTo>
                  <a:lnTo>
                    <a:pt x="39" y="192"/>
                  </a:lnTo>
                  <a:lnTo>
                    <a:pt x="45" y="181"/>
                  </a:lnTo>
                  <a:lnTo>
                    <a:pt x="51" y="181"/>
                  </a:lnTo>
                  <a:lnTo>
                    <a:pt x="51" y="175"/>
                  </a:lnTo>
                  <a:lnTo>
                    <a:pt x="45" y="175"/>
                  </a:lnTo>
                  <a:lnTo>
                    <a:pt x="39" y="175"/>
                  </a:lnTo>
                  <a:lnTo>
                    <a:pt x="34" y="175"/>
                  </a:lnTo>
                  <a:lnTo>
                    <a:pt x="22" y="175"/>
                  </a:lnTo>
                  <a:lnTo>
                    <a:pt x="11" y="175"/>
                  </a:lnTo>
                  <a:lnTo>
                    <a:pt x="0" y="175"/>
                  </a:lnTo>
                  <a:lnTo>
                    <a:pt x="0" y="170"/>
                  </a:lnTo>
                  <a:lnTo>
                    <a:pt x="0" y="164"/>
                  </a:lnTo>
                  <a:lnTo>
                    <a:pt x="5" y="158"/>
                  </a:lnTo>
                  <a:lnTo>
                    <a:pt x="5" y="153"/>
                  </a:lnTo>
                  <a:lnTo>
                    <a:pt x="5" y="147"/>
                  </a:lnTo>
                  <a:lnTo>
                    <a:pt x="11" y="141"/>
                  </a:lnTo>
                  <a:lnTo>
                    <a:pt x="11" y="130"/>
                  </a:lnTo>
                  <a:lnTo>
                    <a:pt x="11" y="124"/>
                  </a:lnTo>
                  <a:lnTo>
                    <a:pt x="17" y="119"/>
                  </a:lnTo>
                  <a:lnTo>
                    <a:pt x="17" y="113"/>
                  </a:lnTo>
                  <a:lnTo>
                    <a:pt x="17" y="107"/>
                  </a:lnTo>
                  <a:lnTo>
                    <a:pt x="22" y="107"/>
                  </a:lnTo>
                  <a:lnTo>
                    <a:pt x="22" y="96"/>
                  </a:lnTo>
                  <a:lnTo>
                    <a:pt x="22" y="90"/>
                  </a:lnTo>
                  <a:lnTo>
                    <a:pt x="11" y="73"/>
                  </a:lnTo>
                  <a:lnTo>
                    <a:pt x="17" y="68"/>
                  </a:lnTo>
                  <a:lnTo>
                    <a:pt x="22" y="62"/>
                  </a:lnTo>
                  <a:lnTo>
                    <a:pt x="34" y="56"/>
                  </a:lnTo>
                  <a:lnTo>
                    <a:pt x="39" y="56"/>
                  </a:lnTo>
                  <a:lnTo>
                    <a:pt x="51" y="56"/>
                  </a:lnTo>
                  <a:lnTo>
                    <a:pt x="62" y="56"/>
                  </a:lnTo>
                  <a:lnTo>
                    <a:pt x="68" y="62"/>
                  </a:lnTo>
                  <a:lnTo>
                    <a:pt x="79" y="68"/>
                  </a:lnTo>
                  <a:lnTo>
                    <a:pt x="90" y="68"/>
                  </a:lnTo>
                  <a:lnTo>
                    <a:pt x="90" y="56"/>
                  </a:lnTo>
                  <a:lnTo>
                    <a:pt x="102" y="51"/>
                  </a:lnTo>
                  <a:lnTo>
                    <a:pt x="107" y="45"/>
                  </a:lnTo>
                  <a:lnTo>
                    <a:pt x="113" y="34"/>
                  </a:lnTo>
                  <a:lnTo>
                    <a:pt x="113" y="28"/>
                  </a:lnTo>
                  <a:lnTo>
                    <a:pt x="107" y="22"/>
                  </a:lnTo>
                  <a:lnTo>
                    <a:pt x="107" y="17"/>
                  </a:lnTo>
                  <a:lnTo>
                    <a:pt x="113" y="11"/>
                  </a:lnTo>
                  <a:lnTo>
                    <a:pt x="119" y="11"/>
                  </a:lnTo>
                  <a:lnTo>
                    <a:pt x="124" y="11"/>
                  </a:lnTo>
                  <a:lnTo>
                    <a:pt x="130" y="11"/>
                  </a:lnTo>
                  <a:lnTo>
                    <a:pt x="141" y="11"/>
                  </a:lnTo>
                  <a:lnTo>
                    <a:pt x="158" y="5"/>
                  </a:lnTo>
                  <a:lnTo>
                    <a:pt x="164" y="5"/>
                  </a:lnTo>
                  <a:lnTo>
                    <a:pt x="175" y="11"/>
                  </a:lnTo>
                  <a:lnTo>
                    <a:pt x="181" y="11"/>
                  </a:lnTo>
                  <a:lnTo>
                    <a:pt x="192" y="11"/>
                  </a:lnTo>
                  <a:lnTo>
                    <a:pt x="204" y="11"/>
                  </a:lnTo>
                  <a:lnTo>
                    <a:pt x="215" y="5"/>
                  </a:lnTo>
                  <a:lnTo>
                    <a:pt x="221" y="0"/>
                  </a:lnTo>
                  <a:lnTo>
                    <a:pt x="226" y="0"/>
                  </a:lnTo>
                  <a:lnTo>
                    <a:pt x="232" y="0"/>
                  </a:lnTo>
                  <a:lnTo>
                    <a:pt x="238" y="5"/>
                  </a:lnTo>
                  <a:lnTo>
                    <a:pt x="243" y="11"/>
                  </a:lnTo>
                  <a:lnTo>
                    <a:pt x="249" y="11"/>
                  </a:lnTo>
                  <a:lnTo>
                    <a:pt x="260" y="11"/>
                  </a:lnTo>
                  <a:lnTo>
                    <a:pt x="266" y="17"/>
                  </a:lnTo>
                  <a:lnTo>
                    <a:pt x="272" y="17"/>
                  </a:lnTo>
                  <a:lnTo>
                    <a:pt x="272" y="22"/>
                  </a:lnTo>
                  <a:lnTo>
                    <a:pt x="278" y="22"/>
                  </a:lnTo>
                  <a:lnTo>
                    <a:pt x="278" y="28"/>
                  </a:lnTo>
                  <a:lnTo>
                    <a:pt x="278" y="34"/>
                  </a:lnTo>
                  <a:lnTo>
                    <a:pt x="278" y="39"/>
                  </a:lnTo>
                  <a:lnTo>
                    <a:pt x="278" y="45"/>
                  </a:lnTo>
                  <a:lnTo>
                    <a:pt x="278" y="56"/>
                  </a:lnTo>
                  <a:lnTo>
                    <a:pt x="278" y="68"/>
                  </a:lnTo>
                  <a:lnTo>
                    <a:pt x="278" y="73"/>
                  </a:lnTo>
                  <a:lnTo>
                    <a:pt x="278" y="79"/>
                  </a:lnTo>
                  <a:lnTo>
                    <a:pt x="278" y="85"/>
                  </a:lnTo>
                  <a:lnTo>
                    <a:pt x="278" y="90"/>
                  </a:lnTo>
                  <a:lnTo>
                    <a:pt x="272" y="85"/>
                  </a:lnTo>
                  <a:lnTo>
                    <a:pt x="272" y="90"/>
                  </a:lnTo>
                  <a:lnTo>
                    <a:pt x="272" y="96"/>
                  </a:lnTo>
                  <a:lnTo>
                    <a:pt x="278" y="96"/>
                  </a:lnTo>
                  <a:lnTo>
                    <a:pt x="278" y="102"/>
                  </a:lnTo>
                  <a:lnTo>
                    <a:pt x="283" y="107"/>
                  </a:lnTo>
                  <a:lnTo>
                    <a:pt x="283" y="113"/>
                  </a:lnTo>
                  <a:lnTo>
                    <a:pt x="289" y="113"/>
                  </a:lnTo>
                  <a:lnTo>
                    <a:pt x="289" y="119"/>
                  </a:lnTo>
                  <a:lnTo>
                    <a:pt x="289" y="124"/>
                  </a:lnTo>
                  <a:lnTo>
                    <a:pt x="283" y="136"/>
                  </a:lnTo>
                  <a:lnTo>
                    <a:pt x="278" y="141"/>
                  </a:lnTo>
                  <a:lnTo>
                    <a:pt x="278" y="147"/>
                  </a:lnTo>
                  <a:lnTo>
                    <a:pt x="272" y="153"/>
                  </a:lnTo>
                  <a:lnTo>
                    <a:pt x="272" y="158"/>
                  </a:lnTo>
                  <a:lnTo>
                    <a:pt x="272" y="164"/>
                  </a:lnTo>
                  <a:lnTo>
                    <a:pt x="266" y="164"/>
                  </a:lnTo>
                  <a:lnTo>
                    <a:pt x="266" y="170"/>
                  </a:lnTo>
                  <a:lnTo>
                    <a:pt x="260" y="175"/>
                  </a:lnTo>
                  <a:lnTo>
                    <a:pt x="260" y="181"/>
                  </a:lnTo>
                  <a:lnTo>
                    <a:pt x="255" y="181"/>
                  </a:lnTo>
                  <a:lnTo>
                    <a:pt x="249" y="187"/>
                  </a:lnTo>
                  <a:lnTo>
                    <a:pt x="249" y="198"/>
                  </a:lnTo>
                  <a:lnTo>
                    <a:pt x="243" y="204"/>
                  </a:lnTo>
                  <a:lnTo>
                    <a:pt x="243" y="209"/>
                  </a:lnTo>
                  <a:lnTo>
                    <a:pt x="243" y="215"/>
                  </a:lnTo>
                  <a:lnTo>
                    <a:pt x="238" y="221"/>
                  </a:lnTo>
                  <a:lnTo>
                    <a:pt x="232" y="226"/>
                  </a:lnTo>
                  <a:lnTo>
                    <a:pt x="232" y="232"/>
                  </a:lnTo>
                  <a:lnTo>
                    <a:pt x="226" y="238"/>
                  </a:lnTo>
                  <a:lnTo>
                    <a:pt x="226" y="249"/>
                  </a:lnTo>
                  <a:lnTo>
                    <a:pt x="221" y="249"/>
                  </a:lnTo>
                  <a:lnTo>
                    <a:pt x="221" y="260"/>
                  </a:lnTo>
                  <a:lnTo>
                    <a:pt x="221" y="266"/>
                  </a:lnTo>
                  <a:lnTo>
                    <a:pt x="221" y="272"/>
                  </a:lnTo>
                  <a:close/>
                </a:path>
              </a:pathLst>
            </a:custGeom>
            <a:solidFill>
              <a:schemeClr val="bg1">
                <a:lumMod val="95000"/>
              </a:schemeClr>
            </a:solidFill>
            <a:ln w="25400">
              <a:solidFill>
                <a:srgbClr val="B4B4B4"/>
              </a:solidFill>
              <a:round/>
              <a:headEnd/>
              <a:tailEnd/>
            </a:ln>
          </p:spPr>
          <p:txBody>
            <a:bodyPr lIns="93296" tIns="46648" rIns="93296" bIns="46648"/>
            <a:lstStyle/>
            <a:p>
              <a:pPr>
                <a:defRPr/>
              </a:pPr>
              <a:endParaRPr lang="en-US" sz="1000" kern="0">
                <a:solidFill>
                  <a:prstClr val="black">
                    <a:lumMod val="65000"/>
                    <a:lumOff val="35000"/>
                  </a:prstClr>
                </a:solidFill>
              </a:endParaRPr>
            </a:p>
          </p:txBody>
        </p:sp>
        <p:sp>
          <p:nvSpPr>
            <p:cNvPr id="34" name="Rectangle 33"/>
            <p:cNvSpPr>
              <a:spLocks noChangeArrowheads="1"/>
            </p:cNvSpPr>
            <p:nvPr>
              <p:custDataLst>
                <p:tags r:id="rId1"/>
              </p:custDataLst>
            </p:nvPr>
          </p:nvSpPr>
          <p:spPr bwMode="gray">
            <a:xfrm>
              <a:off x="4765700" y="2608535"/>
              <a:ext cx="547438" cy="149726"/>
            </a:xfrm>
            <a:prstGeom prst="rect">
              <a:avLst/>
            </a:prstGeom>
            <a:solidFill>
              <a:schemeClr val="bg1">
                <a:lumMod val="95000"/>
              </a:schemeClr>
            </a:solidFill>
            <a:ln w="25400">
              <a:noFill/>
              <a:miter lim="800000"/>
              <a:headEnd/>
              <a:tailEnd/>
            </a:ln>
          </p:spPr>
          <p:txBody>
            <a:bodyPr wrap="none" lIns="0" tIns="0" rIns="0" bIns="0">
              <a:spAutoFit/>
            </a:bodyPr>
            <a:lstStyle/>
            <a:p>
              <a:pPr>
                <a:defRPr/>
              </a:pPr>
              <a:r>
                <a:rPr lang="en-US" sz="1000" kern="0">
                  <a:solidFill>
                    <a:prstClr val="black">
                      <a:lumMod val="65000"/>
                      <a:lumOff val="35000"/>
                    </a:prstClr>
                  </a:solidFill>
                </a:rPr>
                <a:t>Adamwara</a:t>
              </a:r>
            </a:p>
          </p:txBody>
        </p:sp>
        <p:sp>
          <p:nvSpPr>
            <p:cNvPr id="35" name="Rectangle 34"/>
            <p:cNvSpPr>
              <a:spLocks noChangeArrowheads="1"/>
            </p:cNvSpPr>
            <p:nvPr>
              <p:custDataLst>
                <p:tags r:id="rId2"/>
              </p:custDataLst>
            </p:nvPr>
          </p:nvSpPr>
          <p:spPr bwMode="gray">
            <a:xfrm>
              <a:off x="5297225" y="1580943"/>
              <a:ext cx="308811" cy="149726"/>
            </a:xfrm>
            <a:prstGeom prst="rect">
              <a:avLst/>
            </a:prstGeom>
            <a:solidFill>
              <a:schemeClr val="bg1">
                <a:lumMod val="95000"/>
              </a:schemeClr>
            </a:solidFill>
            <a:ln w="25400">
              <a:noFill/>
              <a:miter lim="800000"/>
              <a:headEnd/>
              <a:tailEnd/>
            </a:ln>
          </p:spPr>
          <p:txBody>
            <a:bodyPr wrap="none" lIns="0" tIns="0" rIns="0" bIns="0">
              <a:spAutoFit/>
            </a:bodyPr>
            <a:lstStyle/>
            <a:p>
              <a:pPr>
                <a:defRPr/>
              </a:pPr>
              <a:r>
                <a:rPr lang="en-US" sz="1000" kern="0" dirty="0" err="1">
                  <a:solidFill>
                    <a:prstClr val="black">
                      <a:lumMod val="65000"/>
                      <a:lumOff val="35000"/>
                    </a:prstClr>
                  </a:solidFill>
                </a:rPr>
                <a:t>Borno</a:t>
              </a:r>
              <a:endParaRPr lang="en-US" sz="1000" kern="0" dirty="0">
                <a:solidFill>
                  <a:prstClr val="black">
                    <a:lumMod val="65000"/>
                    <a:lumOff val="35000"/>
                  </a:prstClr>
                </a:solidFill>
              </a:endParaRPr>
            </a:p>
          </p:txBody>
        </p:sp>
        <p:sp>
          <p:nvSpPr>
            <p:cNvPr id="36" name="Rectangle 35"/>
            <p:cNvSpPr>
              <a:spLocks noChangeArrowheads="1"/>
            </p:cNvSpPr>
            <p:nvPr>
              <p:custDataLst>
                <p:tags r:id="rId3"/>
              </p:custDataLst>
            </p:nvPr>
          </p:nvSpPr>
          <p:spPr bwMode="gray">
            <a:xfrm>
              <a:off x="2814099" y="4507976"/>
              <a:ext cx="558354" cy="149726"/>
            </a:xfrm>
            <a:prstGeom prst="rect">
              <a:avLst/>
            </a:prstGeom>
            <a:noFill/>
            <a:ln w="25400">
              <a:noFill/>
              <a:miter lim="800000"/>
              <a:headEnd/>
              <a:tailEnd/>
            </a:ln>
          </p:spPr>
          <p:txBody>
            <a:bodyPr wrap="none" lIns="0" tIns="0" rIns="0" bIns="0">
              <a:spAutoFit/>
            </a:bodyPr>
            <a:lstStyle/>
            <a:p>
              <a:pPr>
                <a:defRPr/>
              </a:pPr>
              <a:r>
                <a:rPr lang="en-US" sz="1000" kern="0" dirty="0">
                  <a:solidFill>
                    <a:prstClr val="black">
                      <a:lumMod val="65000"/>
                      <a:lumOff val="35000"/>
                    </a:prstClr>
                  </a:solidFill>
                </a:rPr>
                <a:t>Cross River</a:t>
              </a:r>
            </a:p>
          </p:txBody>
        </p:sp>
        <p:sp>
          <p:nvSpPr>
            <p:cNvPr id="37" name="Rectangle 36"/>
            <p:cNvSpPr>
              <a:spLocks noChangeArrowheads="1"/>
            </p:cNvSpPr>
            <p:nvPr>
              <p:custDataLst>
                <p:tags r:id="rId4"/>
              </p:custDataLst>
            </p:nvPr>
          </p:nvSpPr>
          <p:spPr bwMode="gray">
            <a:xfrm>
              <a:off x="1646349" y="4621582"/>
              <a:ext cx="268260" cy="149726"/>
            </a:xfrm>
            <a:prstGeom prst="rect">
              <a:avLst/>
            </a:prstGeom>
            <a:solidFill>
              <a:schemeClr val="bg1">
                <a:lumMod val="95000"/>
              </a:schemeClr>
            </a:solidFill>
            <a:ln w="25400">
              <a:noFill/>
              <a:miter lim="800000"/>
              <a:headEnd/>
              <a:tailEnd/>
            </a:ln>
          </p:spPr>
          <p:txBody>
            <a:bodyPr wrap="none" lIns="0" tIns="0" rIns="0" bIns="0">
              <a:spAutoFit/>
            </a:bodyPr>
            <a:lstStyle/>
            <a:p>
              <a:pPr>
                <a:defRPr/>
              </a:pPr>
              <a:r>
                <a:rPr lang="en-US" sz="1000" kern="0" dirty="0">
                  <a:solidFill>
                    <a:prstClr val="black">
                      <a:lumMod val="65000"/>
                      <a:lumOff val="35000"/>
                    </a:prstClr>
                  </a:solidFill>
                </a:rPr>
                <a:t>Delta</a:t>
              </a:r>
            </a:p>
          </p:txBody>
        </p:sp>
        <p:sp>
          <p:nvSpPr>
            <p:cNvPr id="38" name="Rectangle 37"/>
            <p:cNvSpPr>
              <a:spLocks noChangeArrowheads="1"/>
            </p:cNvSpPr>
            <p:nvPr>
              <p:custDataLst>
                <p:tags r:id="rId5"/>
              </p:custDataLst>
            </p:nvPr>
          </p:nvSpPr>
          <p:spPr bwMode="gray">
            <a:xfrm>
              <a:off x="1701378" y="4122471"/>
              <a:ext cx="191837" cy="149726"/>
            </a:xfrm>
            <a:prstGeom prst="rect">
              <a:avLst/>
            </a:prstGeom>
            <a:noFill/>
            <a:ln w="25400">
              <a:noFill/>
              <a:miter lim="800000"/>
              <a:headEnd/>
              <a:tailEnd/>
            </a:ln>
          </p:spPr>
          <p:txBody>
            <a:bodyPr wrap="none" lIns="0" tIns="0" rIns="0" bIns="0">
              <a:spAutoFit/>
            </a:bodyPr>
            <a:lstStyle/>
            <a:p>
              <a:pPr>
                <a:defRPr/>
              </a:pPr>
              <a:r>
                <a:rPr lang="en-US" sz="1000" kern="0" dirty="0">
                  <a:solidFill>
                    <a:prstClr val="black">
                      <a:lumMod val="65000"/>
                      <a:lumOff val="35000"/>
                    </a:prstClr>
                  </a:solidFill>
                </a:rPr>
                <a:t>Edo</a:t>
              </a:r>
            </a:p>
          </p:txBody>
        </p:sp>
        <p:sp>
          <p:nvSpPr>
            <p:cNvPr id="39" name="Rectangle 38"/>
            <p:cNvSpPr>
              <a:spLocks noChangeArrowheads="1"/>
            </p:cNvSpPr>
            <p:nvPr>
              <p:custDataLst>
                <p:tags r:id="rId6"/>
              </p:custDataLst>
            </p:nvPr>
          </p:nvSpPr>
          <p:spPr bwMode="gray">
            <a:xfrm>
              <a:off x="2352363" y="3041271"/>
              <a:ext cx="152845" cy="149726"/>
            </a:xfrm>
            <a:prstGeom prst="rect">
              <a:avLst/>
            </a:prstGeom>
            <a:solidFill>
              <a:schemeClr val="bg1">
                <a:lumMod val="95000"/>
              </a:schemeClr>
            </a:solidFill>
            <a:ln w="25400">
              <a:noFill/>
              <a:miter lim="800000"/>
              <a:headEnd/>
              <a:tailEnd/>
            </a:ln>
          </p:spPr>
          <p:txBody>
            <a:bodyPr wrap="none" lIns="0" tIns="0" rIns="0" bIns="0">
              <a:spAutoFit/>
            </a:bodyPr>
            <a:lstStyle/>
            <a:p>
              <a:pPr>
                <a:defRPr/>
              </a:pPr>
              <a:r>
                <a:rPr lang="en-US" sz="1000" kern="0">
                  <a:solidFill>
                    <a:prstClr val="black">
                      <a:lumMod val="65000"/>
                      <a:lumOff val="35000"/>
                    </a:prstClr>
                  </a:solidFill>
                </a:rPr>
                <a:t>Fct</a:t>
              </a:r>
            </a:p>
          </p:txBody>
        </p:sp>
        <p:sp>
          <p:nvSpPr>
            <p:cNvPr id="40" name="Rectangle 39"/>
            <p:cNvSpPr>
              <a:spLocks noChangeArrowheads="1"/>
            </p:cNvSpPr>
            <p:nvPr>
              <p:custDataLst>
                <p:tags r:id="rId7"/>
              </p:custDataLst>
            </p:nvPr>
          </p:nvSpPr>
          <p:spPr bwMode="gray">
            <a:xfrm>
              <a:off x="2571147" y="2321321"/>
              <a:ext cx="380554" cy="149726"/>
            </a:xfrm>
            <a:prstGeom prst="rect">
              <a:avLst/>
            </a:prstGeom>
            <a:solidFill>
              <a:schemeClr val="bg1">
                <a:lumMod val="95000"/>
              </a:schemeClr>
            </a:solidFill>
            <a:ln w="25400">
              <a:solidFill>
                <a:schemeClr val="tx1"/>
              </a:solidFill>
              <a:miter lim="800000"/>
              <a:headEnd/>
              <a:tailEnd/>
            </a:ln>
          </p:spPr>
          <p:txBody>
            <a:bodyPr wrap="none" lIns="0" tIns="0" rIns="0" bIns="0">
              <a:spAutoFit/>
            </a:bodyPr>
            <a:lstStyle/>
            <a:p>
              <a:pPr>
                <a:defRPr/>
              </a:pPr>
              <a:r>
                <a:rPr lang="en-US" sz="1000" kern="0" dirty="0">
                  <a:solidFill>
                    <a:prstClr val="black">
                      <a:lumMod val="65000"/>
                      <a:lumOff val="35000"/>
                    </a:prstClr>
                  </a:solidFill>
                </a:rPr>
                <a:t>Kaduna</a:t>
              </a:r>
            </a:p>
          </p:txBody>
        </p:sp>
        <p:sp>
          <p:nvSpPr>
            <p:cNvPr id="41" name="Rectangle 43"/>
            <p:cNvSpPr>
              <a:spLocks noChangeArrowheads="1"/>
            </p:cNvSpPr>
            <p:nvPr>
              <p:custDataLst>
                <p:tags r:id="rId8"/>
              </p:custDataLst>
            </p:nvPr>
          </p:nvSpPr>
          <p:spPr bwMode="gray">
            <a:xfrm>
              <a:off x="783299" y="1762209"/>
              <a:ext cx="286976" cy="149726"/>
            </a:xfrm>
            <a:prstGeom prst="rect">
              <a:avLst/>
            </a:prstGeom>
            <a:solidFill>
              <a:schemeClr val="bg1">
                <a:lumMod val="95000"/>
              </a:schemeClr>
            </a:solidFill>
            <a:ln w="25400">
              <a:noFill/>
              <a:miter lim="800000"/>
              <a:headEnd/>
              <a:tailEnd/>
            </a:ln>
          </p:spPr>
          <p:txBody>
            <a:bodyPr wrap="none" lIns="0" tIns="0" rIns="0" bIns="0">
              <a:spAutoFit/>
            </a:bodyPr>
            <a:lstStyle/>
            <a:p>
              <a:pPr>
                <a:defRPr/>
              </a:pPr>
              <a:r>
                <a:rPr lang="en-US" sz="1000" kern="0" dirty="0" err="1">
                  <a:solidFill>
                    <a:prstClr val="black">
                      <a:lumMod val="65000"/>
                      <a:lumOff val="35000"/>
                    </a:prstClr>
                  </a:solidFill>
                </a:rPr>
                <a:t>Kebbi</a:t>
              </a:r>
              <a:endParaRPr lang="en-US" sz="1000" kern="0" dirty="0">
                <a:solidFill>
                  <a:prstClr val="black">
                    <a:lumMod val="65000"/>
                    <a:lumOff val="35000"/>
                  </a:prstClr>
                </a:solidFill>
              </a:endParaRPr>
            </a:p>
          </p:txBody>
        </p:sp>
        <p:sp>
          <p:nvSpPr>
            <p:cNvPr id="42" name="Rectangle 44"/>
            <p:cNvSpPr>
              <a:spLocks noChangeArrowheads="1"/>
            </p:cNvSpPr>
            <p:nvPr>
              <p:custDataLst>
                <p:tags r:id="rId9"/>
              </p:custDataLst>
            </p:nvPr>
          </p:nvSpPr>
          <p:spPr bwMode="gray">
            <a:xfrm>
              <a:off x="2063785" y="3562084"/>
              <a:ext cx="218350" cy="149726"/>
            </a:xfrm>
            <a:prstGeom prst="rect">
              <a:avLst/>
            </a:prstGeom>
            <a:solidFill>
              <a:schemeClr val="bg1">
                <a:lumMod val="95000"/>
              </a:schemeClr>
            </a:solidFill>
            <a:ln w="25400">
              <a:noFill/>
              <a:miter lim="800000"/>
              <a:headEnd/>
              <a:tailEnd/>
            </a:ln>
          </p:spPr>
          <p:txBody>
            <a:bodyPr wrap="none" lIns="0" tIns="0" rIns="0" bIns="0">
              <a:spAutoFit/>
            </a:bodyPr>
            <a:lstStyle/>
            <a:p>
              <a:pPr>
                <a:defRPr/>
              </a:pPr>
              <a:r>
                <a:rPr lang="en-US" sz="1000" kern="0" dirty="0" err="1">
                  <a:solidFill>
                    <a:prstClr val="black">
                      <a:lumMod val="65000"/>
                      <a:lumOff val="35000"/>
                    </a:prstClr>
                  </a:solidFill>
                </a:rPr>
                <a:t>Kogi</a:t>
              </a:r>
              <a:endParaRPr lang="en-US" sz="1000" kern="0" dirty="0">
                <a:solidFill>
                  <a:prstClr val="black">
                    <a:lumMod val="65000"/>
                    <a:lumOff val="35000"/>
                  </a:prstClr>
                </a:solidFill>
              </a:endParaRPr>
            </a:p>
          </p:txBody>
        </p:sp>
        <p:sp>
          <p:nvSpPr>
            <p:cNvPr id="43" name="Rectangle 45"/>
            <p:cNvSpPr>
              <a:spLocks noChangeArrowheads="1"/>
            </p:cNvSpPr>
            <p:nvPr>
              <p:custDataLst>
                <p:tags r:id="rId10"/>
              </p:custDataLst>
            </p:nvPr>
          </p:nvSpPr>
          <p:spPr bwMode="gray">
            <a:xfrm>
              <a:off x="1020869" y="2979997"/>
              <a:ext cx="316609" cy="149726"/>
            </a:xfrm>
            <a:prstGeom prst="rect">
              <a:avLst/>
            </a:prstGeom>
            <a:solidFill>
              <a:schemeClr val="bg1">
                <a:lumMod val="95000"/>
              </a:schemeClr>
            </a:solidFill>
            <a:ln w="25400" algn="ctr">
              <a:noFill/>
              <a:miter lim="800000"/>
              <a:headEnd/>
              <a:tailEnd/>
            </a:ln>
          </p:spPr>
          <p:txBody>
            <a:bodyPr wrap="none" lIns="0" tIns="0" rIns="0" bIns="0">
              <a:spAutoFit/>
            </a:bodyPr>
            <a:lstStyle/>
            <a:p>
              <a:r>
                <a:rPr lang="en-US" sz="1000" kern="0" dirty="0" err="1">
                  <a:solidFill>
                    <a:prstClr val="black">
                      <a:lumMod val="65000"/>
                      <a:lumOff val="35000"/>
                    </a:prstClr>
                  </a:solidFill>
                </a:rPr>
                <a:t>Kwara</a:t>
              </a:r>
              <a:endParaRPr lang="en-US" sz="1000" kern="0" dirty="0">
                <a:solidFill>
                  <a:prstClr val="black">
                    <a:lumMod val="65000"/>
                    <a:lumOff val="35000"/>
                  </a:prstClr>
                </a:solidFill>
              </a:endParaRPr>
            </a:p>
          </p:txBody>
        </p:sp>
        <p:sp>
          <p:nvSpPr>
            <p:cNvPr id="44" name="Rectangle 46"/>
            <p:cNvSpPr>
              <a:spLocks noChangeArrowheads="1"/>
            </p:cNvSpPr>
            <p:nvPr>
              <p:custDataLst>
                <p:tags r:id="rId11"/>
              </p:custDataLst>
            </p:nvPr>
          </p:nvSpPr>
          <p:spPr bwMode="gray">
            <a:xfrm>
              <a:off x="455785" y="4122471"/>
              <a:ext cx="285416" cy="149726"/>
            </a:xfrm>
            <a:prstGeom prst="rect">
              <a:avLst/>
            </a:prstGeom>
            <a:solidFill>
              <a:schemeClr val="bg1">
                <a:lumMod val="95000"/>
              </a:schemeClr>
            </a:solidFill>
            <a:ln w="25400">
              <a:noFill/>
              <a:miter lim="800000"/>
              <a:headEnd/>
              <a:tailEnd/>
            </a:ln>
          </p:spPr>
          <p:txBody>
            <a:bodyPr wrap="none" lIns="0" tIns="0" rIns="0" bIns="0">
              <a:spAutoFit/>
            </a:bodyPr>
            <a:lstStyle/>
            <a:p>
              <a:pPr>
                <a:defRPr/>
              </a:pPr>
              <a:r>
                <a:rPr lang="en-US" sz="1000" kern="0" dirty="0">
                  <a:solidFill>
                    <a:prstClr val="black">
                      <a:lumMod val="65000"/>
                      <a:lumOff val="35000"/>
                    </a:prstClr>
                  </a:solidFill>
                </a:rPr>
                <a:t>Lagos</a:t>
              </a:r>
            </a:p>
          </p:txBody>
        </p:sp>
        <p:sp>
          <p:nvSpPr>
            <p:cNvPr id="45" name="Rectangle 47"/>
            <p:cNvSpPr>
              <a:spLocks noChangeArrowheads="1"/>
            </p:cNvSpPr>
            <p:nvPr>
              <p:custDataLst>
                <p:tags r:id="rId12"/>
              </p:custDataLst>
            </p:nvPr>
          </p:nvSpPr>
          <p:spPr bwMode="gray">
            <a:xfrm>
              <a:off x="1422199" y="2471944"/>
              <a:ext cx="274499" cy="149726"/>
            </a:xfrm>
            <a:prstGeom prst="rect">
              <a:avLst/>
            </a:prstGeom>
            <a:solidFill>
              <a:schemeClr val="bg1">
                <a:lumMod val="95000"/>
              </a:schemeClr>
            </a:solidFill>
            <a:ln w="25400">
              <a:noFill/>
              <a:miter lim="800000"/>
              <a:headEnd/>
              <a:tailEnd/>
            </a:ln>
          </p:spPr>
          <p:txBody>
            <a:bodyPr wrap="none" lIns="0" tIns="0" rIns="0" bIns="0">
              <a:spAutoFit/>
            </a:bodyPr>
            <a:lstStyle/>
            <a:p>
              <a:pPr>
                <a:defRPr/>
              </a:pPr>
              <a:r>
                <a:rPr lang="en-US" sz="1000" kern="0" dirty="0">
                  <a:solidFill>
                    <a:prstClr val="black">
                      <a:lumMod val="65000"/>
                      <a:lumOff val="35000"/>
                    </a:prstClr>
                  </a:solidFill>
                </a:rPr>
                <a:t>Niger</a:t>
              </a:r>
            </a:p>
          </p:txBody>
        </p:sp>
        <p:sp>
          <p:nvSpPr>
            <p:cNvPr id="46" name="Rectangle 48"/>
            <p:cNvSpPr>
              <a:spLocks noChangeArrowheads="1"/>
            </p:cNvSpPr>
            <p:nvPr>
              <p:custDataLst>
                <p:tags r:id="rId13"/>
              </p:custDataLst>
            </p:nvPr>
          </p:nvSpPr>
          <p:spPr bwMode="gray">
            <a:xfrm>
              <a:off x="392700" y="3896528"/>
              <a:ext cx="272939" cy="149726"/>
            </a:xfrm>
            <a:prstGeom prst="rect">
              <a:avLst/>
            </a:prstGeom>
            <a:solidFill>
              <a:schemeClr val="bg1">
                <a:lumMod val="95000"/>
              </a:schemeClr>
            </a:solidFill>
            <a:ln w="25400">
              <a:noFill/>
              <a:miter lim="800000"/>
              <a:headEnd/>
              <a:tailEnd/>
            </a:ln>
          </p:spPr>
          <p:txBody>
            <a:bodyPr wrap="none" lIns="0" tIns="0" rIns="0" bIns="0">
              <a:spAutoFit/>
            </a:bodyPr>
            <a:lstStyle/>
            <a:p>
              <a:pPr>
                <a:defRPr/>
              </a:pPr>
              <a:r>
                <a:rPr lang="en-US" sz="1000" kern="0">
                  <a:solidFill>
                    <a:prstClr val="black">
                      <a:lumMod val="65000"/>
                      <a:lumOff val="35000"/>
                    </a:prstClr>
                  </a:solidFill>
                </a:rPr>
                <a:t>Ogun</a:t>
              </a:r>
            </a:p>
          </p:txBody>
        </p:sp>
        <p:sp>
          <p:nvSpPr>
            <p:cNvPr id="47" name="Rectangle 49"/>
            <p:cNvSpPr>
              <a:spLocks noChangeArrowheads="1"/>
            </p:cNvSpPr>
            <p:nvPr>
              <p:custDataLst>
                <p:tags r:id="rId14"/>
              </p:custDataLst>
            </p:nvPr>
          </p:nvSpPr>
          <p:spPr bwMode="gray">
            <a:xfrm>
              <a:off x="1298717" y="3819932"/>
              <a:ext cx="279178" cy="149726"/>
            </a:xfrm>
            <a:prstGeom prst="rect">
              <a:avLst/>
            </a:prstGeom>
            <a:noFill/>
            <a:ln w="25400">
              <a:noFill/>
              <a:miter lim="800000"/>
              <a:headEnd/>
              <a:tailEnd/>
            </a:ln>
          </p:spPr>
          <p:txBody>
            <a:bodyPr wrap="none" lIns="0" tIns="0" rIns="0" bIns="0">
              <a:spAutoFit/>
            </a:bodyPr>
            <a:lstStyle/>
            <a:p>
              <a:pPr>
                <a:defRPr/>
              </a:pPr>
              <a:r>
                <a:rPr lang="en-US" sz="1000" kern="0" dirty="0">
                  <a:solidFill>
                    <a:prstClr val="black">
                      <a:lumMod val="65000"/>
                      <a:lumOff val="35000"/>
                    </a:prstClr>
                  </a:solidFill>
                </a:rPr>
                <a:t>Ondo</a:t>
              </a:r>
            </a:p>
          </p:txBody>
        </p:sp>
        <p:sp>
          <p:nvSpPr>
            <p:cNvPr id="48" name="Rectangle 50"/>
            <p:cNvSpPr>
              <a:spLocks noChangeArrowheads="1"/>
            </p:cNvSpPr>
            <p:nvPr>
              <p:custDataLst>
                <p:tags r:id="rId15"/>
              </p:custDataLst>
            </p:nvPr>
          </p:nvSpPr>
          <p:spPr bwMode="gray">
            <a:xfrm>
              <a:off x="980605" y="3652716"/>
              <a:ext cx="262020" cy="149726"/>
            </a:xfrm>
            <a:prstGeom prst="rect">
              <a:avLst/>
            </a:prstGeom>
            <a:noFill/>
            <a:ln w="25400">
              <a:noFill/>
              <a:miter lim="800000"/>
              <a:headEnd/>
              <a:tailEnd/>
            </a:ln>
          </p:spPr>
          <p:txBody>
            <a:bodyPr wrap="none" lIns="0" tIns="0" rIns="0" bIns="0">
              <a:spAutoFit/>
            </a:bodyPr>
            <a:lstStyle/>
            <a:p>
              <a:pPr>
                <a:defRPr/>
              </a:pPr>
              <a:r>
                <a:rPr lang="en-US" sz="1000" kern="0" dirty="0">
                  <a:solidFill>
                    <a:prstClr val="black">
                      <a:lumMod val="65000"/>
                      <a:lumOff val="35000"/>
                    </a:prstClr>
                  </a:solidFill>
                </a:rPr>
                <a:t>Osun</a:t>
              </a:r>
            </a:p>
          </p:txBody>
        </p:sp>
        <p:sp>
          <p:nvSpPr>
            <p:cNvPr id="49" name="Rectangle 51"/>
            <p:cNvSpPr>
              <a:spLocks noChangeArrowheads="1"/>
            </p:cNvSpPr>
            <p:nvPr>
              <p:custDataLst>
                <p:tags r:id="rId16"/>
              </p:custDataLst>
            </p:nvPr>
          </p:nvSpPr>
          <p:spPr bwMode="gray">
            <a:xfrm>
              <a:off x="530951" y="3204661"/>
              <a:ext cx="204315" cy="149726"/>
            </a:xfrm>
            <a:prstGeom prst="rect">
              <a:avLst/>
            </a:prstGeom>
            <a:solidFill>
              <a:schemeClr val="bg1">
                <a:lumMod val="95000"/>
              </a:schemeClr>
            </a:solidFill>
            <a:ln w="25400" algn="ctr">
              <a:noFill/>
              <a:miter lim="800000"/>
              <a:headEnd/>
              <a:tailEnd/>
            </a:ln>
          </p:spPr>
          <p:txBody>
            <a:bodyPr wrap="none" lIns="0" tIns="0" rIns="0" bIns="0">
              <a:spAutoFit/>
            </a:bodyPr>
            <a:lstStyle/>
            <a:p>
              <a:r>
                <a:rPr lang="en-US" sz="1000" kern="0" dirty="0">
                  <a:solidFill>
                    <a:prstClr val="black">
                      <a:lumMod val="65000"/>
                      <a:lumOff val="35000"/>
                    </a:prstClr>
                  </a:solidFill>
                </a:rPr>
                <a:t>Oyo</a:t>
              </a:r>
            </a:p>
          </p:txBody>
        </p:sp>
        <p:sp>
          <p:nvSpPr>
            <p:cNvPr id="50" name="Rectangle 52"/>
            <p:cNvSpPr>
              <a:spLocks noChangeArrowheads="1"/>
            </p:cNvSpPr>
            <p:nvPr>
              <p:custDataLst>
                <p:tags r:id="rId17"/>
              </p:custDataLst>
            </p:nvPr>
          </p:nvSpPr>
          <p:spPr bwMode="gray">
            <a:xfrm>
              <a:off x="2172508" y="4968797"/>
              <a:ext cx="305692" cy="149726"/>
            </a:xfrm>
            <a:prstGeom prst="rect">
              <a:avLst/>
            </a:prstGeom>
            <a:solidFill>
              <a:schemeClr val="bg1">
                <a:lumMod val="95000"/>
              </a:schemeClr>
            </a:solidFill>
            <a:ln w="25400">
              <a:noFill/>
              <a:miter lim="800000"/>
              <a:headEnd/>
              <a:tailEnd/>
            </a:ln>
          </p:spPr>
          <p:txBody>
            <a:bodyPr wrap="none" lIns="0" tIns="0" rIns="0" bIns="0">
              <a:spAutoFit/>
            </a:bodyPr>
            <a:lstStyle/>
            <a:p>
              <a:pPr>
                <a:defRPr/>
              </a:pPr>
              <a:r>
                <a:rPr lang="en-US" sz="1000" kern="0">
                  <a:solidFill>
                    <a:prstClr val="black">
                      <a:lumMod val="65000"/>
                      <a:lumOff val="35000"/>
                    </a:prstClr>
                  </a:solidFill>
                </a:rPr>
                <a:t>Rivers</a:t>
              </a:r>
            </a:p>
          </p:txBody>
        </p:sp>
        <p:sp>
          <p:nvSpPr>
            <p:cNvPr id="51" name="Rectangle 54"/>
            <p:cNvSpPr>
              <a:spLocks noChangeArrowheads="1"/>
            </p:cNvSpPr>
            <p:nvPr>
              <p:custDataLst>
                <p:tags r:id="rId18"/>
              </p:custDataLst>
            </p:nvPr>
          </p:nvSpPr>
          <p:spPr bwMode="gray">
            <a:xfrm>
              <a:off x="3897395" y="3419116"/>
              <a:ext cx="347802" cy="149726"/>
            </a:xfrm>
            <a:prstGeom prst="rect">
              <a:avLst/>
            </a:prstGeom>
            <a:solidFill>
              <a:schemeClr val="bg1">
                <a:lumMod val="95000"/>
              </a:schemeClr>
            </a:solidFill>
            <a:ln w="25400">
              <a:noFill/>
              <a:miter lim="800000"/>
              <a:headEnd/>
              <a:tailEnd/>
            </a:ln>
          </p:spPr>
          <p:txBody>
            <a:bodyPr wrap="none" lIns="0" tIns="0" rIns="0" bIns="0">
              <a:spAutoFit/>
            </a:bodyPr>
            <a:lstStyle/>
            <a:p>
              <a:pPr>
                <a:defRPr/>
              </a:pPr>
              <a:r>
                <a:rPr lang="en-US" sz="1000" kern="0" dirty="0" err="1">
                  <a:solidFill>
                    <a:prstClr val="black">
                      <a:lumMod val="65000"/>
                      <a:lumOff val="35000"/>
                    </a:prstClr>
                  </a:solidFill>
                </a:rPr>
                <a:t>Taraba</a:t>
              </a:r>
              <a:endParaRPr lang="en-US" sz="1000" kern="0" dirty="0">
                <a:solidFill>
                  <a:prstClr val="black">
                    <a:lumMod val="65000"/>
                    <a:lumOff val="35000"/>
                  </a:prstClr>
                </a:solidFill>
              </a:endParaRPr>
            </a:p>
          </p:txBody>
        </p:sp>
        <p:sp>
          <p:nvSpPr>
            <p:cNvPr id="52" name="Freeform 56"/>
            <p:cNvSpPr>
              <a:spLocks/>
            </p:cNvSpPr>
            <p:nvPr>
              <p:custDataLst>
                <p:tags r:id="rId19"/>
              </p:custDataLst>
            </p:nvPr>
          </p:nvSpPr>
          <p:spPr bwMode="gray">
            <a:xfrm>
              <a:off x="2023518" y="4739023"/>
              <a:ext cx="64427" cy="462096"/>
            </a:xfrm>
            <a:custGeom>
              <a:avLst/>
              <a:gdLst>
                <a:gd name="T0" fmla="*/ 2147483647 w 36"/>
                <a:gd name="T1" fmla="*/ 0 h 273"/>
                <a:gd name="T2" fmla="*/ 2147483647 w 36"/>
                <a:gd name="T3" fmla="*/ 2147483647 h 273"/>
                <a:gd name="T4" fmla="*/ 2147483647 w 36"/>
                <a:gd name="T5" fmla="*/ 2147483647 h 273"/>
                <a:gd name="T6" fmla="*/ 2147483647 w 36"/>
                <a:gd name="T7" fmla="*/ 2147483647 h 273"/>
                <a:gd name="T8" fmla="*/ 0 w 36"/>
                <a:gd name="T9" fmla="*/ 2147483647 h 273"/>
                <a:gd name="T10" fmla="*/ 2147483647 w 36"/>
                <a:gd name="T11" fmla="*/ 2147483647 h 273"/>
                <a:gd name="T12" fmla="*/ 2147483647 w 36"/>
                <a:gd name="T13" fmla="*/ 2147483647 h 273"/>
                <a:gd name="T14" fmla="*/ 2147483647 w 36"/>
                <a:gd name="T15" fmla="*/ 2147483647 h 273"/>
                <a:gd name="T16" fmla="*/ 2147483647 w 36"/>
                <a:gd name="T17" fmla="*/ 2147483647 h 273"/>
                <a:gd name="T18" fmla="*/ 2147483647 w 36"/>
                <a:gd name="T19" fmla="*/ 2147483647 h 27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6"/>
                <a:gd name="T31" fmla="*/ 0 h 273"/>
                <a:gd name="T32" fmla="*/ 36 w 36"/>
                <a:gd name="T33" fmla="*/ 273 h 27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6" h="273">
                  <a:moveTo>
                    <a:pt x="24" y="0"/>
                  </a:moveTo>
                  <a:lnTo>
                    <a:pt x="30" y="42"/>
                  </a:lnTo>
                  <a:lnTo>
                    <a:pt x="21" y="90"/>
                  </a:lnTo>
                  <a:lnTo>
                    <a:pt x="9" y="126"/>
                  </a:lnTo>
                  <a:lnTo>
                    <a:pt x="0" y="165"/>
                  </a:lnTo>
                  <a:lnTo>
                    <a:pt x="36" y="180"/>
                  </a:lnTo>
                  <a:lnTo>
                    <a:pt x="21" y="204"/>
                  </a:lnTo>
                  <a:lnTo>
                    <a:pt x="12" y="237"/>
                  </a:lnTo>
                  <a:lnTo>
                    <a:pt x="12" y="261"/>
                  </a:lnTo>
                  <a:lnTo>
                    <a:pt x="33" y="273"/>
                  </a:lnTo>
                </a:path>
              </a:pathLst>
            </a:custGeom>
            <a:solidFill>
              <a:schemeClr val="bg1">
                <a:lumMod val="95000"/>
              </a:schemeClr>
            </a:solidFill>
            <a:ln w="25400">
              <a:solidFill>
                <a:srgbClr val="000000"/>
              </a:solidFill>
              <a:round/>
              <a:headEnd/>
              <a:tailEnd/>
            </a:ln>
          </p:spPr>
          <p:txBody>
            <a:bodyPr lIns="93296" tIns="46648" rIns="93296" bIns="46648"/>
            <a:lstStyle/>
            <a:p>
              <a:pPr>
                <a:defRPr/>
              </a:pPr>
              <a:endParaRPr lang="en-US" sz="1000" kern="0">
                <a:solidFill>
                  <a:prstClr val="black">
                    <a:lumMod val="65000"/>
                    <a:lumOff val="35000"/>
                  </a:prstClr>
                </a:solidFill>
              </a:endParaRPr>
            </a:p>
          </p:txBody>
        </p:sp>
        <p:sp>
          <p:nvSpPr>
            <p:cNvPr id="53" name="Freeform 57"/>
            <p:cNvSpPr>
              <a:spLocks/>
            </p:cNvSpPr>
            <p:nvPr>
              <p:custDataLst>
                <p:tags r:id="rId20"/>
              </p:custDataLst>
            </p:nvPr>
          </p:nvSpPr>
          <p:spPr bwMode="gray">
            <a:xfrm>
              <a:off x="909464" y="651649"/>
              <a:ext cx="1267068" cy="866747"/>
            </a:xfrm>
            <a:custGeom>
              <a:avLst/>
              <a:gdLst>
                <a:gd name="T0" fmla="*/ 2147483647 w 713"/>
                <a:gd name="T1" fmla="*/ 2147483647 h 513"/>
                <a:gd name="T2" fmla="*/ 2147483647 w 713"/>
                <a:gd name="T3" fmla="*/ 2147483647 h 513"/>
                <a:gd name="T4" fmla="*/ 2147483647 w 713"/>
                <a:gd name="T5" fmla="*/ 2147483647 h 513"/>
                <a:gd name="T6" fmla="*/ 2147483647 w 713"/>
                <a:gd name="T7" fmla="*/ 2147483647 h 513"/>
                <a:gd name="T8" fmla="*/ 2147483647 w 713"/>
                <a:gd name="T9" fmla="*/ 2147483647 h 513"/>
                <a:gd name="T10" fmla="*/ 2147483647 w 713"/>
                <a:gd name="T11" fmla="*/ 2147483647 h 513"/>
                <a:gd name="T12" fmla="*/ 2147483647 w 713"/>
                <a:gd name="T13" fmla="*/ 2147483647 h 513"/>
                <a:gd name="T14" fmla="*/ 2147483647 w 713"/>
                <a:gd name="T15" fmla="*/ 2147483647 h 513"/>
                <a:gd name="T16" fmla="*/ 2147483647 w 713"/>
                <a:gd name="T17" fmla="*/ 2147483647 h 513"/>
                <a:gd name="T18" fmla="*/ 2147483647 w 713"/>
                <a:gd name="T19" fmla="*/ 2147483647 h 513"/>
                <a:gd name="T20" fmla="*/ 2147483647 w 713"/>
                <a:gd name="T21" fmla="*/ 2147483647 h 513"/>
                <a:gd name="T22" fmla="*/ 2147483647 w 713"/>
                <a:gd name="T23" fmla="*/ 2147483647 h 513"/>
                <a:gd name="T24" fmla="*/ 2147483647 w 713"/>
                <a:gd name="T25" fmla="*/ 2147483647 h 513"/>
                <a:gd name="T26" fmla="*/ 2147483647 w 713"/>
                <a:gd name="T27" fmla="*/ 2147483647 h 513"/>
                <a:gd name="T28" fmla="*/ 2147483647 w 713"/>
                <a:gd name="T29" fmla="*/ 2147483647 h 513"/>
                <a:gd name="T30" fmla="*/ 2147483647 w 713"/>
                <a:gd name="T31" fmla="*/ 2147483647 h 513"/>
                <a:gd name="T32" fmla="*/ 2147483647 w 713"/>
                <a:gd name="T33" fmla="*/ 2147483647 h 513"/>
                <a:gd name="T34" fmla="*/ 2147483647 w 713"/>
                <a:gd name="T35" fmla="*/ 2147483647 h 513"/>
                <a:gd name="T36" fmla="*/ 2147483647 w 713"/>
                <a:gd name="T37" fmla="*/ 2147483647 h 513"/>
                <a:gd name="T38" fmla="*/ 2147483647 w 713"/>
                <a:gd name="T39" fmla="*/ 2147483647 h 513"/>
                <a:gd name="T40" fmla="*/ 2147483647 w 713"/>
                <a:gd name="T41" fmla="*/ 2147483647 h 513"/>
                <a:gd name="T42" fmla="*/ 2147483647 w 713"/>
                <a:gd name="T43" fmla="*/ 2147483647 h 513"/>
                <a:gd name="T44" fmla="*/ 2147483647 w 713"/>
                <a:gd name="T45" fmla="*/ 2147483647 h 513"/>
                <a:gd name="T46" fmla="*/ 2147483647 w 713"/>
                <a:gd name="T47" fmla="*/ 2147483647 h 513"/>
                <a:gd name="T48" fmla="*/ 2147483647 w 713"/>
                <a:gd name="T49" fmla="*/ 2147483647 h 513"/>
                <a:gd name="T50" fmla="*/ 2147483647 w 713"/>
                <a:gd name="T51" fmla="*/ 2147483647 h 513"/>
                <a:gd name="T52" fmla="*/ 2147483647 w 713"/>
                <a:gd name="T53" fmla="*/ 2147483647 h 513"/>
                <a:gd name="T54" fmla="*/ 2147483647 w 713"/>
                <a:gd name="T55" fmla="*/ 2147483647 h 513"/>
                <a:gd name="T56" fmla="*/ 2147483647 w 713"/>
                <a:gd name="T57" fmla="*/ 2147483647 h 513"/>
                <a:gd name="T58" fmla="*/ 2147483647 w 713"/>
                <a:gd name="T59" fmla="*/ 2147483647 h 513"/>
                <a:gd name="T60" fmla="*/ 2147483647 w 713"/>
                <a:gd name="T61" fmla="*/ 2147483647 h 513"/>
                <a:gd name="T62" fmla="*/ 2147483647 w 713"/>
                <a:gd name="T63" fmla="*/ 2147483647 h 513"/>
                <a:gd name="T64" fmla="*/ 2147483647 w 713"/>
                <a:gd name="T65" fmla="*/ 2147483647 h 513"/>
                <a:gd name="T66" fmla="*/ 2147483647 w 713"/>
                <a:gd name="T67" fmla="*/ 2147483647 h 513"/>
                <a:gd name="T68" fmla="*/ 2147483647 w 713"/>
                <a:gd name="T69" fmla="*/ 2147483647 h 513"/>
                <a:gd name="T70" fmla="*/ 2147483647 w 713"/>
                <a:gd name="T71" fmla="*/ 2147483647 h 513"/>
                <a:gd name="T72" fmla="*/ 2147483647 w 713"/>
                <a:gd name="T73" fmla="*/ 2147483647 h 513"/>
                <a:gd name="T74" fmla="*/ 2147483647 w 713"/>
                <a:gd name="T75" fmla="*/ 2147483647 h 513"/>
                <a:gd name="T76" fmla="*/ 2147483647 w 713"/>
                <a:gd name="T77" fmla="*/ 2147483647 h 513"/>
                <a:gd name="T78" fmla="*/ 2147483647 w 713"/>
                <a:gd name="T79" fmla="*/ 2147483647 h 513"/>
                <a:gd name="T80" fmla="*/ 2147483647 w 713"/>
                <a:gd name="T81" fmla="*/ 2147483647 h 513"/>
                <a:gd name="T82" fmla="*/ 2147483647 w 713"/>
                <a:gd name="T83" fmla="*/ 2147483647 h 513"/>
                <a:gd name="T84" fmla="*/ 2147483647 w 713"/>
                <a:gd name="T85" fmla="*/ 2147483647 h 513"/>
                <a:gd name="T86" fmla="*/ 2147483647 w 713"/>
                <a:gd name="T87" fmla="*/ 2147483647 h 513"/>
                <a:gd name="T88" fmla="*/ 2147483647 w 713"/>
                <a:gd name="T89" fmla="*/ 2147483647 h 513"/>
                <a:gd name="T90" fmla="*/ 2147483647 w 713"/>
                <a:gd name="T91" fmla="*/ 2147483647 h 513"/>
                <a:gd name="T92" fmla="*/ 2147483647 w 713"/>
                <a:gd name="T93" fmla="*/ 2147483647 h 513"/>
                <a:gd name="T94" fmla="*/ 2147483647 w 713"/>
                <a:gd name="T95" fmla="*/ 2147483647 h 513"/>
                <a:gd name="T96" fmla="*/ 2147483647 w 713"/>
                <a:gd name="T97" fmla="*/ 2147483647 h 513"/>
                <a:gd name="T98" fmla="*/ 2147483647 w 713"/>
                <a:gd name="T99" fmla="*/ 2147483647 h 513"/>
                <a:gd name="T100" fmla="*/ 2147483647 w 713"/>
                <a:gd name="T101" fmla="*/ 2147483647 h 513"/>
                <a:gd name="T102" fmla="*/ 2147483647 w 713"/>
                <a:gd name="T103" fmla="*/ 2147483647 h 513"/>
                <a:gd name="T104" fmla="*/ 2147483647 w 713"/>
                <a:gd name="T105" fmla="*/ 2147483647 h 513"/>
                <a:gd name="T106" fmla="*/ 2147483647 w 713"/>
                <a:gd name="T107" fmla="*/ 2147483647 h 513"/>
                <a:gd name="T108" fmla="*/ 2147483647 w 713"/>
                <a:gd name="T109" fmla="*/ 2147483647 h 513"/>
                <a:gd name="T110" fmla="*/ 2147483647 w 713"/>
                <a:gd name="T111" fmla="*/ 2147483647 h 51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13"/>
                <a:gd name="T169" fmla="*/ 0 h 513"/>
                <a:gd name="T170" fmla="*/ 713 w 713"/>
                <a:gd name="T171" fmla="*/ 513 h 51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13" h="513">
                  <a:moveTo>
                    <a:pt x="120" y="513"/>
                  </a:moveTo>
                  <a:lnTo>
                    <a:pt x="123" y="433"/>
                  </a:lnTo>
                  <a:lnTo>
                    <a:pt x="135" y="421"/>
                  </a:lnTo>
                  <a:lnTo>
                    <a:pt x="149" y="411"/>
                  </a:lnTo>
                  <a:lnTo>
                    <a:pt x="162" y="409"/>
                  </a:lnTo>
                  <a:lnTo>
                    <a:pt x="180" y="418"/>
                  </a:lnTo>
                  <a:lnTo>
                    <a:pt x="188" y="400"/>
                  </a:lnTo>
                  <a:lnTo>
                    <a:pt x="186" y="366"/>
                  </a:lnTo>
                  <a:lnTo>
                    <a:pt x="182" y="355"/>
                  </a:lnTo>
                  <a:lnTo>
                    <a:pt x="179" y="345"/>
                  </a:lnTo>
                  <a:lnTo>
                    <a:pt x="185" y="334"/>
                  </a:lnTo>
                  <a:lnTo>
                    <a:pt x="188" y="312"/>
                  </a:lnTo>
                  <a:lnTo>
                    <a:pt x="186" y="298"/>
                  </a:lnTo>
                  <a:lnTo>
                    <a:pt x="174" y="279"/>
                  </a:lnTo>
                  <a:lnTo>
                    <a:pt x="165" y="268"/>
                  </a:lnTo>
                  <a:lnTo>
                    <a:pt x="174" y="255"/>
                  </a:lnTo>
                  <a:lnTo>
                    <a:pt x="176" y="241"/>
                  </a:lnTo>
                  <a:lnTo>
                    <a:pt x="180" y="228"/>
                  </a:lnTo>
                  <a:lnTo>
                    <a:pt x="188" y="216"/>
                  </a:lnTo>
                  <a:lnTo>
                    <a:pt x="182" y="208"/>
                  </a:lnTo>
                  <a:lnTo>
                    <a:pt x="164" y="223"/>
                  </a:lnTo>
                  <a:lnTo>
                    <a:pt x="155" y="232"/>
                  </a:lnTo>
                  <a:lnTo>
                    <a:pt x="141" y="229"/>
                  </a:lnTo>
                  <a:lnTo>
                    <a:pt x="120" y="216"/>
                  </a:lnTo>
                  <a:lnTo>
                    <a:pt x="95" y="213"/>
                  </a:lnTo>
                  <a:lnTo>
                    <a:pt x="83" y="201"/>
                  </a:lnTo>
                  <a:lnTo>
                    <a:pt x="71" y="192"/>
                  </a:lnTo>
                  <a:lnTo>
                    <a:pt x="59" y="180"/>
                  </a:lnTo>
                  <a:lnTo>
                    <a:pt x="48" y="175"/>
                  </a:lnTo>
                  <a:lnTo>
                    <a:pt x="36" y="184"/>
                  </a:lnTo>
                  <a:lnTo>
                    <a:pt x="14" y="184"/>
                  </a:lnTo>
                  <a:lnTo>
                    <a:pt x="3" y="181"/>
                  </a:lnTo>
                  <a:lnTo>
                    <a:pt x="0" y="115"/>
                  </a:lnTo>
                  <a:lnTo>
                    <a:pt x="20" y="117"/>
                  </a:lnTo>
                  <a:lnTo>
                    <a:pt x="48" y="93"/>
                  </a:lnTo>
                  <a:lnTo>
                    <a:pt x="66" y="82"/>
                  </a:lnTo>
                  <a:lnTo>
                    <a:pt x="84" y="63"/>
                  </a:lnTo>
                  <a:lnTo>
                    <a:pt x="99" y="52"/>
                  </a:lnTo>
                  <a:lnTo>
                    <a:pt x="120" y="51"/>
                  </a:lnTo>
                  <a:lnTo>
                    <a:pt x="143" y="40"/>
                  </a:lnTo>
                  <a:lnTo>
                    <a:pt x="164" y="40"/>
                  </a:lnTo>
                  <a:lnTo>
                    <a:pt x="194" y="31"/>
                  </a:lnTo>
                  <a:lnTo>
                    <a:pt x="213" y="30"/>
                  </a:lnTo>
                  <a:lnTo>
                    <a:pt x="221" y="40"/>
                  </a:lnTo>
                  <a:lnTo>
                    <a:pt x="243" y="40"/>
                  </a:lnTo>
                  <a:lnTo>
                    <a:pt x="267" y="37"/>
                  </a:lnTo>
                  <a:lnTo>
                    <a:pt x="300" y="40"/>
                  </a:lnTo>
                  <a:lnTo>
                    <a:pt x="326" y="34"/>
                  </a:lnTo>
                  <a:lnTo>
                    <a:pt x="342" y="19"/>
                  </a:lnTo>
                  <a:lnTo>
                    <a:pt x="365" y="4"/>
                  </a:lnTo>
                  <a:lnTo>
                    <a:pt x="395" y="0"/>
                  </a:lnTo>
                  <a:lnTo>
                    <a:pt x="425" y="15"/>
                  </a:lnTo>
                  <a:lnTo>
                    <a:pt x="449" y="22"/>
                  </a:lnTo>
                  <a:lnTo>
                    <a:pt x="477" y="34"/>
                  </a:lnTo>
                  <a:lnTo>
                    <a:pt x="521" y="46"/>
                  </a:lnTo>
                  <a:lnTo>
                    <a:pt x="540" y="57"/>
                  </a:lnTo>
                  <a:lnTo>
                    <a:pt x="564" y="66"/>
                  </a:lnTo>
                  <a:lnTo>
                    <a:pt x="593" y="61"/>
                  </a:lnTo>
                  <a:lnTo>
                    <a:pt x="618" y="67"/>
                  </a:lnTo>
                  <a:lnTo>
                    <a:pt x="642" y="78"/>
                  </a:lnTo>
                  <a:lnTo>
                    <a:pt x="666" y="102"/>
                  </a:lnTo>
                  <a:lnTo>
                    <a:pt x="681" y="112"/>
                  </a:lnTo>
                  <a:lnTo>
                    <a:pt x="695" y="129"/>
                  </a:lnTo>
                  <a:lnTo>
                    <a:pt x="704" y="138"/>
                  </a:lnTo>
                  <a:lnTo>
                    <a:pt x="713" y="148"/>
                  </a:lnTo>
                  <a:lnTo>
                    <a:pt x="684" y="160"/>
                  </a:lnTo>
                  <a:lnTo>
                    <a:pt x="672" y="171"/>
                  </a:lnTo>
                  <a:lnTo>
                    <a:pt x="659" y="183"/>
                  </a:lnTo>
                  <a:lnTo>
                    <a:pt x="638" y="180"/>
                  </a:lnTo>
                  <a:lnTo>
                    <a:pt x="590" y="169"/>
                  </a:lnTo>
                  <a:lnTo>
                    <a:pt x="564" y="163"/>
                  </a:lnTo>
                  <a:lnTo>
                    <a:pt x="555" y="154"/>
                  </a:lnTo>
                  <a:lnTo>
                    <a:pt x="534" y="157"/>
                  </a:lnTo>
                  <a:lnTo>
                    <a:pt x="519" y="157"/>
                  </a:lnTo>
                  <a:lnTo>
                    <a:pt x="519" y="172"/>
                  </a:lnTo>
                  <a:lnTo>
                    <a:pt x="522" y="193"/>
                  </a:lnTo>
                  <a:lnTo>
                    <a:pt x="521" y="214"/>
                  </a:lnTo>
                  <a:lnTo>
                    <a:pt x="524" y="225"/>
                  </a:lnTo>
                  <a:lnTo>
                    <a:pt x="534" y="237"/>
                  </a:lnTo>
                  <a:lnTo>
                    <a:pt x="548" y="246"/>
                  </a:lnTo>
                  <a:lnTo>
                    <a:pt x="539" y="262"/>
                  </a:lnTo>
                  <a:lnTo>
                    <a:pt x="533" y="270"/>
                  </a:lnTo>
                  <a:lnTo>
                    <a:pt x="524" y="280"/>
                  </a:lnTo>
                  <a:lnTo>
                    <a:pt x="510" y="297"/>
                  </a:lnTo>
                  <a:lnTo>
                    <a:pt x="503" y="307"/>
                  </a:lnTo>
                  <a:lnTo>
                    <a:pt x="482" y="309"/>
                  </a:lnTo>
                  <a:lnTo>
                    <a:pt x="468" y="306"/>
                  </a:lnTo>
                  <a:lnTo>
                    <a:pt x="455" y="307"/>
                  </a:lnTo>
                  <a:lnTo>
                    <a:pt x="437" y="322"/>
                  </a:lnTo>
                  <a:lnTo>
                    <a:pt x="423" y="336"/>
                  </a:lnTo>
                  <a:lnTo>
                    <a:pt x="410" y="346"/>
                  </a:lnTo>
                  <a:lnTo>
                    <a:pt x="399" y="355"/>
                  </a:lnTo>
                  <a:lnTo>
                    <a:pt x="387" y="364"/>
                  </a:lnTo>
                  <a:lnTo>
                    <a:pt x="378" y="375"/>
                  </a:lnTo>
                  <a:lnTo>
                    <a:pt x="383" y="384"/>
                  </a:lnTo>
                  <a:lnTo>
                    <a:pt x="377" y="399"/>
                  </a:lnTo>
                  <a:lnTo>
                    <a:pt x="375" y="421"/>
                  </a:lnTo>
                  <a:lnTo>
                    <a:pt x="371" y="433"/>
                  </a:lnTo>
                  <a:lnTo>
                    <a:pt x="369" y="444"/>
                  </a:lnTo>
                  <a:lnTo>
                    <a:pt x="366" y="456"/>
                  </a:lnTo>
                  <a:lnTo>
                    <a:pt x="351" y="459"/>
                  </a:lnTo>
                  <a:lnTo>
                    <a:pt x="330" y="459"/>
                  </a:lnTo>
                  <a:lnTo>
                    <a:pt x="306" y="460"/>
                  </a:lnTo>
                  <a:lnTo>
                    <a:pt x="293" y="453"/>
                  </a:lnTo>
                  <a:lnTo>
                    <a:pt x="282" y="447"/>
                  </a:lnTo>
                  <a:lnTo>
                    <a:pt x="264" y="448"/>
                  </a:lnTo>
                  <a:lnTo>
                    <a:pt x="246" y="456"/>
                  </a:lnTo>
                  <a:lnTo>
                    <a:pt x="228" y="456"/>
                  </a:lnTo>
                  <a:lnTo>
                    <a:pt x="204" y="462"/>
                  </a:lnTo>
                  <a:lnTo>
                    <a:pt x="174" y="472"/>
                  </a:lnTo>
                  <a:lnTo>
                    <a:pt x="153" y="490"/>
                  </a:lnTo>
                  <a:lnTo>
                    <a:pt x="143" y="502"/>
                  </a:lnTo>
                  <a:lnTo>
                    <a:pt x="120" y="513"/>
                  </a:lnTo>
                  <a:close/>
                </a:path>
              </a:pathLst>
            </a:custGeom>
            <a:solidFill>
              <a:srgbClr val="00CC00"/>
            </a:solidFill>
            <a:ln w="25400">
              <a:solidFill>
                <a:srgbClr val="B4B4B4"/>
              </a:solidFill>
              <a:round/>
              <a:headEnd/>
              <a:tailEnd/>
            </a:ln>
          </p:spPr>
          <p:txBody>
            <a:bodyPr lIns="93296" tIns="46648" rIns="93296" bIns="46648"/>
            <a:lstStyle/>
            <a:p>
              <a:pPr>
                <a:defRPr/>
              </a:pPr>
              <a:endParaRPr lang="en-US" sz="1000" kern="0">
                <a:solidFill>
                  <a:prstClr val="black">
                    <a:lumMod val="65000"/>
                    <a:lumOff val="35000"/>
                  </a:prstClr>
                </a:solidFill>
              </a:endParaRPr>
            </a:p>
          </p:txBody>
        </p:sp>
        <p:sp>
          <p:nvSpPr>
            <p:cNvPr id="54" name="Freeform 59"/>
            <p:cNvSpPr>
              <a:spLocks/>
            </p:cNvSpPr>
            <p:nvPr>
              <p:custDataLst>
                <p:tags r:id="rId21"/>
              </p:custDataLst>
            </p:nvPr>
          </p:nvSpPr>
          <p:spPr bwMode="gray">
            <a:xfrm>
              <a:off x="1293343" y="3419115"/>
              <a:ext cx="479177" cy="385505"/>
            </a:xfrm>
            <a:custGeom>
              <a:avLst/>
              <a:gdLst>
                <a:gd name="T0" fmla="*/ 2147483647 w 270"/>
                <a:gd name="T1" fmla="*/ 2147483647 h 228"/>
                <a:gd name="T2" fmla="*/ 2147483647 w 270"/>
                <a:gd name="T3" fmla="*/ 2147483647 h 228"/>
                <a:gd name="T4" fmla="*/ 2147483647 w 270"/>
                <a:gd name="T5" fmla="*/ 2147483647 h 228"/>
                <a:gd name="T6" fmla="*/ 2147483647 w 270"/>
                <a:gd name="T7" fmla="*/ 2147483647 h 228"/>
                <a:gd name="T8" fmla="*/ 2147483647 w 270"/>
                <a:gd name="T9" fmla="*/ 2147483647 h 228"/>
                <a:gd name="T10" fmla="*/ 0 w 270"/>
                <a:gd name="T11" fmla="*/ 2147483647 h 228"/>
                <a:gd name="T12" fmla="*/ 2147483647 w 270"/>
                <a:gd name="T13" fmla="*/ 2147483647 h 228"/>
                <a:gd name="T14" fmla="*/ 2147483647 w 270"/>
                <a:gd name="T15" fmla="*/ 2147483647 h 228"/>
                <a:gd name="T16" fmla="*/ 2147483647 w 270"/>
                <a:gd name="T17" fmla="*/ 2147483647 h 228"/>
                <a:gd name="T18" fmla="*/ 2147483647 w 270"/>
                <a:gd name="T19" fmla="*/ 2147483647 h 228"/>
                <a:gd name="T20" fmla="*/ 2147483647 w 270"/>
                <a:gd name="T21" fmla="*/ 2147483647 h 228"/>
                <a:gd name="T22" fmla="*/ 2147483647 w 270"/>
                <a:gd name="T23" fmla="*/ 2147483647 h 228"/>
                <a:gd name="T24" fmla="*/ 2147483647 w 270"/>
                <a:gd name="T25" fmla="*/ 2147483647 h 228"/>
                <a:gd name="T26" fmla="*/ 2147483647 w 270"/>
                <a:gd name="T27" fmla="*/ 2147483647 h 228"/>
                <a:gd name="T28" fmla="*/ 2147483647 w 270"/>
                <a:gd name="T29" fmla="*/ 2147483647 h 228"/>
                <a:gd name="T30" fmla="*/ 2147483647 w 270"/>
                <a:gd name="T31" fmla="*/ 2147483647 h 228"/>
                <a:gd name="T32" fmla="*/ 2147483647 w 270"/>
                <a:gd name="T33" fmla="*/ 2147483647 h 228"/>
                <a:gd name="T34" fmla="*/ 2147483647 w 270"/>
                <a:gd name="T35" fmla="*/ 2147483647 h 228"/>
                <a:gd name="T36" fmla="*/ 2147483647 w 270"/>
                <a:gd name="T37" fmla="*/ 2147483647 h 228"/>
                <a:gd name="T38" fmla="*/ 2147483647 w 270"/>
                <a:gd name="T39" fmla="*/ 2147483647 h 228"/>
                <a:gd name="T40" fmla="*/ 2147483647 w 270"/>
                <a:gd name="T41" fmla="*/ 2147483647 h 228"/>
                <a:gd name="T42" fmla="*/ 2147483647 w 270"/>
                <a:gd name="T43" fmla="*/ 0 h 228"/>
                <a:gd name="T44" fmla="*/ 2147483647 w 270"/>
                <a:gd name="T45" fmla="*/ 2147483647 h 228"/>
                <a:gd name="T46" fmla="*/ 2147483647 w 270"/>
                <a:gd name="T47" fmla="*/ 2147483647 h 228"/>
                <a:gd name="T48" fmla="*/ 2147483647 w 270"/>
                <a:gd name="T49" fmla="*/ 2147483647 h 228"/>
                <a:gd name="T50" fmla="*/ 2147483647 w 270"/>
                <a:gd name="T51" fmla="*/ 2147483647 h 228"/>
                <a:gd name="T52" fmla="*/ 2147483647 w 270"/>
                <a:gd name="T53" fmla="*/ 2147483647 h 228"/>
                <a:gd name="T54" fmla="*/ 2147483647 w 270"/>
                <a:gd name="T55" fmla="*/ 2147483647 h 228"/>
                <a:gd name="T56" fmla="*/ 2147483647 w 270"/>
                <a:gd name="T57" fmla="*/ 2147483647 h 228"/>
                <a:gd name="T58" fmla="*/ 2147483647 w 270"/>
                <a:gd name="T59" fmla="*/ 2147483647 h 228"/>
                <a:gd name="T60" fmla="*/ 2147483647 w 270"/>
                <a:gd name="T61" fmla="*/ 2147483647 h 228"/>
                <a:gd name="T62" fmla="*/ 2147483647 w 270"/>
                <a:gd name="T63" fmla="*/ 2147483647 h 228"/>
                <a:gd name="T64" fmla="*/ 2147483647 w 270"/>
                <a:gd name="T65" fmla="*/ 2147483647 h 228"/>
                <a:gd name="T66" fmla="*/ 2147483647 w 270"/>
                <a:gd name="T67" fmla="*/ 2147483647 h 228"/>
                <a:gd name="T68" fmla="*/ 2147483647 w 270"/>
                <a:gd name="T69" fmla="*/ 2147483647 h 228"/>
                <a:gd name="T70" fmla="*/ 2147483647 w 270"/>
                <a:gd name="T71" fmla="*/ 2147483647 h 228"/>
                <a:gd name="T72" fmla="*/ 2147483647 w 270"/>
                <a:gd name="T73" fmla="*/ 2147483647 h 228"/>
                <a:gd name="T74" fmla="*/ 2147483647 w 270"/>
                <a:gd name="T75" fmla="*/ 2147483647 h 228"/>
                <a:gd name="T76" fmla="*/ 2147483647 w 270"/>
                <a:gd name="T77" fmla="*/ 2147483647 h 228"/>
                <a:gd name="T78" fmla="*/ 2147483647 w 270"/>
                <a:gd name="T79" fmla="*/ 2147483647 h 228"/>
                <a:gd name="T80" fmla="*/ 2147483647 w 270"/>
                <a:gd name="T81" fmla="*/ 2147483647 h 228"/>
                <a:gd name="T82" fmla="*/ 2147483647 w 270"/>
                <a:gd name="T83" fmla="*/ 2147483647 h 228"/>
                <a:gd name="T84" fmla="*/ 2147483647 w 270"/>
                <a:gd name="T85" fmla="*/ 2147483647 h 228"/>
                <a:gd name="T86" fmla="*/ 2147483647 w 270"/>
                <a:gd name="T87" fmla="*/ 2147483647 h 228"/>
                <a:gd name="T88" fmla="*/ 2147483647 w 270"/>
                <a:gd name="T89" fmla="*/ 2147483647 h 228"/>
                <a:gd name="T90" fmla="*/ 2147483647 w 270"/>
                <a:gd name="T91" fmla="*/ 2147483647 h 228"/>
                <a:gd name="T92" fmla="*/ 2147483647 w 270"/>
                <a:gd name="T93" fmla="*/ 2147483647 h 228"/>
                <a:gd name="T94" fmla="*/ 2147483647 w 270"/>
                <a:gd name="T95" fmla="*/ 2147483647 h 228"/>
                <a:gd name="T96" fmla="*/ 2147483647 w 270"/>
                <a:gd name="T97" fmla="*/ 2147483647 h 228"/>
                <a:gd name="T98" fmla="*/ 2147483647 w 270"/>
                <a:gd name="T99" fmla="*/ 2147483647 h 228"/>
                <a:gd name="T100" fmla="*/ 2147483647 w 270"/>
                <a:gd name="T101" fmla="*/ 2147483647 h 228"/>
                <a:gd name="T102" fmla="*/ 2147483647 w 270"/>
                <a:gd name="T103" fmla="*/ 2147483647 h 22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70"/>
                <a:gd name="T157" fmla="*/ 0 h 228"/>
                <a:gd name="T158" fmla="*/ 270 w 270"/>
                <a:gd name="T159" fmla="*/ 228 h 22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70" h="228">
                  <a:moveTo>
                    <a:pt x="14" y="204"/>
                  </a:moveTo>
                  <a:lnTo>
                    <a:pt x="17" y="193"/>
                  </a:lnTo>
                  <a:lnTo>
                    <a:pt x="6" y="184"/>
                  </a:lnTo>
                  <a:lnTo>
                    <a:pt x="6" y="168"/>
                  </a:lnTo>
                  <a:lnTo>
                    <a:pt x="6" y="153"/>
                  </a:lnTo>
                  <a:lnTo>
                    <a:pt x="0" y="132"/>
                  </a:lnTo>
                  <a:lnTo>
                    <a:pt x="5" y="112"/>
                  </a:lnTo>
                  <a:lnTo>
                    <a:pt x="5" y="93"/>
                  </a:lnTo>
                  <a:lnTo>
                    <a:pt x="5" y="76"/>
                  </a:lnTo>
                  <a:lnTo>
                    <a:pt x="9" y="55"/>
                  </a:lnTo>
                  <a:lnTo>
                    <a:pt x="23" y="42"/>
                  </a:lnTo>
                  <a:lnTo>
                    <a:pt x="36" y="34"/>
                  </a:lnTo>
                  <a:lnTo>
                    <a:pt x="47" y="24"/>
                  </a:lnTo>
                  <a:lnTo>
                    <a:pt x="65" y="19"/>
                  </a:lnTo>
                  <a:lnTo>
                    <a:pt x="75" y="15"/>
                  </a:lnTo>
                  <a:lnTo>
                    <a:pt x="89" y="24"/>
                  </a:lnTo>
                  <a:lnTo>
                    <a:pt x="101" y="33"/>
                  </a:lnTo>
                  <a:lnTo>
                    <a:pt x="120" y="34"/>
                  </a:lnTo>
                  <a:lnTo>
                    <a:pt x="131" y="31"/>
                  </a:lnTo>
                  <a:lnTo>
                    <a:pt x="135" y="18"/>
                  </a:lnTo>
                  <a:lnTo>
                    <a:pt x="144" y="1"/>
                  </a:lnTo>
                  <a:lnTo>
                    <a:pt x="162" y="0"/>
                  </a:lnTo>
                  <a:lnTo>
                    <a:pt x="177" y="7"/>
                  </a:lnTo>
                  <a:lnTo>
                    <a:pt x="177" y="27"/>
                  </a:lnTo>
                  <a:lnTo>
                    <a:pt x="189" y="25"/>
                  </a:lnTo>
                  <a:lnTo>
                    <a:pt x="209" y="18"/>
                  </a:lnTo>
                  <a:lnTo>
                    <a:pt x="215" y="28"/>
                  </a:lnTo>
                  <a:lnTo>
                    <a:pt x="201" y="45"/>
                  </a:lnTo>
                  <a:lnTo>
                    <a:pt x="201" y="61"/>
                  </a:lnTo>
                  <a:lnTo>
                    <a:pt x="210" y="75"/>
                  </a:lnTo>
                  <a:lnTo>
                    <a:pt x="225" y="82"/>
                  </a:lnTo>
                  <a:lnTo>
                    <a:pt x="245" y="87"/>
                  </a:lnTo>
                  <a:lnTo>
                    <a:pt x="252" y="96"/>
                  </a:lnTo>
                  <a:lnTo>
                    <a:pt x="270" y="91"/>
                  </a:lnTo>
                  <a:lnTo>
                    <a:pt x="266" y="103"/>
                  </a:lnTo>
                  <a:lnTo>
                    <a:pt x="252" y="115"/>
                  </a:lnTo>
                  <a:lnTo>
                    <a:pt x="246" y="123"/>
                  </a:lnTo>
                  <a:lnTo>
                    <a:pt x="233" y="135"/>
                  </a:lnTo>
                  <a:lnTo>
                    <a:pt x="212" y="138"/>
                  </a:lnTo>
                  <a:lnTo>
                    <a:pt x="206" y="159"/>
                  </a:lnTo>
                  <a:lnTo>
                    <a:pt x="204" y="175"/>
                  </a:lnTo>
                  <a:lnTo>
                    <a:pt x="197" y="186"/>
                  </a:lnTo>
                  <a:lnTo>
                    <a:pt x="180" y="196"/>
                  </a:lnTo>
                  <a:lnTo>
                    <a:pt x="164" y="208"/>
                  </a:lnTo>
                  <a:lnTo>
                    <a:pt x="141" y="205"/>
                  </a:lnTo>
                  <a:lnTo>
                    <a:pt x="114" y="195"/>
                  </a:lnTo>
                  <a:lnTo>
                    <a:pt x="90" y="207"/>
                  </a:lnTo>
                  <a:lnTo>
                    <a:pt x="72" y="217"/>
                  </a:lnTo>
                  <a:lnTo>
                    <a:pt x="51" y="228"/>
                  </a:lnTo>
                  <a:lnTo>
                    <a:pt x="39" y="223"/>
                  </a:lnTo>
                  <a:lnTo>
                    <a:pt x="26" y="210"/>
                  </a:lnTo>
                  <a:lnTo>
                    <a:pt x="14" y="204"/>
                  </a:lnTo>
                  <a:close/>
                </a:path>
              </a:pathLst>
            </a:custGeom>
            <a:solidFill>
              <a:schemeClr val="bg1">
                <a:lumMod val="95000"/>
              </a:schemeClr>
            </a:solidFill>
            <a:ln w="25400">
              <a:solidFill>
                <a:srgbClr val="B4B4B4"/>
              </a:solidFill>
              <a:round/>
              <a:headEnd/>
              <a:tailEnd/>
            </a:ln>
          </p:spPr>
          <p:txBody>
            <a:bodyPr lIns="93296" tIns="46648" rIns="93296" bIns="46648"/>
            <a:lstStyle/>
            <a:p>
              <a:pPr>
                <a:defRPr/>
              </a:pPr>
              <a:endParaRPr lang="en-US" sz="1000" kern="0">
                <a:solidFill>
                  <a:prstClr val="black">
                    <a:lumMod val="65000"/>
                    <a:lumOff val="35000"/>
                  </a:prstClr>
                </a:solidFill>
              </a:endParaRPr>
            </a:p>
          </p:txBody>
        </p:sp>
        <p:sp>
          <p:nvSpPr>
            <p:cNvPr id="55" name="Freeform 60"/>
            <p:cNvSpPr>
              <a:spLocks/>
            </p:cNvSpPr>
            <p:nvPr>
              <p:custDataLst>
                <p:tags r:id="rId22"/>
              </p:custDataLst>
            </p:nvPr>
          </p:nvSpPr>
          <p:spPr bwMode="gray">
            <a:xfrm>
              <a:off x="4059685" y="1910285"/>
              <a:ext cx="696620" cy="839941"/>
            </a:xfrm>
            <a:custGeom>
              <a:avLst/>
              <a:gdLst>
                <a:gd name="T0" fmla="*/ 2147483647 w 392"/>
                <a:gd name="T1" fmla="*/ 2147483647 h 497"/>
                <a:gd name="T2" fmla="*/ 2147483647 w 392"/>
                <a:gd name="T3" fmla="*/ 2147483647 h 497"/>
                <a:gd name="T4" fmla="*/ 2147483647 w 392"/>
                <a:gd name="T5" fmla="*/ 2147483647 h 497"/>
                <a:gd name="T6" fmla="*/ 2147483647 w 392"/>
                <a:gd name="T7" fmla="*/ 2147483647 h 497"/>
                <a:gd name="T8" fmla="*/ 2147483647 w 392"/>
                <a:gd name="T9" fmla="*/ 2147483647 h 497"/>
                <a:gd name="T10" fmla="*/ 2147483647 w 392"/>
                <a:gd name="T11" fmla="*/ 2147483647 h 497"/>
                <a:gd name="T12" fmla="*/ 2147483647 w 392"/>
                <a:gd name="T13" fmla="*/ 2147483647 h 497"/>
                <a:gd name="T14" fmla="*/ 2147483647 w 392"/>
                <a:gd name="T15" fmla="*/ 2147483647 h 497"/>
                <a:gd name="T16" fmla="*/ 2147483647 w 392"/>
                <a:gd name="T17" fmla="*/ 2147483647 h 497"/>
                <a:gd name="T18" fmla="*/ 2147483647 w 392"/>
                <a:gd name="T19" fmla="*/ 2147483647 h 497"/>
                <a:gd name="T20" fmla="*/ 2147483647 w 392"/>
                <a:gd name="T21" fmla="*/ 2147483647 h 497"/>
                <a:gd name="T22" fmla="*/ 2147483647 w 392"/>
                <a:gd name="T23" fmla="*/ 2147483647 h 497"/>
                <a:gd name="T24" fmla="*/ 2147483647 w 392"/>
                <a:gd name="T25" fmla="*/ 2147483647 h 497"/>
                <a:gd name="T26" fmla="*/ 2147483647 w 392"/>
                <a:gd name="T27" fmla="*/ 2147483647 h 497"/>
                <a:gd name="T28" fmla="*/ 2147483647 w 392"/>
                <a:gd name="T29" fmla="*/ 2147483647 h 497"/>
                <a:gd name="T30" fmla="*/ 2147483647 w 392"/>
                <a:gd name="T31" fmla="*/ 2147483647 h 497"/>
                <a:gd name="T32" fmla="*/ 2147483647 w 392"/>
                <a:gd name="T33" fmla="*/ 2147483647 h 497"/>
                <a:gd name="T34" fmla="*/ 2147483647 w 392"/>
                <a:gd name="T35" fmla="*/ 2147483647 h 497"/>
                <a:gd name="T36" fmla="*/ 2147483647 w 392"/>
                <a:gd name="T37" fmla="*/ 2147483647 h 497"/>
                <a:gd name="T38" fmla="*/ 2147483647 w 392"/>
                <a:gd name="T39" fmla="*/ 2147483647 h 497"/>
                <a:gd name="T40" fmla="*/ 2147483647 w 392"/>
                <a:gd name="T41" fmla="*/ 2147483647 h 497"/>
                <a:gd name="T42" fmla="*/ 2147483647 w 392"/>
                <a:gd name="T43" fmla="*/ 2147483647 h 497"/>
                <a:gd name="T44" fmla="*/ 2147483647 w 392"/>
                <a:gd name="T45" fmla="*/ 2147483647 h 497"/>
                <a:gd name="T46" fmla="*/ 2147483647 w 392"/>
                <a:gd name="T47" fmla="*/ 2147483647 h 497"/>
                <a:gd name="T48" fmla="*/ 2147483647 w 392"/>
                <a:gd name="T49" fmla="*/ 2147483647 h 497"/>
                <a:gd name="T50" fmla="*/ 2147483647 w 392"/>
                <a:gd name="T51" fmla="*/ 2147483647 h 497"/>
                <a:gd name="T52" fmla="*/ 2147483647 w 392"/>
                <a:gd name="T53" fmla="*/ 2147483647 h 497"/>
                <a:gd name="T54" fmla="*/ 0 w 392"/>
                <a:gd name="T55" fmla="*/ 2147483647 h 497"/>
                <a:gd name="T56" fmla="*/ 2147483647 w 392"/>
                <a:gd name="T57" fmla="*/ 2147483647 h 497"/>
                <a:gd name="T58" fmla="*/ 2147483647 w 392"/>
                <a:gd name="T59" fmla="*/ 2147483647 h 497"/>
                <a:gd name="T60" fmla="*/ 2147483647 w 392"/>
                <a:gd name="T61" fmla="*/ 2147483647 h 497"/>
                <a:gd name="T62" fmla="*/ 2147483647 w 392"/>
                <a:gd name="T63" fmla="*/ 2147483647 h 497"/>
                <a:gd name="T64" fmla="*/ 2147483647 w 392"/>
                <a:gd name="T65" fmla="*/ 2147483647 h 497"/>
                <a:gd name="T66" fmla="*/ 2147483647 w 392"/>
                <a:gd name="T67" fmla="*/ 2147483647 h 497"/>
                <a:gd name="T68" fmla="*/ 2147483647 w 392"/>
                <a:gd name="T69" fmla="*/ 2147483647 h 497"/>
                <a:gd name="T70" fmla="*/ 2147483647 w 392"/>
                <a:gd name="T71" fmla="*/ 2147483647 h 497"/>
                <a:gd name="T72" fmla="*/ 2147483647 w 392"/>
                <a:gd name="T73" fmla="*/ 2147483647 h 497"/>
                <a:gd name="T74" fmla="*/ 2147483647 w 392"/>
                <a:gd name="T75" fmla="*/ 2147483647 h 497"/>
                <a:gd name="T76" fmla="*/ 2147483647 w 392"/>
                <a:gd name="T77" fmla="*/ 2147483647 h 497"/>
                <a:gd name="T78" fmla="*/ 2147483647 w 392"/>
                <a:gd name="T79" fmla="*/ 2147483647 h 49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92"/>
                <a:gd name="T121" fmla="*/ 0 h 497"/>
                <a:gd name="T122" fmla="*/ 392 w 392"/>
                <a:gd name="T123" fmla="*/ 497 h 497"/>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92" h="497">
                  <a:moveTo>
                    <a:pt x="149" y="480"/>
                  </a:moveTo>
                  <a:lnTo>
                    <a:pt x="165" y="486"/>
                  </a:lnTo>
                  <a:lnTo>
                    <a:pt x="182" y="483"/>
                  </a:lnTo>
                  <a:lnTo>
                    <a:pt x="198" y="491"/>
                  </a:lnTo>
                  <a:lnTo>
                    <a:pt x="222" y="488"/>
                  </a:lnTo>
                  <a:lnTo>
                    <a:pt x="236" y="494"/>
                  </a:lnTo>
                  <a:lnTo>
                    <a:pt x="251" y="497"/>
                  </a:lnTo>
                  <a:lnTo>
                    <a:pt x="269" y="492"/>
                  </a:lnTo>
                  <a:lnTo>
                    <a:pt x="294" y="485"/>
                  </a:lnTo>
                  <a:lnTo>
                    <a:pt x="318" y="482"/>
                  </a:lnTo>
                  <a:lnTo>
                    <a:pt x="341" y="476"/>
                  </a:lnTo>
                  <a:lnTo>
                    <a:pt x="360" y="464"/>
                  </a:lnTo>
                  <a:lnTo>
                    <a:pt x="368" y="452"/>
                  </a:lnTo>
                  <a:lnTo>
                    <a:pt x="383" y="444"/>
                  </a:lnTo>
                  <a:lnTo>
                    <a:pt x="389" y="429"/>
                  </a:lnTo>
                  <a:lnTo>
                    <a:pt x="392" y="413"/>
                  </a:lnTo>
                  <a:lnTo>
                    <a:pt x="392" y="389"/>
                  </a:lnTo>
                  <a:lnTo>
                    <a:pt x="386" y="365"/>
                  </a:lnTo>
                  <a:lnTo>
                    <a:pt x="386" y="350"/>
                  </a:lnTo>
                  <a:lnTo>
                    <a:pt x="372" y="333"/>
                  </a:lnTo>
                  <a:lnTo>
                    <a:pt x="348" y="321"/>
                  </a:lnTo>
                  <a:lnTo>
                    <a:pt x="329" y="309"/>
                  </a:lnTo>
                  <a:lnTo>
                    <a:pt x="327" y="297"/>
                  </a:lnTo>
                  <a:lnTo>
                    <a:pt x="318" y="288"/>
                  </a:lnTo>
                  <a:lnTo>
                    <a:pt x="308" y="284"/>
                  </a:lnTo>
                  <a:lnTo>
                    <a:pt x="312" y="263"/>
                  </a:lnTo>
                  <a:lnTo>
                    <a:pt x="330" y="248"/>
                  </a:lnTo>
                  <a:lnTo>
                    <a:pt x="345" y="242"/>
                  </a:lnTo>
                  <a:lnTo>
                    <a:pt x="357" y="233"/>
                  </a:lnTo>
                  <a:lnTo>
                    <a:pt x="344" y="222"/>
                  </a:lnTo>
                  <a:lnTo>
                    <a:pt x="332" y="216"/>
                  </a:lnTo>
                  <a:lnTo>
                    <a:pt x="320" y="215"/>
                  </a:lnTo>
                  <a:lnTo>
                    <a:pt x="306" y="200"/>
                  </a:lnTo>
                  <a:lnTo>
                    <a:pt x="309" y="174"/>
                  </a:lnTo>
                  <a:lnTo>
                    <a:pt x="309" y="155"/>
                  </a:lnTo>
                  <a:lnTo>
                    <a:pt x="309" y="143"/>
                  </a:lnTo>
                  <a:lnTo>
                    <a:pt x="309" y="117"/>
                  </a:lnTo>
                  <a:lnTo>
                    <a:pt x="299" y="101"/>
                  </a:lnTo>
                  <a:lnTo>
                    <a:pt x="287" y="84"/>
                  </a:lnTo>
                  <a:lnTo>
                    <a:pt x="270" y="71"/>
                  </a:lnTo>
                  <a:lnTo>
                    <a:pt x="254" y="54"/>
                  </a:lnTo>
                  <a:lnTo>
                    <a:pt x="246" y="33"/>
                  </a:lnTo>
                  <a:lnTo>
                    <a:pt x="236" y="20"/>
                  </a:lnTo>
                  <a:lnTo>
                    <a:pt x="222" y="14"/>
                  </a:lnTo>
                  <a:lnTo>
                    <a:pt x="209" y="12"/>
                  </a:lnTo>
                  <a:lnTo>
                    <a:pt x="197" y="2"/>
                  </a:lnTo>
                  <a:lnTo>
                    <a:pt x="174" y="2"/>
                  </a:lnTo>
                  <a:lnTo>
                    <a:pt x="147" y="2"/>
                  </a:lnTo>
                  <a:lnTo>
                    <a:pt x="128" y="0"/>
                  </a:lnTo>
                  <a:lnTo>
                    <a:pt x="116" y="14"/>
                  </a:lnTo>
                  <a:lnTo>
                    <a:pt x="77" y="44"/>
                  </a:lnTo>
                  <a:lnTo>
                    <a:pt x="59" y="68"/>
                  </a:lnTo>
                  <a:lnTo>
                    <a:pt x="38" y="80"/>
                  </a:lnTo>
                  <a:lnTo>
                    <a:pt x="29" y="99"/>
                  </a:lnTo>
                  <a:lnTo>
                    <a:pt x="15" y="117"/>
                  </a:lnTo>
                  <a:lnTo>
                    <a:pt x="0" y="138"/>
                  </a:lnTo>
                  <a:lnTo>
                    <a:pt x="3" y="159"/>
                  </a:lnTo>
                  <a:lnTo>
                    <a:pt x="8" y="180"/>
                  </a:lnTo>
                  <a:lnTo>
                    <a:pt x="12" y="195"/>
                  </a:lnTo>
                  <a:lnTo>
                    <a:pt x="23" y="206"/>
                  </a:lnTo>
                  <a:lnTo>
                    <a:pt x="41" y="221"/>
                  </a:lnTo>
                  <a:lnTo>
                    <a:pt x="57" y="234"/>
                  </a:lnTo>
                  <a:lnTo>
                    <a:pt x="66" y="240"/>
                  </a:lnTo>
                  <a:lnTo>
                    <a:pt x="80" y="249"/>
                  </a:lnTo>
                  <a:lnTo>
                    <a:pt x="99" y="261"/>
                  </a:lnTo>
                  <a:lnTo>
                    <a:pt x="110" y="272"/>
                  </a:lnTo>
                  <a:lnTo>
                    <a:pt x="102" y="287"/>
                  </a:lnTo>
                  <a:lnTo>
                    <a:pt x="99" y="306"/>
                  </a:lnTo>
                  <a:lnTo>
                    <a:pt x="90" y="315"/>
                  </a:lnTo>
                  <a:lnTo>
                    <a:pt x="81" y="323"/>
                  </a:lnTo>
                  <a:lnTo>
                    <a:pt x="78" y="338"/>
                  </a:lnTo>
                  <a:lnTo>
                    <a:pt x="87" y="357"/>
                  </a:lnTo>
                  <a:lnTo>
                    <a:pt x="96" y="374"/>
                  </a:lnTo>
                  <a:lnTo>
                    <a:pt x="107" y="378"/>
                  </a:lnTo>
                  <a:lnTo>
                    <a:pt x="123" y="396"/>
                  </a:lnTo>
                  <a:lnTo>
                    <a:pt x="135" y="402"/>
                  </a:lnTo>
                  <a:lnTo>
                    <a:pt x="140" y="416"/>
                  </a:lnTo>
                  <a:lnTo>
                    <a:pt x="144" y="432"/>
                  </a:lnTo>
                  <a:lnTo>
                    <a:pt x="152" y="462"/>
                  </a:lnTo>
                  <a:lnTo>
                    <a:pt x="149" y="480"/>
                  </a:lnTo>
                  <a:close/>
                </a:path>
              </a:pathLst>
            </a:custGeom>
            <a:solidFill>
              <a:srgbClr val="00CC00"/>
            </a:solidFill>
            <a:ln w="25400">
              <a:solidFill>
                <a:schemeClr val="bg1">
                  <a:lumMod val="65000"/>
                </a:schemeClr>
              </a:solidFill>
              <a:round/>
              <a:headEnd/>
              <a:tailEnd/>
            </a:ln>
          </p:spPr>
          <p:txBody>
            <a:bodyPr lIns="93296" tIns="46648" rIns="93296" bIns="46648"/>
            <a:lstStyle/>
            <a:p>
              <a:pPr>
                <a:defRPr/>
              </a:pPr>
              <a:endParaRPr lang="en-US" sz="1000" kern="0">
                <a:solidFill>
                  <a:prstClr val="black">
                    <a:lumMod val="65000"/>
                    <a:lumOff val="35000"/>
                  </a:prstClr>
                </a:solidFill>
              </a:endParaRPr>
            </a:p>
          </p:txBody>
        </p:sp>
        <p:sp>
          <p:nvSpPr>
            <p:cNvPr id="56" name="Rectangle 61"/>
            <p:cNvSpPr>
              <a:spLocks noChangeArrowheads="1"/>
            </p:cNvSpPr>
            <p:nvPr>
              <p:custDataLst>
                <p:tags r:id="rId23"/>
              </p:custDataLst>
            </p:nvPr>
          </p:nvSpPr>
          <p:spPr bwMode="gray">
            <a:xfrm>
              <a:off x="4148272" y="2050700"/>
              <a:ext cx="371197" cy="149726"/>
            </a:xfrm>
            <a:prstGeom prst="rect">
              <a:avLst/>
            </a:prstGeom>
            <a:solidFill>
              <a:schemeClr val="bg1">
                <a:lumMod val="95000"/>
              </a:schemeClr>
            </a:solidFill>
            <a:ln w="25400" algn="ctr">
              <a:noFill/>
              <a:miter lim="800000"/>
              <a:headEnd/>
              <a:tailEnd/>
            </a:ln>
          </p:spPr>
          <p:txBody>
            <a:bodyPr wrap="none" lIns="0" tIns="0" rIns="0" bIns="0">
              <a:spAutoFit/>
            </a:bodyPr>
            <a:lstStyle/>
            <a:p>
              <a:r>
                <a:rPr lang="en-US" sz="1000" kern="0" dirty="0" err="1">
                  <a:solidFill>
                    <a:prstClr val="black">
                      <a:lumMod val="65000"/>
                      <a:lumOff val="35000"/>
                    </a:prstClr>
                  </a:solidFill>
                </a:rPr>
                <a:t>Gombe</a:t>
              </a:r>
              <a:endParaRPr lang="en-US" sz="1000" kern="0" dirty="0">
                <a:solidFill>
                  <a:prstClr val="black">
                    <a:lumMod val="65000"/>
                    <a:lumOff val="35000"/>
                  </a:prstClr>
                </a:solidFill>
              </a:endParaRPr>
            </a:p>
          </p:txBody>
        </p:sp>
        <p:sp>
          <p:nvSpPr>
            <p:cNvPr id="57" name="Rectangle 62"/>
            <p:cNvSpPr>
              <a:spLocks noChangeArrowheads="1"/>
            </p:cNvSpPr>
            <p:nvPr>
              <p:custDataLst>
                <p:tags r:id="rId24"/>
              </p:custDataLst>
            </p:nvPr>
          </p:nvSpPr>
          <p:spPr bwMode="gray">
            <a:xfrm>
              <a:off x="3487892" y="2923831"/>
              <a:ext cx="380554" cy="149726"/>
            </a:xfrm>
            <a:prstGeom prst="rect">
              <a:avLst/>
            </a:prstGeom>
            <a:solidFill>
              <a:schemeClr val="bg1">
                <a:lumMod val="95000"/>
              </a:schemeClr>
            </a:solidFill>
            <a:ln w="25400">
              <a:solidFill>
                <a:schemeClr val="tx1"/>
              </a:solidFill>
              <a:miter lim="800000"/>
              <a:headEnd/>
              <a:tailEnd/>
            </a:ln>
          </p:spPr>
          <p:txBody>
            <a:bodyPr wrap="none" lIns="0" tIns="0" rIns="0" bIns="0">
              <a:spAutoFit/>
            </a:bodyPr>
            <a:lstStyle/>
            <a:p>
              <a:pPr>
                <a:defRPr/>
              </a:pPr>
              <a:r>
                <a:rPr lang="en-US" sz="1000" kern="0">
                  <a:solidFill>
                    <a:prstClr val="black">
                      <a:lumMod val="65000"/>
                      <a:lumOff val="35000"/>
                    </a:prstClr>
                  </a:solidFill>
                </a:rPr>
                <a:t>Plateau</a:t>
              </a:r>
            </a:p>
          </p:txBody>
        </p:sp>
        <p:sp>
          <p:nvSpPr>
            <p:cNvPr id="58" name="Freeform 63"/>
            <p:cNvSpPr>
              <a:spLocks/>
            </p:cNvSpPr>
            <p:nvPr>
              <p:custDataLst>
                <p:tags r:id="rId25"/>
              </p:custDataLst>
            </p:nvPr>
          </p:nvSpPr>
          <p:spPr bwMode="gray">
            <a:xfrm>
              <a:off x="3126834" y="2344296"/>
              <a:ext cx="1048284" cy="965039"/>
            </a:xfrm>
            <a:custGeom>
              <a:avLst/>
              <a:gdLst>
                <a:gd name="T0" fmla="*/ 2147483647 w 590"/>
                <a:gd name="T1" fmla="*/ 2147483647 h 571"/>
                <a:gd name="T2" fmla="*/ 2147483647 w 590"/>
                <a:gd name="T3" fmla="*/ 2147483647 h 571"/>
                <a:gd name="T4" fmla="*/ 2147483647 w 590"/>
                <a:gd name="T5" fmla="*/ 2147483647 h 571"/>
                <a:gd name="T6" fmla="*/ 2147483647 w 590"/>
                <a:gd name="T7" fmla="*/ 2147483647 h 571"/>
                <a:gd name="T8" fmla="*/ 2147483647 w 590"/>
                <a:gd name="T9" fmla="*/ 2147483647 h 571"/>
                <a:gd name="T10" fmla="*/ 2147483647 w 590"/>
                <a:gd name="T11" fmla="*/ 2147483647 h 571"/>
                <a:gd name="T12" fmla="*/ 2147483647 w 590"/>
                <a:gd name="T13" fmla="*/ 2147483647 h 571"/>
                <a:gd name="T14" fmla="*/ 2147483647 w 590"/>
                <a:gd name="T15" fmla="*/ 2147483647 h 571"/>
                <a:gd name="T16" fmla="*/ 2147483647 w 590"/>
                <a:gd name="T17" fmla="*/ 2147483647 h 571"/>
                <a:gd name="T18" fmla="*/ 2147483647 w 590"/>
                <a:gd name="T19" fmla="*/ 2147483647 h 571"/>
                <a:gd name="T20" fmla="*/ 2147483647 w 590"/>
                <a:gd name="T21" fmla="*/ 2147483647 h 571"/>
                <a:gd name="T22" fmla="*/ 2147483647 w 590"/>
                <a:gd name="T23" fmla="*/ 0 h 571"/>
                <a:gd name="T24" fmla="*/ 2147483647 w 590"/>
                <a:gd name="T25" fmla="*/ 2147483647 h 571"/>
                <a:gd name="T26" fmla="*/ 2147483647 w 590"/>
                <a:gd name="T27" fmla="*/ 2147483647 h 571"/>
                <a:gd name="T28" fmla="*/ 2147483647 w 590"/>
                <a:gd name="T29" fmla="*/ 2147483647 h 571"/>
                <a:gd name="T30" fmla="*/ 2147483647 w 590"/>
                <a:gd name="T31" fmla="*/ 2147483647 h 571"/>
                <a:gd name="T32" fmla="*/ 2147483647 w 590"/>
                <a:gd name="T33" fmla="*/ 2147483647 h 571"/>
                <a:gd name="T34" fmla="*/ 2147483647 w 590"/>
                <a:gd name="T35" fmla="*/ 2147483647 h 571"/>
                <a:gd name="T36" fmla="*/ 2147483647 w 590"/>
                <a:gd name="T37" fmla="*/ 2147483647 h 571"/>
                <a:gd name="T38" fmla="*/ 2147483647 w 590"/>
                <a:gd name="T39" fmla="*/ 2147483647 h 571"/>
                <a:gd name="T40" fmla="*/ 2147483647 w 590"/>
                <a:gd name="T41" fmla="*/ 2147483647 h 571"/>
                <a:gd name="T42" fmla="*/ 2147483647 w 590"/>
                <a:gd name="T43" fmla="*/ 2147483647 h 571"/>
                <a:gd name="T44" fmla="*/ 2147483647 w 590"/>
                <a:gd name="T45" fmla="*/ 2147483647 h 571"/>
                <a:gd name="T46" fmla="*/ 2147483647 w 590"/>
                <a:gd name="T47" fmla="*/ 2147483647 h 571"/>
                <a:gd name="T48" fmla="*/ 2147483647 w 590"/>
                <a:gd name="T49" fmla="*/ 2147483647 h 571"/>
                <a:gd name="T50" fmla="*/ 2147483647 w 590"/>
                <a:gd name="T51" fmla="*/ 2147483647 h 571"/>
                <a:gd name="T52" fmla="*/ 2147483647 w 590"/>
                <a:gd name="T53" fmla="*/ 2147483647 h 571"/>
                <a:gd name="T54" fmla="*/ 2147483647 w 590"/>
                <a:gd name="T55" fmla="*/ 2147483647 h 571"/>
                <a:gd name="T56" fmla="*/ 2147483647 w 590"/>
                <a:gd name="T57" fmla="*/ 2147483647 h 571"/>
                <a:gd name="T58" fmla="*/ 2147483647 w 590"/>
                <a:gd name="T59" fmla="*/ 2147483647 h 571"/>
                <a:gd name="T60" fmla="*/ 2147483647 w 590"/>
                <a:gd name="T61" fmla="*/ 2147483647 h 571"/>
                <a:gd name="T62" fmla="*/ 2147483647 w 590"/>
                <a:gd name="T63" fmla="*/ 2147483647 h 571"/>
                <a:gd name="T64" fmla="*/ 2147483647 w 590"/>
                <a:gd name="T65" fmla="*/ 2147483647 h 571"/>
                <a:gd name="T66" fmla="*/ 2147483647 w 590"/>
                <a:gd name="T67" fmla="*/ 2147483647 h 571"/>
                <a:gd name="T68" fmla="*/ 2147483647 w 590"/>
                <a:gd name="T69" fmla="*/ 2147483647 h 571"/>
                <a:gd name="T70" fmla="*/ 2147483647 w 590"/>
                <a:gd name="T71" fmla="*/ 2147483647 h 571"/>
                <a:gd name="T72" fmla="*/ 2147483647 w 590"/>
                <a:gd name="T73" fmla="*/ 2147483647 h 571"/>
                <a:gd name="T74" fmla="*/ 2147483647 w 590"/>
                <a:gd name="T75" fmla="*/ 2147483647 h 571"/>
                <a:gd name="T76" fmla="*/ 2147483647 w 590"/>
                <a:gd name="T77" fmla="*/ 2147483647 h 571"/>
                <a:gd name="T78" fmla="*/ 2147483647 w 590"/>
                <a:gd name="T79" fmla="*/ 2147483647 h 571"/>
                <a:gd name="T80" fmla="*/ 2147483647 w 590"/>
                <a:gd name="T81" fmla="*/ 2147483647 h 571"/>
                <a:gd name="T82" fmla="*/ 2147483647 w 590"/>
                <a:gd name="T83" fmla="*/ 2147483647 h 571"/>
                <a:gd name="T84" fmla="*/ 2147483647 w 590"/>
                <a:gd name="T85" fmla="*/ 2147483647 h 571"/>
                <a:gd name="T86" fmla="*/ 2147483647 w 590"/>
                <a:gd name="T87" fmla="*/ 2147483647 h 571"/>
                <a:gd name="T88" fmla="*/ 2147483647 w 590"/>
                <a:gd name="T89" fmla="*/ 2147483647 h 571"/>
                <a:gd name="T90" fmla="*/ 2147483647 w 590"/>
                <a:gd name="T91" fmla="*/ 2147483647 h 571"/>
                <a:gd name="T92" fmla="*/ 2147483647 w 590"/>
                <a:gd name="T93" fmla="*/ 2147483647 h 571"/>
                <a:gd name="T94" fmla="*/ 2147483647 w 590"/>
                <a:gd name="T95" fmla="*/ 2147483647 h 571"/>
                <a:gd name="T96" fmla="*/ 2147483647 w 590"/>
                <a:gd name="T97" fmla="*/ 2147483647 h 571"/>
                <a:gd name="T98" fmla="*/ 2147483647 w 590"/>
                <a:gd name="T99" fmla="*/ 2147483647 h 571"/>
                <a:gd name="T100" fmla="*/ 2147483647 w 590"/>
                <a:gd name="T101" fmla="*/ 2147483647 h 571"/>
                <a:gd name="T102" fmla="*/ 2147483647 w 590"/>
                <a:gd name="T103" fmla="*/ 2147483647 h 571"/>
                <a:gd name="T104" fmla="*/ 2147483647 w 590"/>
                <a:gd name="T105" fmla="*/ 2147483647 h 571"/>
                <a:gd name="T106" fmla="*/ 2147483647 w 590"/>
                <a:gd name="T107" fmla="*/ 2147483647 h 571"/>
                <a:gd name="T108" fmla="*/ 2147483647 w 590"/>
                <a:gd name="T109" fmla="*/ 2147483647 h 571"/>
                <a:gd name="T110" fmla="*/ 2147483647 w 590"/>
                <a:gd name="T111" fmla="*/ 2147483647 h 571"/>
                <a:gd name="T112" fmla="*/ 2147483647 w 590"/>
                <a:gd name="T113" fmla="*/ 2147483647 h 571"/>
                <a:gd name="T114" fmla="*/ 2147483647 w 590"/>
                <a:gd name="T115" fmla="*/ 2147483647 h 57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90"/>
                <a:gd name="T175" fmla="*/ 0 h 571"/>
                <a:gd name="T176" fmla="*/ 590 w 590"/>
                <a:gd name="T177" fmla="*/ 571 h 57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90" h="571">
                  <a:moveTo>
                    <a:pt x="26" y="339"/>
                  </a:moveTo>
                  <a:lnTo>
                    <a:pt x="32" y="325"/>
                  </a:lnTo>
                  <a:lnTo>
                    <a:pt x="38" y="316"/>
                  </a:lnTo>
                  <a:lnTo>
                    <a:pt x="45" y="307"/>
                  </a:lnTo>
                  <a:lnTo>
                    <a:pt x="39" y="291"/>
                  </a:lnTo>
                  <a:lnTo>
                    <a:pt x="27" y="285"/>
                  </a:lnTo>
                  <a:lnTo>
                    <a:pt x="17" y="274"/>
                  </a:lnTo>
                  <a:lnTo>
                    <a:pt x="5" y="258"/>
                  </a:lnTo>
                  <a:lnTo>
                    <a:pt x="0" y="241"/>
                  </a:lnTo>
                  <a:lnTo>
                    <a:pt x="8" y="225"/>
                  </a:lnTo>
                  <a:lnTo>
                    <a:pt x="11" y="210"/>
                  </a:lnTo>
                  <a:lnTo>
                    <a:pt x="21" y="192"/>
                  </a:lnTo>
                  <a:lnTo>
                    <a:pt x="24" y="175"/>
                  </a:lnTo>
                  <a:lnTo>
                    <a:pt x="21" y="150"/>
                  </a:lnTo>
                  <a:lnTo>
                    <a:pt x="23" y="130"/>
                  </a:lnTo>
                  <a:lnTo>
                    <a:pt x="29" y="114"/>
                  </a:lnTo>
                  <a:lnTo>
                    <a:pt x="36" y="106"/>
                  </a:lnTo>
                  <a:lnTo>
                    <a:pt x="36" y="88"/>
                  </a:lnTo>
                  <a:lnTo>
                    <a:pt x="36" y="69"/>
                  </a:lnTo>
                  <a:lnTo>
                    <a:pt x="35" y="55"/>
                  </a:lnTo>
                  <a:lnTo>
                    <a:pt x="48" y="46"/>
                  </a:lnTo>
                  <a:lnTo>
                    <a:pt x="60" y="34"/>
                  </a:lnTo>
                  <a:lnTo>
                    <a:pt x="60" y="19"/>
                  </a:lnTo>
                  <a:lnTo>
                    <a:pt x="65" y="0"/>
                  </a:lnTo>
                  <a:lnTo>
                    <a:pt x="78" y="7"/>
                  </a:lnTo>
                  <a:lnTo>
                    <a:pt x="96" y="9"/>
                  </a:lnTo>
                  <a:lnTo>
                    <a:pt x="110" y="18"/>
                  </a:lnTo>
                  <a:lnTo>
                    <a:pt x="110" y="34"/>
                  </a:lnTo>
                  <a:lnTo>
                    <a:pt x="114" y="48"/>
                  </a:lnTo>
                  <a:lnTo>
                    <a:pt x="117" y="64"/>
                  </a:lnTo>
                  <a:lnTo>
                    <a:pt x="120" y="82"/>
                  </a:lnTo>
                  <a:lnTo>
                    <a:pt x="117" y="97"/>
                  </a:lnTo>
                  <a:lnTo>
                    <a:pt x="119" y="108"/>
                  </a:lnTo>
                  <a:lnTo>
                    <a:pt x="135" y="108"/>
                  </a:lnTo>
                  <a:lnTo>
                    <a:pt x="147" y="100"/>
                  </a:lnTo>
                  <a:lnTo>
                    <a:pt x="164" y="99"/>
                  </a:lnTo>
                  <a:lnTo>
                    <a:pt x="177" y="115"/>
                  </a:lnTo>
                  <a:lnTo>
                    <a:pt x="183" y="133"/>
                  </a:lnTo>
                  <a:lnTo>
                    <a:pt x="183" y="150"/>
                  </a:lnTo>
                  <a:lnTo>
                    <a:pt x="177" y="169"/>
                  </a:lnTo>
                  <a:lnTo>
                    <a:pt x="171" y="180"/>
                  </a:lnTo>
                  <a:lnTo>
                    <a:pt x="180" y="192"/>
                  </a:lnTo>
                  <a:lnTo>
                    <a:pt x="204" y="192"/>
                  </a:lnTo>
                  <a:lnTo>
                    <a:pt x="207" y="210"/>
                  </a:lnTo>
                  <a:lnTo>
                    <a:pt x="221" y="225"/>
                  </a:lnTo>
                  <a:lnTo>
                    <a:pt x="243" y="234"/>
                  </a:lnTo>
                  <a:lnTo>
                    <a:pt x="281" y="237"/>
                  </a:lnTo>
                  <a:lnTo>
                    <a:pt x="320" y="235"/>
                  </a:lnTo>
                  <a:lnTo>
                    <a:pt x="341" y="226"/>
                  </a:lnTo>
                  <a:lnTo>
                    <a:pt x="347" y="213"/>
                  </a:lnTo>
                  <a:lnTo>
                    <a:pt x="363" y="207"/>
                  </a:lnTo>
                  <a:lnTo>
                    <a:pt x="375" y="193"/>
                  </a:lnTo>
                  <a:lnTo>
                    <a:pt x="369" y="183"/>
                  </a:lnTo>
                  <a:lnTo>
                    <a:pt x="360" y="174"/>
                  </a:lnTo>
                  <a:lnTo>
                    <a:pt x="360" y="163"/>
                  </a:lnTo>
                  <a:lnTo>
                    <a:pt x="375" y="160"/>
                  </a:lnTo>
                  <a:lnTo>
                    <a:pt x="395" y="166"/>
                  </a:lnTo>
                  <a:lnTo>
                    <a:pt x="405" y="174"/>
                  </a:lnTo>
                  <a:lnTo>
                    <a:pt x="431" y="174"/>
                  </a:lnTo>
                  <a:lnTo>
                    <a:pt x="444" y="192"/>
                  </a:lnTo>
                  <a:lnTo>
                    <a:pt x="461" y="199"/>
                  </a:lnTo>
                  <a:lnTo>
                    <a:pt x="486" y="202"/>
                  </a:lnTo>
                  <a:lnTo>
                    <a:pt x="500" y="210"/>
                  </a:lnTo>
                  <a:lnTo>
                    <a:pt x="513" y="219"/>
                  </a:lnTo>
                  <a:lnTo>
                    <a:pt x="530" y="228"/>
                  </a:lnTo>
                  <a:lnTo>
                    <a:pt x="540" y="237"/>
                  </a:lnTo>
                  <a:lnTo>
                    <a:pt x="557" y="244"/>
                  </a:lnTo>
                  <a:lnTo>
                    <a:pt x="564" y="256"/>
                  </a:lnTo>
                  <a:lnTo>
                    <a:pt x="564" y="280"/>
                  </a:lnTo>
                  <a:lnTo>
                    <a:pt x="560" y="294"/>
                  </a:lnTo>
                  <a:lnTo>
                    <a:pt x="563" y="310"/>
                  </a:lnTo>
                  <a:lnTo>
                    <a:pt x="567" y="324"/>
                  </a:lnTo>
                  <a:lnTo>
                    <a:pt x="570" y="345"/>
                  </a:lnTo>
                  <a:lnTo>
                    <a:pt x="575" y="360"/>
                  </a:lnTo>
                  <a:lnTo>
                    <a:pt x="579" y="375"/>
                  </a:lnTo>
                  <a:lnTo>
                    <a:pt x="590" y="387"/>
                  </a:lnTo>
                  <a:lnTo>
                    <a:pt x="585" y="408"/>
                  </a:lnTo>
                  <a:lnTo>
                    <a:pt x="561" y="418"/>
                  </a:lnTo>
                  <a:lnTo>
                    <a:pt x="548" y="418"/>
                  </a:lnTo>
                  <a:lnTo>
                    <a:pt x="533" y="424"/>
                  </a:lnTo>
                  <a:lnTo>
                    <a:pt x="515" y="433"/>
                  </a:lnTo>
                  <a:lnTo>
                    <a:pt x="503" y="442"/>
                  </a:lnTo>
                  <a:lnTo>
                    <a:pt x="492" y="451"/>
                  </a:lnTo>
                  <a:lnTo>
                    <a:pt x="479" y="466"/>
                  </a:lnTo>
                  <a:lnTo>
                    <a:pt x="471" y="472"/>
                  </a:lnTo>
                  <a:lnTo>
                    <a:pt x="456" y="489"/>
                  </a:lnTo>
                  <a:lnTo>
                    <a:pt x="438" y="504"/>
                  </a:lnTo>
                  <a:lnTo>
                    <a:pt x="426" y="514"/>
                  </a:lnTo>
                  <a:lnTo>
                    <a:pt x="404" y="529"/>
                  </a:lnTo>
                  <a:lnTo>
                    <a:pt x="381" y="543"/>
                  </a:lnTo>
                  <a:lnTo>
                    <a:pt x="359" y="553"/>
                  </a:lnTo>
                  <a:lnTo>
                    <a:pt x="344" y="564"/>
                  </a:lnTo>
                  <a:lnTo>
                    <a:pt x="320" y="568"/>
                  </a:lnTo>
                  <a:lnTo>
                    <a:pt x="303" y="571"/>
                  </a:lnTo>
                  <a:lnTo>
                    <a:pt x="290" y="571"/>
                  </a:lnTo>
                  <a:lnTo>
                    <a:pt x="270" y="568"/>
                  </a:lnTo>
                  <a:lnTo>
                    <a:pt x="260" y="567"/>
                  </a:lnTo>
                  <a:lnTo>
                    <a:pt x="246" y="556"/>
                  </a:lnTo>
                  <a:lnTo>
                    <a:pt x="228" y="549"/>
                  </a:lnTo>
                  <a:lnTo>
                    <a:pt x="210" y="550"/>
                  </a:lnTo>
                  <a:lnTo>
                    <a:pt x="182" y="555"/>
                  </a:lnTo>
                  <a:lnTo>
                    <a:pt x="164" y="555"/>
                  </a:lnTo>
                  <a:lnTo>
                    <a:pt x="131" y="549"/>
                  </a:lnTo>
                  <a:lnTo>
                    <a:pt x="110" y="534"/>
                  </a:lnTo>
                  <a:lnTo>
                    <a:pt x="99" y="522"/>
                  </a:lnTo>
                  <a:lnTo>
                    <a:pt x="90" y="486"/>
                  </a:lnTo>
                  <a:lnTo>
                    <a:pt x="93" y="462"/>
                  </a:lnTo>
                  <a:lnTo>
                    <a:pt x="98" y="444"/>
                  </a:lnTo>
                  <a:lnTo>
                    <a:pt x="114" y="426"/>
                  </a:lnTo>
                  <a:lnTo>
                    <a:pt x="123" y="396"/>
                  </a:lnTo>
                  <a:lnTo>
                    <a:pt x="117" y="384"/>
                  </a:lnTo>
                  <a:lnTo>
                    <a:pt x="99" y="379"/>
                  </a:lnTo>
                  <a:lnTo>
                    <a:pt x="72" y="373"/>
                  </a:lnTo>
                  <a:lnTo>
                    <a:pt x="59" y="370"/>
                  </a:lnTo>
                  <a:lnTo>
                    <a:pt x="42" y="361"/>
                  </a:lnTo>
                  <a:lnTo>
                    <a:pt x="35" y="346"/>
                  </a:lnTo>
                  <a:lnTo>
                    <a:pt x="26" y="339"/>
                  </a:lnTo>
                  <a:close/>
                </a:path>
              </a:pathLst>
            </a:custGeom>
            <a:solidFill>
              <a:srgbClr val="00CC00"/>
            </a:solidFill>
            <a:ln w="25400">
              <a:solidFill>
                <a:srgbClr val="B4B4B4"/>
              </a:solidFill>
              <a:round/>
              <a:headEnd/>
              <a:tailEnd/>
            </a:ln>
          </p:spPr>
          <p:txBody>
            <a:bodyPr lIns="93296" tIns="46648" rIns="93296" bIns="46648"/>
            <a:lstStyle/>
            <a:p>
              <a:pPr>
                <a:defRPr/>
              </a:pPr>
              <a:endParaRPr lang="en-US" sz="1000" kern="0">
                <a:solidFill>
                  <a:prstClr val="black">
                    <a:lumMod val="65000"/>
                    <a:lumOff val="35000"/>
                  </a:prstClr>
                </a:solidFill>
              </a:endParaRPr>
            </a:p>
          </p:txBody>
        </p:sp>
        <p:sp>
          <p:nvSpPr>
            <p:cNvPr id="59" name="Rectangle 64"/>
            <p:cNvSpPr>
              <a:spLocks noChangeArrowheads="1"/>
            </p:cNvSpPr>
            <p:nvPr>
              <p:custDataLst>
                <p:tags r:id="rId26"/>
              </p:custDataLst>
            </p:nvPr>
          </p:nvSpPr>
          <p:spPr bwMode="gray">
            <a:xfrm>
              <a:off x="3443596" y="2792348"/>
              <a:ext cx="380554" cy="149726"/>
            </a:xfrm>
            <a:prstGeom prst="rect">
              <a:avLst/>
            </a:prstGeom>
            <a:solidFill>
              <a:schemeClr val="bg1">
                <a:lumMod val="95000"/>
              </a:schemeClr>
            </a:solidFill>
            <a:ln w="25400">
              <a:noFill/>
              <a:miter lim="800000"/>
              <a:headEnd/>
              <a:tailEnd/>
            </a:ln>
          </p:spPr>
          <p:txBody>
            <a:bodyPr wrap="none" lIns="0" tIns="0" rIns="0" bIns="0">
              <a:spAutoFit/>
            </a:bodyPr>
            <a:lstStyle/>
            <a:p>
              <a:pPr>
                <a:defRPr/>
              </a:pPr>
              <a:r>
                <a:rPr lang="en-US" sz="1000" kern="0" dirty="0">
                  <a:solidFill>
                    <a:prstClr val="black">
                      <a:lumMod val="65000"/>
                      <a:lumOff val="35000"/>
                    </a:prstClr>
                  </a:solidFill>
                </a:rPr>
                <a:t>Plateau</a:t>
              </a:r>
            </a:p>
          </p:txBody>
        </p:sp>
        <p:sp>
          <p:nvSpPr>
            <p:cNvPr id="60" name="Freeform 65"/>
            <p:cNvSpPr>
              <a:spLocks/>
            </p:cNvSpPr>
            <p:nvPr>
              <p:custDataLst>
                <p:tags r:id="rId27"/>
              </p:custDataLst>
            </p:nvPr>
          </p:nvSpPr>
          <p:spPr bwMode="gray">
            <a:xfrm>
              <a:off x="1533603" y="4728810"/>
              <a:ext cx="562396" cy="500391"/>
            </a:xfrm>
            <a:custGeom>
              <a:avLst/>
              <a:gdLst>
                <a:gd name="T0" fmla="*/ 2147483647 w 316"/>
                <a:gd name="T1" fmla="*/ 2147483647 h 296"/>
                <a:gd name="T2" fmla="*/ 2147483647 w 316"/>
                <a:gd name="T3" fmla="*/ 2147483647 h 296"/>
                <a:gd name="T4" fmla="*/ 2147483647 w 316"/>
                <a:gd name="T5" fmla="*/ 2147483647 h 296"/>
                <a:gd name="T6" fmla="*/ 2147483647 w 316"/>
                <a:gd name="T7" fmla="*/ 2147483647 h 296"/>
                <a:gd name="T8" fmla="*/ 2147483647 w 316"/>
                <a:gd name="T9" fmla="*/ 2147483647 h 296"/>
                <a:gd name="T10" fmla="*/ 2147483647 w 316"/>
                <a:gd name="T11" fmla="*/ 2147483647 h 296"/>
                <a:gd name="T12" fmla="*/ 2147483647 w 316"/>
                <a:gd name="T13" fmla="*/ 2147483647 h 296"/>
                <a:gd name="T14" fmla="*/ 2147483647 w 316"/>
                <a:gd name="T15" fmla="*/ 2147483647 h 296"/>
                <a:gd name="T16" fmla="*/ 2147483647 w 316"/>
                <a:gd name="T17" fmla="*/ 2147483647 h 296"/>
                <a:gd name="T18" fmla="*/ 2147483647 w 316"/>
                <a:gd name="T19" fmla="*/ 2147483647 h 296"/>
                <a:gd name="T20" fmla="*/ 2147483647 w 316"/>
                <a:gd name="T21" fmla="*/ 2147483647 h 296"/>
                <a:gd name="T22" fmla="*/ 2147483647 w 316"/>
                <a:gd name="T23" fmla="*/ 2147483647 h 296"/>
                <a:gd name="T24" fmla="*/ 2147483647 w 316"/>
                <a:gd name="T25" fmla="*/ 2147483647 h 296"/>
                <a:gd name="T26" fmla="*/ 0 w 316"/>
                <a:gd name="T27" fmla="*/ 2147483647 h 296"/>
                <a:gd name="T28" fmla="*/ 2147483647 w 316"/>
                <a:gd name="T29" fmla="*/ 2147483647 h 296"/>
                <a:gd name="T30" fmla="*/ 2147483647 w 316"/>
                <a:gd name="T31" fmla="*/ 2147483647 h 296"/>
                <a:gd name="T32" fmla="*/ 2147483647 w 316"/>
                <a:gd name="T33" fmla="*/ 2147483647 h 296"/>
                <a:gd name="T34" fmla="*/ 2147483647 w 316"/>
                <a:gd name="T35" fmla="*/ 2147483647 h 296"/>
                <a:gd name="T36" fmla="*/ 2147483647 w 316"/>
                <a:gd name="T37" fmla="*/ 2147483647 h 296"/>
                <a:gd name="T38" fmla="*/ 2147483647 w 316"/>
                <a:gd name="T39" fmla="*/ 2147483647 h 296"/>
                <a:gd name="T40" fmla="*/ 2147483647 w 316"/>
                <a:gd name="T41" fmla="*/ 2147483647 h 296"/>
                <a:gd name="T42" fmla="*/ 2147483647 w 316"/>
                <a:gd name="T43" fmla="*/ 2147483647 h 296"/>
                <a:gd name="T44" fmla="*/ 2147483647 w 316"/>
                <a:gd name="T45" fmla="*/ 2147483647 h 296"/>
                <a:gd name="T46" fmla="*/ 2147483647 w 316"/>
                <a:gd name="T47" fmla="*/ 2147483647 h 296"/>
                <a:gd name="T48" fmla="*/ 2147483647 w 316"/>
                <a:gd name="T49" fmla="*/ 0 h 296"/>
                <a:gd name="T50" fmla="*/ 2147483647 w 316"/>
                <a:gd name="T51" fmla="*/ 2147483647 h 296"/>
                <a:gd name="T52" fmla="*/ 2147483647 w 316"/>
                <a:gd name="T53" fmla="*/ 2147483647 h 296"/>
                <a:gd name="T54" fmla="*/ 2147483647 w 316"/>
                <a:gd name="T55" fmla="*/ 2147483647 h 296"/>
                <a:gd name="T56" fmla="*/ 2147483647 w 316"/>
                <a:gd name="T57" fmla="*/ 2147483647 h 296"/>
                <a:gd name="T58" fmla="*/ 2147483647 w 316"/>
                <a:gd name="T59" fmla="*/ 2147483647 h 296"/>
                <a:gd name="T60" fmla="*/ 2147483647 w 316"/>
                <a:gd name="T61" fmla="*/ 2147483647 h 296"/>
                <a:gd name="T62" fmla="*/ 2147483647 w 316"/>
                <a:gd name="T63" fmla="*/ 2147483647 h 296"/>
                <a:gd name="T64" fmla="*/ 2147483647 w 316"/>
                <a:gd name="T65" fmla="*/ 2147483647 h 296"/>
                <a:gd name="T66" fmla="*/ 2147483647 w 316"/>
                <a:gd name="T67" fmla="*/ 2147483647 h 29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16"/>
                <a:gd name="T103" fmla="*/ 0 h 296"/>
                <a:gd name="T104" fmla="*/ 316 w 316"/>
                <a:gd name="T105" fmla="*/ 296 h 29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16" h="296">
                  <a:moveTo>
                    <a:pt x="316" y="276"/>
                  </a:moveTo>
                  <a:lnTo>
                    <a:pt x="306" y="279"/>
                  </a:lnTo>
                  <a:lnTo>
                    <a:pt x="291" y="272"/>
                  </a:lnTo>
                  <a:lnTo>
                    <a:pt x="288" y="282"/>
                  </a:lnTo>
                  <a:lnTo>
                    <a:pt x="276" y="281"/>
                  </a:lnTo>
                  <a:lnTo>
                    <a:pt x="264" y="284"/>
                  </a:lnTo>
                  <a:lnTo>
                    <a:pt x="253" y="284"/>
                  </a:lnTo>
                  <a:lnTo>
                    <a:pt x="228" y="282"/>
                  </a:lnTo>
                  <a:lnTo>
                    <a:pt x="217" y="290"/>
                  </a:lnTo>
                  <a:lnTo>
                    <a:pt x="205" y="296"/>
                  </a:lnTo>
                  <a:lnTo>
                    <a:pt x="196" y="288"/>
                  </a:lnTo>
                  <a:lnTo>
                    <a:pt x="180" y="281"/>
                  </a:lnTo>
                  <a:lnTo>
                    <a:pt x="169" y="276"/>
                  </a:lnTo>
                  <a:lnTo>
                    <a:pt x="156" y="266"/>
                  </a:lnTo>
                  <a:lnTo>
                    <a:pt x="141" y="258"/>
                  </a:lnTo>
                  <a:lnTo>
                    <a:pt x="123" y="246"/>
                  </a:lnTo>
                  <a:lnTo>
                    <a:pt x="109" y="234"/>
                  </a:lnTo>
                  <a:lnTo>
                    <a:pt x="96" y="221"/>
                  </a:lnTo>
                  <a:lnTo>
                    <a:pt x="78" y="201"/>
                  </a:lnTo>
                  <a:lnTo>
                    <a:pt x="61" y="183"/>
                  </a:lnTo>
                  <a:lnTo>
                    <a:pt x="51" y="165"/>
                  </a:lnTo>
                  <a:lnTo>
                    <a:pt x="40" y="149"/>
                  </a:lnTo>
                  <a:lnTo>
                    <a:pt x="30" y="132"/>
                  </a:lnTo>
                  <a:lnTo>
                    <a:pt x="22" y="111"/>
                  </a:lnTo>
                  <a:lnTo>
                    <a:pt x="25" y="99"/>
                  </a:lnTo>
                  <a:lnTo>
                    <a:pt x="16" y="80"/>
                  </a:lnTo>
                  <a:lnTo>
                    <a:pt x="4" y="63"/>
                  </a:lnTo>
                  <a:lnTo>
                    <a:pt x="0" y="48"/>
                  </a:lnTo>
                  <a:lnTo>
                    <a:pt x="12" y="47"/>
                  </a:lnTo>
                  <a:lnTo>
                    <a:pt x="22" y="48"/>
                  </a:lnTo>
                  <a:lnTo>
                    <a:pt x="33" y="59"/>
                  </a:lnTo>
                  <a:lnTo>
                    <a:pt x="48" y="68"/>
                  </a:lnTo>
                  <a:lnTo>
                    <a:pt x="69" y="75"/>
                  </a:lnTo>
                  <a:lnTo>
                    <a:pt x="88" y="83"/>
                  </a:lnTo>
                  <a:lnTo>
                    <a:pt x="111" y="78"/>
                  </a:lnTo>
                  <a:lnTo>
                    <a:pt x="135" y="69"/>
                  </a:lnTo>
                  <a:lnTo>
                    <a:pt x="141" y="60"/>
                  </a:lnTo>
                  <a:lnTo>
                    <a:pt x="151" y="48"/>
                  </a:lnTo>
                  <a:lnTo>
                    <a:pt x="165" y="42"/>
                  </a:lnTo>
                  <a:lnTo>
                    <a:pt x="178" y="56"/>
                  </a:lnTo>
                  <a:lnTo>
                    <a:pt x="199" y="44"/>
                  </a:lnTo>
                  <a:lnTo>
                    <a:pt x="214" y="48"/>
                  </a:lnTo>
                  <a:lnTo>
                    <a:pt x="223" y="44"/>
                  </a:lnTo>
                  <a:lnTo>
                    <a:pt x="229" y="30"/>
                  </a:lnTo>
                  <a:lnTo>
                    <a:pt x="232" y="18"/>
                  </a:lnTo>
                  <a:lnTo>
                    <a:pt x="247" y="23"/>
                  </a:lnTo>
                  <a:lnTo>
                    <a:pt x="256" y="15"/>
                  </a:lnTo>
                  <a:lnTo>
                    <a:pt x="273" y="6"/>
                  </a:lnTo>
                  <a:lnTo>
                    <a:pt x="286" y="6"/>
                  </a:lnTo>
                  <a:lnTo>
                    <a:pt x="303" y="0"/>
                  </a:lnTo>
                  <a:lnTo>
                    <a:pt x="310" y="15"/>
                  </a:lnTo>
                  <a:lnTo>
                    <a:pt x="312" y="32"/>
                  </a:lnTo>
                  <a:lnTo>
                    <a:pt x="306" y="51"/>
                  </a:lnTo>
                  <a:lnTo>
                    <a:pt x="304" y="71"/>
                  </a:lnTo>
                  <a:lnTo>
                    <a:pt x="295" y="93"/>
                  </a:lnTo>
                  <a:lnTo>
                    <a:pt x="292" y="114"/>
                  </a:lnTo>
                  <a:lnTo>
                    <a:pt x="285" y="132"/>
                  </a:lnTo>
                  <a:lnTo>
                    <a:pt x="283" y="150"/>
                  </a:lnTo>
                  <a:lnTo>
                    <a:pt x="277" y="164"/>
                  </a:lnTo>
                  <a:lnTo>
                    <a:pt x="291" y="167"/>
                  </a:lnTo>
                  <a:lnTo>
                    <a:pt x="304" y="176"/>
                  </a:lnTo>
                  <a:lnTo>
                    <a:pt x="315" y="182"/>
                  </a:lnTo>
                  <a:lnTo>
                    <a:pt x="306" y="197"/>
                  </a:lnTo>
                  <a:lnTo>
                    <a:pt x="297" y="221"/>
                  </a:lnTo>
                  <a:lnTo>
                    <a:pt x="294" y="240"/>
                  </a:lnTo>
                  <a:lnTo>
                    <a:pt x="297" y="255"/>
                  </a:lnTo>
                  <a:lnTo>
                    <a:pt x="301" y="266"/>
                  </a:lnTo>
                  <a:lnTo>
                    <a:pt x="316" y="276"/>
                  </a:lnTo>
                  <a:close/>
                </a:path>
              </a:pathLst>
            </a:custGeom>
            <a:solidFill>
              <a:schemeClr val="bg1">
                <a:lumMod val="95000"/>
              </a:schemeClr>
            </a:solidFill>
            <a:ln w="25400">
              <a:solidFill>
                <a:srgbClr val="B4B4B4"/>
              </a:solidFill>
              <a:round/>
              <a:headEnd/>
              <a:tailEnd/>
            </a:ln>
          </p:spPr>
          <p:txBody>
            <a:bodyPr lIns="93296" tIns="46648" rIns="93296" bIns="46648"/>
            <a:lstStyle/>
            <a:p>
              <a:pPr>
                <a:defRPr/>
              </a:pPr>
              <a:endParaRPr lang="en-US" sz="1000" kern="0">
                <a:solidFill>
                  <a:prstClr val="black">
                    <a:lumMod val="65000"/>
                    <a:lumOff val="35000"/>
                  </a:prstClr>
                </a:solidFill>
              </a:endParaRPr>
            </a:p>
          </p:txBody>
        </p:sp>
        <p:sp>
          <p:nvSpPr>
            <p:cNvPr id="61" name="Rectangle 66"/>
            <p:cNvSpPr>
              <a:spLocks noChangeArrowheads="1"/>
            </p:cNvSpPr>
            <p:nvPr>
              <p:custDataLst>
                <p:tags r:id="rId28"/>
              </p:custDataLst>
            </p:nvPr>
          </p:nvSpPr>
          <p:spPr bwMode="gray">
            <a:xfrm>
              <a:off x="1643667" y="4968799"/>
              <a:ext cx="382114" cy="149726"/>
            </a:xfrm>
            <a:prstGeom prst="rect">
              <a:avLst/>
            </a:prstGeom>
            <a:solidFill>
              <a:schemeClr val="bg1">
                <a:lumMod val="95000"/>
              </a:schemeClr>
            </a:solidFill>
            <a:ln w="25400">
              <a:noFill/>
              <a:miter lim="800000"/>
              <a:headEnd/>
              <a:tailEnd/>
            </a:ln>
          </p:spPr>
          <p:txBody>
            <a:bodyPr wrap="none" lIns="0" tIns="0" rIns="0" bIns="0">
              <a:spAutoFit/>
            </a:bodyPr>
            <a:lstStyle/>
            <a:p>
              <a:pPr>
                <a:defRPr/>
              </a:pPr>
              <a:r>
                <a:rPr lang="en-US" sz="1000" kern="0">
                  <a:solidFill>
                    <a:prstClr val="black">
                      <a:lumMod val="65000"/>
                      <a:lumOff val="35000"/>
                    </a:prstClr>
                  </a:solidFill>
                </a:rPr>
                <a:t>Bayelsa</a:t>
              </a:r>
            </a:p>
          </p:txBody>
        </p:sp>
        <p:sp>
          <p:nvSpPr>
            <p:cNvPr id="62" name="Freeform 67"/>
            <p:cNvSpPr>
              <a:spLocks/>
            </p:cNvSpPr>
            <p:nvPr>
              <p:custDataLst>
                <p:tags r:id="rId29"/>
              </p:custDataLst>
            </p:nvPr>
          </p:nvSpPr>
          <p:spPr bwMode="gray">
            <a:xfrm>
              <a:off x="2689266" y="4054815"/>
              <a:ext cx="421461" cy="389334"/>
            </a:xfrm>
            <a:custGeom>
              <a:avLst/>
              <a:gdLst>
                <a:gd name="T0" fmla="*/ 2147483647 w 237"/>
                <a:gd name="T1" fmla="*/ 2147483647 h 230"/>
                <a:gd name="T2" fmla="*/ 2147483647 w 237"/>
                <a:gd name="T3" fmla="*/ 2147483647 h 230"/>
                <a:gd name="T4" fmla="*/ 0 w 237"/>
                <a:gd name="T5" fmla="*/ 2147483647 h 230"/>
                <a:gd name="T6" fmla="*/ 2147483647 w 237"/>
                <a:gd name="T7" fmla="*/ 2147483647 h 230"/>
                <a:gd name="T8" fmla="*/ 2147483647 w 237"/>
                <a:gd name="T9" fmla="*/ 2147483647 h 230"/>
                <a:gd name="T10" fmla="*/ 2147483647 w 237"/>
                <a:gd name="T11" fmla="*/ 2147483647 h 230"/>
                <a:gd name="T12" fmla="*/ 2147483647 w 237"/>
                <a:gd name="T13" fmla="*/ 2147483647 h 230"/>
                <a:gd name="T14" fmla="*/ 2147483647 w 237"/>
                <a:gd name="T15" fmla="*/ 2147483647 h 230"/>
                <a:gd name="T16" fmla="*/ 2147483647 w 237"/>
                <a:gd name="T17" fmla="*/ 2147483647 h 230"/>
                <a:gd name="T18" fmla="*/ 2147483647 w 237"/>
                <a:gd name="T19" fmla="*/ 2147483647 h 230"/>
                <a:gd name="T20" fmla="*/ 2147483647 w 237"/>
                <a:gd name="T21" fmla="*/ 2147483647 h 230"/>
                <a:gd name="T22" fmla="*/ 2147483647 w 237"/>
                <a:gd name="T23" fmla="*/ 2147483647 h 230"/>
                <a:gd name="T24" fmla="*/ 2147483647 w 237"/>
                <a:gd name="T25" fmla="*/ 2147483647 h 230"/>
                <a:gd name="T26" fmla="*/ 2147483647 w 237"/>
                <a:gd name="T27" fmla="*/ 2147483647 h 230"/>
                <a:gd name="T28" fmla="*/ 2147483647 w 237"/>
                <a:gd name="T29" fmla="*/ 2147483647 h 230"/>
                <a:gd name="T30" fmla="*/ 2147483647 w 237"/>
                <a:gd name="T31" fmla="*/ 2147483647 h 230"/>
                <a:gd name="T32" fmla="*/ 2147483647 w 237"/>
                <a:gd name="T33" fmla="*/ 0 h 230"/>
                <a:gd name="T34" fmla="*/ 2147483647 w 237"/>
                <a:gd name="T35" fmla="*/ 2147483647 h 230"/>
                <a:gd name="T36" fmla="*/ 2147483647 w 237"/>
                <a:gd name="T37" fmla="*/ 2147483647 h 230"/>
                <a:gd name="T38" fmla="*/ 2147483647 w 237"/>
                <a:gd name="T39" fmla="*/ 2147483647 h 230"/>
                <a:gd name="T40" fmla="*/ 2147483647 w 237"/>
                <a:gd name="T41" fmla="*/ 2147483647 h 230"/>
                <a:gd name="T42" fmla="*/ 2147483647 w 237"/>
                <a:gd name="T43" fmla="*/ 2147483647 h 230"/>
                <a:gd name="T44" fmla="*/ 2147483647 w 237"/>
                <a:gd name="T45" fmla="*/ 2147483647 h 230"/>
                <a:gd name="T46" fmla="*/ 2147483647 w 237"/>
                <a:gd name="T47" fmla="*/ 2147483647 h 230"/>
                <a:gd name="T48" fmla="*/ 2147483647 w 237"/>
                <a:gd name="T49" fmla="*/ 2147483647 h 230"/>
                <a:gd name="T50" fmla="*/ 2147483647 w 237"/>
                <a:gd name="T51" fmla="*/ 2147483647 h 230"/>
                <a:gd name="T52" fmla="*/ 2147483647 w 237"/>
                <a:gd name="T53" fmla="*/ 2147483647 h 230"/>
                <a:gd name="T54" fmla="*/ 2147483647 w 237"/>
                <a:gd name="T55" fmla="*/ 2147483647 h 230"/>
                <a:gd name="T56" fmla="*/ 2147483647 w 237"/>
                <a:gd name="T57" fmla="*/ 2147483647 h 230"/>
                <a:gd name="T58" fmla="*/ 2147483647 w 237"/>
                <a:gd name="T59" fmla="*/ 2147483647 h 230"/>
                <a:gd name="T60" fmla="*/ 2147483647 w 237"/>
                <a:gd name="T61" fmla="*/ 2147483647 h 230"/>
                <a:gd name="T62" fmla="*/ 2147483647 w 237"/>
                <a:gd name="T63" fmla="*/ 2147483647 h 230"/>
                <a:gd name="T64" fmla="*/ 2147483647 w 237"/>
                <a:gd name="T65" fmla="*/ 2147483647 h 230"/>
                <a:gd name="T66" fmla="*/ 2147483647 w 237"/>
                <a:gd name="T67" fmla="*/ 2147483647 h 230"/>
                <a:gd name="T68" fmla="*/ 2147483647 w 237"/>
                <a:gd name="T69" fmla="*/ 2147483647 h 230"/>
                <a:gd name="T70" fmla="*/ 2147483647 w 237"/>
                <a:gd name="T71" fmla="*/ 2147483647 h 230"/>
                <a:gd name="T72" fmla="*/ 2147483647 w 237"/>
                <a:gd name="T73" fmla="*/ 2147483647 h 230"/>
                <a:gd name="T74" fmla="*/ 2147483647 w 237"/>
                <a:gd name="T75" fmla="*/ 2147483647 h 230"/>
                <a:gd name="T76" fmla="*/ 2147483647 w 237"/>
                <a:gd name="T77" fmla="*/ 2147483647 h 230"/>
                <a:gd name="T78" fmla="*/ 2147483647 w 237"/>
                <a:gd name="T79" fmla="*/ 2147483647 h 230"/>
                <a:gd name="T80" fmla="*/ 2147483647 w 237"/>
                <a:gd name="T81" fmla="*/ 2147483647 h 230"/>
                <a:gd name="T82" fmla="*/ 2147483647 w 237"/>
                <a:gd name="T83" fmla="*/ 2147483647 h 230"/>
                <a:gd name="T84" fmla="*/ 2147483647 w 237"/>
                <a:gd name="T85" fmla="*/ 2147483647 h 230"/>
                <a:gd name="T86" fmla="*/ 2147483647 w 237"/>
                <a:gd name="T87" fmla="*/ 2147483647 h 230"/>
                <a:gd name="T88" fmla="*/ 2147483647 w 237"/>
                <a:gd name="T89" fmla="*/ 2147483647 h 230"/>
                <a:gd name="T90" fmla="*/ 2147483647 w 237"/>
                <a:gd name="T91" fmla="*/ 2147483647 h 2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37"/>
                <a:gd name="T139" fmla="*/ 0 h 230"/>
                <a:gd name="T140" fmla="*/ 237 w 237"/>
                <a:gd name="T141" fmla="*/ 230 h 23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37" h="230">
                  <a:moveTo>
                    <a:pt x="14" y="159"/>
                  </a:moveTo>
                  <a:lnTo>
                    <a:pt x="2" y="147"/>
                  </a:lnTo>
                  <a:lnTo>
                    <a:pt x="0" y="125"/>
                  </a:lnTo>
                  <a:lnTo>
                    <a:pt x="3" y="105"/>
                  </a:lnTo>
                  <a:lnTo>
                    <a:pt x="8" y="84"/>
                  </a:lnTo>
                  <a:lnTo>
                    <a:pt x="17" y="71"/>
                  </a:lnTo>
                  <a:lnTo>
                    <a:pt x="33" y="59"/>
                  </a:lnTo>
                  <a:lnTo>
                    <a:pt x="50" y="48"/>
                  </a:lnTo>
                  <a:lnTo>
                    <a:pt x="60" y="54"/>
                  </a:lnTo>
                  <a:lnTo>
                    <a:pt x="68" y="71"/>
                  </a:lnTo>
                  <a:lnTo>
                    <a:pt x="83" y="60"/>
                  </a:lnTo>
                  <a:lnTo>
                    <a:pt x="81" y="45"/>
                  </a:lnTo>
                  <a:lnTo>
                    <a:pt x="86" y="27"/>
                  </a:lnTo>
                  <a:lnTo>
                    <a:pt x="98" y="17"/>
                  </a:lnTo>
                  <a:lnTo>
                    <a:pt x="119" y="17"/>
                  </a:lnTo>
                  <a:lnTo>
                    <a:pt x="132" y="8"/>
                  </a:lnTo>
                  <a:lnTo>
                    <a:pt x="149" y="0"/>
                  </a:lnTo>
                  <a:lnTo>
                    <a:pt x="161" y="3"/>
                  </a:lnTo>
                  <a:lnTo>
                    <a:pt x="174" y="21"/>
                  </a:lnTo>
                  <a:lnTo>
                    <a:pt x="189" y="45"/>
                  </a:lnTo>
                  <a:lnTo>
                    <a:pt x="198" y="56"/>
                  </a:lnTo>
                  <a:lnTo>
                    <a:pt x="213" y="74"/>
                  </a:lnTo>
                  <a:lnTo>
                    <a:pt x="222" y="96"/>
                  </a:lnTo>
                  <a:lnTo>
                    <a:pt x="225" y="111"/>
                  </a:lnTo>
                  <a:lnTo>
                    <a:pt x="237" y="120"/>
                  </a:lnTo>
                  <a:lnTo>
                    <a:pt x="228" y="131"/>
                  </a:lnTo>
                  <a:lnTo>
                    <a:pt x="207" y="132"/>
                  </a:lnTo>
                  <a:lnTo>
                    <a:pt x="197" y="146"/>
                  </a:lnTo>
                  <a:lnTo>
                    <a:pt x="182" y="162"/>
                  </a:lnTo>
                  <a:lnTo>
                    <a:pt x="173" y="174"/>
                  </a:lnTo>
                  <a:lnTo>
                    <a:pt x="173" y="185"/>
                  </a:lnTo>
                  <a:lnTo>
                    <a:pt x="174" y="203"/>
                  </a:lnTo>
                  <a:lnTo>
                    <a:pt x="164" y="215"/>
                  </a:lnTo>
                  <a:lnTo>
                    <a:pt x="150" y="207"/>
                  </a:lnTo>
                  <a:lnTo>
                    <a:pt x="137" y="221"/>
                  </a:lnTo>
                  <a:lnTo>
                    <a:pt x="128" y="230"/>
                  </a:lnTo>
                  <a:lnTo>
                    <a:pt x="113" y="224"/>
                  </a:lnTo>
                  <a:lnTo>
                    <a:pt x="99" y="210"/>
                  </a:lnTo>
                  <a:lnTo>
                    <a:pt x="84" y="207"/>
                  </a:lnTo>
                  <a:lnTo>
                    <a:pt x="77" y="195"/>
                  </a:lnTo>
                  <a:lnTo>
                    <a:pt x="68" y="182"/>
                  </a:lnTo>
                  <a:lnTo>
                    <a:pt x="57" y="165"/>
                  </a:lnTo>
                  <a:lnTo>
                    <a:pt x="44" y="156"/>
                  </a:lnTo>
                  <a:lnTo>
                    <a:pt x="36" y="150"/>
                  </a:lnTo>
                  <a:lnTo>
                    <a:pt x="20" y="144"/>
                  </a:lnTo>
                  <a:lnTo>
                    <a:pt x="14" y="159"/>
                  </a:lnTo>
                  <a:close/>
                </a:path>
              </a:pathLst>
            </a:custGeom>
            <a:solidFill>
              <a:schemeClr val="bg1">
                <a:lumMod val="95000"/>
              </a:schemeClr>
            </a:solidFill>
            <a:ln w="25400">
              <a:solidFill>
                <a:srgbClr val="B4B4B4"/>
              </a:solidFill>
              <a:round/>
              <a:headEnd/>
              <a:tailEnd/>
            </a:ln>
          </p:spPr>
          <p:txBody>
            <a:bodyPr lIns="93296" tIns="46648" rIns="93296" bIns="46648"/>
            <a:lstStyle/>
            <a:p>
              <a:pPr>
                <a:defRPr/>
              </a:pPr>
              <a:endParaRPr lang="en-US" sz="1000" kern="0">
                <a:solidFill>
                  <a:prstClr val="black">
                    <a:lumMod val="65000"/>
                    <a:lumOff val="35000"/>
                  </a:prstClr>
                </a:solidFill>
              </a:endParaRPr>
            </a:p>
          </p:txBody>
        </p:sp>
        <p:sp>
          <p:nvSpPr>
            <p:cNvPr id="63" name="Rectangle 68"/>
            <p:cNvSpPr>
              <a:spLocks noChangeArrowheads="1"/>
            </p:cNvSpPr>
            <p:nvPr>
              <p:custDataLst>
                <p:tags r:id="rId30"/>
              </p:custDataLst>
            </p:nvPr>
          </p:nvSpPr>
          <p:spPr bwMode="gray">
            <a:xfrm>
              <a:off x="2411421" y="4058643"/>
              <a:ext cx="316609" cy="149726"/>
            </a:xfrm>
            <a:prstGeom prst="rect">
              <a:avLst/>
            </a:prstGeom>
            <a:solidFill>
              <a:schemeClr val="bg1">
                <a:lumMod val="95000"/>
              </a:schemeClr>
            </a:solidFill>
            <a:ln w="25400">
              <a:noFill/>
              <a:miter lim="800000"/>
              <a:headEnd/>
              <a:tailEnd/>
            </a:ln>
          </p:spPr>
          <p:txBody>
            <a:bodyPr wrap="none" lIns="0" tIns="0" rIns="0" bIns="0">
              <a:spAutoFit/>
            </a:bodyPr>
            <a:lstStyle/>
            <a:p>
              <a:pPr>
                <a:defRPr/>
              </a:pPr>
              <a:r>
                <a:rPr lang="en-US" sz="1000" kern="0">
                  <a:solidFill>
                    <a:prstClr val="black">
                      <a:lumMod val="65000"/>
                      <a:lumOff val="35000"/>
                    </a:prstClr>
                  </a:solidFill>
                </a:rPr>
                <a:t>Enugu</a:t>
              </a:r>
            </a:p>
          </p:txBody>
        </p:sp>
        <p:sp>
          <p:nvSpPr>
            <p:cNvPr id="64" name="Rectangle 69"/>
            <p:cNvSpPr>
              <a:spLocks noChangeArrowheads="1"/>
            </p:cNvSpPr>
            <p:nvPr>
              <p:custDataLst>
                <p:tags r:id="rId31"/>
              </p:custDataLst>
            </p:nvPr>
          </p:nvSpPr>
          <p:spPr bwMode="gray">
            <a:xfrm>
              <a:off x="2261091" y="4612646"/>
              <a:ext cx="196515" cy="149726"/>
            </a:xfrm>
            <a:prstGeom prst="rect">
              <a:avLst/>
            </a:prstGeom>
            <a:solidFill>
              <a:schemeClr val="bg1">
                <a:lumMod val="95000"/>
              </a:schemeClr>
            </a:solidFill>
            <a:ln w="25400">
              <a:noFill/>
              <a:miter lim="800000"/>
              <a:headEnd/>
              <a:tailEnd/>
            </a:ln>
          </p:spPr>
          <p:txBody>
            <a:bodyPr wrap="none" lIns="0" tIns="0" rIns="0" bIns="0">
              <a:spAutoFit/>
            </a:bodyPr>
            <a:lstStyle/>
            <a:p>
              <a:pPr>
                <a:defRPr/>
              </a:pPr>
              <a:r>
                <a:rPr lang="en-US" sz="1000" kern="0">
                  <a:solidFill>
                    <a:prstClr val="black">
                      <a:lumMod val="65000"/>
                      <a:lumOff val="35000"/>
                    </a:prstClr>
                  </a:solidFill>
                </a:rPr>
                <a:t>Imo</a:t>
              </a:r>
            </a:p>
          </p:txBody>
        </p:sp>
        <p:sp>
          <p:nvSpPr>
            <p:cNvPr id="65" name="Rectangle 70"/>
            <p:cNvSpPr>
              <a:spLocks noChangeArrowheads="1"/>
            </p:cNvSpPr>
            <p:nvPr>
              <p:custDataLst>
                <p:tags r:id="rId32"/>
              </p:custDataLst>
            </p:nvPr>
          </p:nvSpPr>
          <p:spPr bwMode="gray">
            <a:xfrm>
              <a:off x="2592625" y="4908796"/>
              <a:ext cx="534960" cy="149726"/>
            </a:xfrm>
            <a:prstGeom prst="rect">
              <a:avLst/>
            </a:prstGeom>
            <a:solidFill>
              <a:schemeClr val="bg1">
                <a:lumMod val="95000"/>
              </a:schemeClr>
            </a:solidFill>
            <a:ln w="25400">
              <a:noFill/>
              <a:miter lim="800000"/>
              <a:headEnd/>
              <a:tailEnd/>
            </a:ln>
          </p:spPr>
          <p:txBody>
            <a:bodyPr wrap="none" lIns="0" tIns="0" rIns="0" bIns="0">
              <a:spAutoFit/>
            </a:bodyPr>
            <a:lstStyle/>
            <a:p>
              <a:pPr>
                <a:defRPr/>
              </a:pPr>
              <a:r>
                <a:rPr lang="en-US" sz="1000" kern="0">
                  <a:solidFill>
                    <a:prstClr val="black">
                      <a:lumMod val="65000"/>
                      <a:lumOff val="35000"/>
                    </a:prstClr>
                  </a:solidFill>
                </a:rPr>
                <a:t>Akwalbom</a:t>
              </a:r>
            </a:p>
          </p:txBody>
        </p:sp>
        <p:sp>
          <p:nvSpPr>
            <p:cNvPr id="66" name="Rectangle 77"/>
            <p:cNvSpPr>
              <a:spLocks noChangeArrowheads="1"/>
            </p:cNvSpPr>
            <p:nvPr>
              <p:custDataLst>
                <p:tags r:id="rId33"/>
              </p:custDataLst>
            </p:nvPr>
          </p:nvSpPr>
          <p:spPr bwMode="gray">
            <a:xfrm>
              <a:off x="3714728" y="2184738"/>
              <a:ext cx="340004" cy="149726"/>
            </a:xfrm>
            <a:prstGeom prst="rect">
              <a:avLst/>
            </a:prstGeom>
            <a:solidFill>
              <a:schemeClr val="bg1">
                <a:lumMod val="95000"/>
              </a:schemeClr>
            </a:solidFill>
            <a:ln w="25400">
              <a:noFill/>
              <a:miter lim="800000"/>
              <a:headEnd/>
              <a:tailEnd/>
            </a:ln>
          </p:spPr>
          <p:txBody>
            <a:bodyPr wrap="none" lIns="0" tIns="0" rIns="0" bIns="0">
              <a:spAutoFit/>
            </a:bodyPr>
            <a:lstStyle/>
            <a:p>
              <a:pPr>
                <a:defRPr/>
              </a:pPr>
              <a:r>
                <a:rPr lang="en-US" sz="1000" kern="0" dirty="0" err="1">
                  <a:solidFill>
                    <a:prstClr val="black">
                      <a:lumMod val="65000"/>
                      <a:lumOff val="35000"/>
                    </a:prstClr>
                  </a:solidFill>
                </a:rPr>
                <a:t>Bauchi</a:t>
              </a:r>
              <a:endParaRPr lang="en-US" sz="1000" kern="0" dirty="0">
                <a:solidFill>
                  <a:prstClr val="black">
                    <a:lumMod val="65000"/>
                    <a:lumOff val="35000"/>
                  </a:prstClr>
                </a:solidFill>
              </a:endParaRPr>
            </a:p>
          </p:txBody>
        </p:sp>
        <p:sp>
          <p:nvSpPr>
            <p:cNvPr id="67" name="Rectangle 78"/>
            <p:cNvSpPr>
              <a:spLocks noChangeArrowheads="1"/>
            </p:cNvSpPr>
            <p:nvPr>
              <p:custDataLst>
                <p:tags r:id="rId34"/>
              </p:custDataLst>
            </p:nvPr>
          </p:nvSpPr>
          <p:spPr bwMode="gray">
            <a:xfrm>
              <a:off x="2576523" y="3242960"/>
              <a:ext cx="547438" cy="149726"/>
            </a:xfrm>
            <a:prstGeom prst="rect">
              <a:avLst/>
            </a:prstGeom>
            <a:solidFill>
              <a:schemeClr val="bg1">
                <a:lumMod val="95000"/>
              </a:schemeClr>
            </a:solidFill>
            <a:ln w="25400">
              <a:noFill/>
              <a:miter lim="800000"/>
              <a:headEnd/>
              <a:tailEnd/>
            </a:ln>
          </p:spPr>
          <p:txBody>
            <a:bodyPr wrap="none" lIns="0" tIns="0" rIns="0" bIns="0">
              <a:spAutoFit/>
            </a:bodyPr>
            <a:lstStyle/>
            <a:p>
              <a:pPr>
                <a:defRPr/>
              </a:pPr>
              <a:r>
                <a:rPr lang="en-US" sz="1000" kern="0" dirty="0" err="1">
                  <a:solidFill>
                    <a:prstClr val="black">
                      <a:lumMod val="65000"/>
                      <a:lumOff val="35000"/>
                    </a:prstClr>
                  </a:solidFill>
                </a:rPr>
                <a:t>Nassarawa</a:t>
              </a:r>
              <a:endParaRPr lang="en-US" sz="1000" kern="0" dirty="0">
                <a:solidFill>
                  <a:prstClr val="black">
                    <a:lumMod val="65000"/>
                    <a:lumOff val="35000"/>
                  </a:prstClr>
                </a:solidFill>
              </a:endParaRPr>
            </a:p>
          </p:txBody>
        </p:sp>
        <p:sp>
          <p:nvSpPr>
            <p:cNvPr id="68" name="Rectangle 79"/>
            <p:cNvSpPr>
              <a:spLocks noChangeArrowheads="1"/>
            </p:cNvSpPr>
            <p:nvPr>
              <p:custDataLst>
                <p:tags r:id="rId35"/>
              </p:custDataLst>
            </p:nvPr>
          </p:nvSpPr>
          <p:spPr bwMode="gray">
            <a:xfrm>
              <a:off x="3070459" y="3766325"/>
              <a:ext cx="324407" cy="149726"/>
            </a:xfrm>
            <a:prstGeom prst="rect">
              <a:avLst/>
            </a:prstGeom>
            <a:solidFill>
              <a:schemeClr val="bg1">
                <a:lumMod val="95000"/>
              </a:schemeClr>
            </a:solidFill>
            <a:ln w="25400">
              <a:noFill/>
              <a:miter lim="800000"/>
              <a:headEnd/>
              <a:tailEnd/>
            </a:ln>
          </p:spPr>
          <p:txBody>
            <a:bodyPr wrap="none" lIns="0" tIns="0" rIns="0" bIns="0">
              <a:spAutoFit/>
            </a:bodyPr>
            <a:lstStyle/>
            <a:p>
              <a:pPr>
                <a:defRPr/>
              </a:pPr>
              <a:r>
                <a:rPr lang="en-US" sz="1000" kern="0" dirty="0">
                  <a:solidFill>
                    <a:prstClr val="black">
                      <a:lumMod val="65000"/>
                      <a:lumOff val="35000"/>
                    </a:prstClr>
                  </a:solidFill>
                </a:rPr>
                <a:t>Benue</a:t>
              </a:r>
            </a:p>
          </p:txBody>
        </p:sp>
        <p:sp>
          <p:nvSpPr>
            <p:cNvPr id="69" name="Rectangle 80"/>
            <p:cNvSpPr>
              <a:spLocks noChangeArrowheads="1"/>
            </p:cNvSpPr>
            <p:nvPr>
              <p:custDataLst>
                <p:tags r:id="rId36"/>
              </p:custDataLst>
            </p:nvPr>
          </p:nvSpPr>
          <p:spPr bwMode="gray">
            <a:xfrm>
              <a:off x="2118818" y="4348413"/>
              <a:ext cx="464775" cy="149726"/>
            </a:xfrm>
            <a:prstGeom prst="rect">
              <a:avLst/>
            </a:prstGeom>
            <a:solidFill>
              <a:schemeClr val="bg1">
                <a:lumMod val="95000"/>
              </a:schemeClr>
            </a:solidFill>
            <a:ln w="25400">
              <a:noFill/>
              <a:miter lim="800000"/>
              <a:headEnd/>
              <a:tailEnd/>
            </a:ln>
          </p:spPr>
          <p:txBody>
            <a:bodyPr wrap="none" lIns="0" tIns="0" rIns="0" bIns="0">
              <a:spAutoFit/>
            </a:bodyPr>
            <a:lstStyle/>
            <a:p>
              <a:pPr>
                <a:defRPr/>
              </a:pPr>
              <a:r>
                <a:rPr lang="en-US" sz="1000" kern="0">
                  <a:solidFill>
                    <a:prstClr val="black">
                      <a:lumMod val="65000"/>
                      <a:lumOff val="35000"/>
                    </a:prstClr>
                  </a:solidFill>
                </a:rPr>
                <a:t>Anambra</a:t>
              </a:r>
            </a:p>
          </p:txBody>
        </p:sp>
        <p:sp>
          <p:nvSpPr>
            <p:cNvPr id="70" name="Rectangle 81"/>
            <p:cNvSpPr>
              <a:spLocks noChangeArrowheads="1"/>
            </p:cNvSpPr>
            <p:nvPr>
              <p:custDataLst>
                <p:tags r:id="rId37"/>
              </p:custDataLst>
            </p:nvPr>
          </p:nvSpPr>
          <p:spPr bwMode="gray">
            <a:xfrm>
              <a:off x="2533563" y="4560311"/>
              <a:ext cx="224589" cy="149726"/>
            </a:xfrm>
            <a:prstGeom prst="rect">
              <a:avLst/>
            </a:prstGeom>
            <a:solidFill>
              <a:schemeClr val="bg1">
                <a:lumMod val="95000"/>
              </a:schemeClr>
            </a:solidFill>
            <a:ln w="25400">
              <a:noFill/>
              <a:miter lim="800000"/>
              <a:headEnd/>
              <a:tailEnd/>
            </a:ln>
          </p:spPr>
          <p:txBody>
            <a:bodyPr wrap="none" lIns="0" tIns="0" rIns="0" bIns="0">
              <a:spAutoFit/>
            </a:bodyPr>
            <a:lstStyle/>
            <a:p>
              <a:pPr>
                <a:defRPr/>
              </a:pPr>
              <a:r>
                <a:rPr lang="en-US" sz="1000" kern="0">
                  <a:solidFill>
                    <a:prstClr val="black">
                      <a:lumMod val="65000"/>
                      <a:lumOff val="35000"/>
                    </a:prstClr>
                  </a:solidFill>
                </a:rPr>
                <a:t>Abia</a:t>
              </a:r>
            </a:p>
          </p:txBody>
        </p:sp>
        <p:sp>
          <p:nvSpPr>
            <p:cNvPr id="71" name="Rectangle 82"/>
            <p:cNvSpPr>
              <a:spLocks noChangeArrowheads="1"/>
            </p:cNvSpPr>
            <p:nvPr>
              <p:custDataLst>
                <p:tags r:id="rId38"/>
              </p:custDataLst>
            </p:nvPr>
          </p:nvSpPr>
          <p:spPr bwMode="gray">
            <a:xfrm>
              <a:off x="2752349" y="4185018"/>
              <a:ext cx="341563" cy="149726"/>
            </a:xfrm>
            <a:prstGeom prst="rect">
              <a:avLst/>
            </a:prstGeom>
            <a:solidFill>
              <a:schemeClr val="bg1">
                <a:lumMod val="95000"/>
              </a:schemeClr>
            </a:solidFill>
            <a:ln w="25400">
              <a:noFill/>
              <a:miter lim="800000"/>
              <a:headEnd/>
              <a:tailEnd/>
            </a:ln>
          </p:spPr>
          <p:txBody>
            <a:bodyPr wrap="none" lIns="0" tIns="0" rIns="0" bIns="0">
              <a:spAutoFit/>
            </a:bodyPr>
            <a:lstStyle/>
            <a:p>
              <a:pPr>
                <a:defRPr/>
              </a:pPr>
              <a:r>
                <a:rPr lang="en-US" sz="1000" kern="0">
                  <a:solidFill>
                    <a:prstClr val="black">
                      <a:lumMod val="65000"/>
                      <a:lumOff val="35000"/>
                    </a:prstClr>
                  </a:solidFill>
                </a:rPr>
                <a:t>Ebonyi</a:t>
              </a:r>
            </a:p>
          </p:txBody>
        </p:sp>
        <p:sp>
          <p:nvSpPr>
            <p:cNvPr id="72" name="Rectangle 83"/>
            <p:cNvSpPr>
              <a:spLocks noChangeArrowheads="1"/>
            </p:cNvSpPr>
            <p:nvPr>
              <p:custDataLst>
                <p:tags r:id="rId39"/>
              </p:custDataLst>
            </p:nvPr>
          </p:nvSpPr>
          <p:spPr bwMode="gray">
            <a:xfrm>
              <a:off x="1394014" y="3549324"/>
              <a:ext cx="215231" cy="149726"/>
            </a:xfrm>
            <a:prstGeom prst="rect">
              <a:avLst/>
            </a:prstGeom>
            <a:solidFill>
              <a:schemeClr val="bg1">
                <a:lumMod val="95000"/>
              </a:schemeClr>
            </a:solidFill>
            <a:ln w="25400" algn="ctr">
              <a:noFill/>
              <a:miter lim="800000"/>
              <a:headEnd/>
              <a:tailEnd/>
            </a:ln>
          </p:spPr>
          <p:txBody>
            <a:bodyPr wrap="none" lIns="0" tIns="0" rIns="0" bIns="0">
              <a:spAutoFit/>
            </a:bodyPr>
            <a:lstStyle/>
            <a:p>
              <a:pPr>
                <a:defRPr/>
              </a:pPr>
              <a:r>
                <a:rPr lang="en-US" sz="1000" kern="0">
                  <a:solidFill>
                    <a:prstClr val="black">
                      <a:lumMod val="65000"/>
                      <a:lumOff val="35000"/>
                    </a:prstClr>
                  </a:solidFill>
                </a:rPr>
                <a:t>Ekiti</a:t>
              </a:r>
            </a:p>
          </p:txBody>
        </p:sp>
        <p:sp>
          <p:nvSpPr>
            <p:cNvPr id="73" name="Rectangle 39"/>
            <p:cNvSpPr>
              <a:spLocks noChangeArrowheads="1"/>
            </p:cNvSpPr>
            <p:nvPr>
              <p:custDataLst>
                <p:tags r:id="rId40"/>
              </p:custDataLst>
            </p:nvPr>
          </p:nvSpPr>
          <p:spPr bwMode="gray">
            <a:xfrm>
              <a:off x="3567085" y="1307773"/>
              <a:ext cx="335325" cy="149726"/>
            </a:xfrm>
            <a:prstGeom prst="rect">
              <a:avLst/>
            </a:prstGeom>
            <a:solidFill>
              <a:schemeClr val="bg1">
                <a:lumMod val="95000"/>
              </a:schemeClr>
            </a:solidFill>
            <a:ln w="25400">
              <a:noFill/>
              <a:miter lim="800000"/>
              <a:headEnd/>
              <a:tailEnd/>
            </a:ln>
          </p:spPr>
          <p:txBody>
            <a:bodyPr wrap="none" lIns="0" tIns="0" rIns="0" bIns="0">
              <a:spAutoFit/>
            </a:bodyPr>
            <a:lstStyle/>
            <a:p>
              <a:pPr>
                <a:defRPr/>
              </a:pPr>
              <a:r>
                <a:rPr lang="en-US" sz="1000" kern="0">
                  <a:solidFill>
                    <a:prstClr val="black">
                      <a:lumMod val="65000"/>
                      <a:lumOff val="35000"/>
                    </a:prstClr>
                  </a:solidFill>
                </a:rPr>
                <a:t>Jigawa</a:t>
              </a:r>
              <a:endParaRPr lang="en-US" sz="1000" kern="0" dirty="0">
                <a:solidFill>
                  <a:prstClr val="black">
                    <a:lumMod val="65000"/>
                    <a:lumOff val="35000"/>
                  </a:prstClr>
                </a:solidFill>
              </a:endParaRPr>
            </a:p>
          </p:txBody>
        </p:sp>
        <p:sp>
          <p:nvSpPr>
            <p:cNvPr id="74" name="Rectangle 41"/>
            <p:cNvSpPr>
              <a:spLocks noChangeArrowheads="1"/>
            </p:cNvSpPr>
            <p:nvPr>
              <p:custDataLst>
                <p:tags r:id="rId41"/>
              </p:custDataLst>
            </p:nvPr>
          </p:nvSpPr>
          <p:spPr bwMode="gray">
            <a:xfrm>
              <a:off x="3012743" y="1639669"/>
              <a:ext cx="255782" cy="149726"/>
            </a:xfrm>
            <a:prstGeom prst="rect">
              <a:avLst/>
            </a:prstGeom>
            <a:solidFill>
              <a:schemeClr val="bg1">
                <a:lumMod val="95000"/>
              </a:schemeClr>
            </a:solidFill>
            <a:ln w="25400">
              <a:noFill/>
              <a:miter lim="800000"/>
              <a:headEnd/>
              <a:tailEnd/>
            </a:ln>
          </p:spPr>
          <p:txBody>
            <a:bodyPr wrap="none" lIns="0" tIns="0" rIns="0" bIns="0">
              <a:spAutoFit/>
            </a:bodyPr>
            <a:lstStyle/>
            <a:p>
              <a:pPr>
                <a:defRPr/>
              </a:pPr>
              <a:r>
                <a:rPr lang="en-US" sz="1000" kern="0" dirty="0">
                  <a:solidFill>
                    <a:prstClr val="black">
                      <a:lumMod val="65000"/>
                      <a:lumOff val="35000"/>
                    </a:prstClr>
                  </a:solidFill>
                </a:rPr>
                <a:t>Kano</a:t>
              </a:r>
            </a:p>
          </p:txBody>
        </p:sp>
        <p:sp>
          <p:nvSpPr>
            <p:cNvPr id="75" name="Rectangle 42"/>
            <p:cNvSpPr>
              <a:spLocks noChangeArrowheads="1"/>
            </p:cNvSpPr>
            <p:nvPr>
              <p:custDataLst>
                <p:tags r:id="rId42"/>
              </p:custDataLst>
            </p:nvPr>
          </p:nvSpPr>
          <p:spPr bwMode="gray">
            <a:xfrm>
              <a:off x="2404451" y="1089647"/>
              <a:ext cx="368077" cy="149726"/>
            </a:xfrm>
            <a:prstGeom prst="rect">
              <a:avLst/>
            </a:prstGeom>
            <a:solidFill>
              <a:schemeClr val="bg1">
                <a:lumMod val="95000"/>
              </a:schemeClr>
            </a:solidFill>
            <a:ln w="25400">
              <a:noFill/>
              <a:miter lim="800000"/>
              <a:headEnd/>
              <a:tailEnd/>
            </a:ln>
          </p:spPr>
          <p:txBody>
            <a:bodyPr wrap="none" lIns="0" tIns="0" rIns="0" bIns="0">
              <a:spAutoFit/>
            </a:bodyPr>
            <a:lstStyle/>
            <a:p>
              <a:pPr>
                <a:defRPr/>
              </a:pPr>
              <a:r>
                <a:rPr lang="en-US" sz="1000" kern="0" dirty="0" err="1">
                  <a:solidFill>
                    <a:prstClr val="black">
                      <a:lumMod val="65000"/>
                      <a:lumOff val="35000"/>
                    </a:prstClr>
                  </a:solidFill>
                </a:rPr>
                <a:t>Katsina</a:t>
              </a:r>
              <a:endParaRPr lang="en-US" sz="1000" kern="0" dirty="0">
                <a:solidFill>
                  <a:prstClr val="black">
                    <a:lumMod val="65000"/>
                    <a:lumOff val="35000"/>
                  </a:prstClr>
                </a:solidFill>
              </a:endParaRPr>
            </a:p>
          </p:txBody>
        </p:sp>
        <p:sp>
          <p:nvSpPr>
            <p:cNvPr id="76" name="Rectangle 53"/>
            <p:cNvSpPr>
              <a:spLocks noChangeArrowheads="1"/>
            </p:cNvSpPr>
            <p:nvPr>
              <p:custDataLst>
                <p:tags r:id="rId43"/>
              </p:custDataLst>
            </p:nvPr>
          </p:nvSpPr>
          <p:spPr bwMode="gray">
            <a:xfrm>
              <a:off x="1650381" y="1309046"/>
              <a:ext cx="416426" cy="149726"/>
            </a:xfrm>
            <a:prstGeom prst="rect">
              <a:avLst/>
            </a:prstGeom>
            <a:solidFill>
              <a:schemeClr val="bg1">
                <a:lumMod val="95000"/>
              </a:schemeClr>
            </a:solidFill>
            <a:ln w="25400" algn="ctr">
              <a:noFill/>
              <a:miter lim="800000"/>
              <a:headEnd/>
              <a:tailEnd/>
            </a:ln>
          </p:spPr>
          <p:txBody>
            <a:bodyPr wrap="none" lIns="0" tIns="0" rIns="0" bIns="0">
              <a:spAutoFit/>
            </a:bodyPr>
            <a:lstStyle/>
            <a:p>
              <a:pPr>
                <a:defRPr/>
              </a:pPr>
              <a:r>
                <a:rPr lang="en-US" sz="1000" kern="0" dirty="0" err="1">
                  <a:solidFill>
                    <a:prstClr val="black">
                      <a:lumMod val="65000"/>
                      <a:lumOff val="35000"/>
                    </a:prstClr>
                  </a:solidFill>
                </a:rPr>
                <a:t>Zamfara</a:t>
              </a:r>
              <a:endParaRPr lang="en-US" sz="1000" kern="0" dirty="0">
                <a:solidFill>
                  <a:prstClr val="black">
                    <a:lumMod val="65000"/>
                    <a:lumOff val="35000"/>
                  </a:prstClr>
                </a:solidFill>
              </a:endParaRPr>
            </a:p>
          </p:txBody>
        </p:sp>
        <p:sp>
          <p:nvSpPr>
            <p:cNvPr id="77" name="Rectangle 55"/>
            <p:cNvSpPr>
              <a:spLocks noChangeArrowheads="1"/>
            </p:cNvSpPr>
            <p:nvPr>
              <p:custDataLst>
                <p:tags r:id="rId44"/>
              </p:custDataLst>
            </p:nvPr>
          </p:nvSpPr>
          <p:spPr bwMode="gray">
            <a:xfrm>
              <a:off x="4405980" y="1361384"/>
              <a:ext cx="254223" cy="149726"/>
            </a:xfrm>
            <a:prstGeom prst="rect">
              <a:avLst/>
            </a:prstGeom>
            <a:noFill/>
            <a:ln w="25400">
              <a:noFill/>
              <a:miter lim="800000"/>
              <a:headEnd/>
              <a:tailEnd/>
            </a:ln>
          </p:spPr>
          <p:txBody>
            <a:bodyPr wrap="none" lIns="0" tIns="0" rIns="0" bIns="0">
              <a:spAutoFit/>
            </a:bodyPr>
            <a:lstStyle/>
            <a:p>
              <a:pPr>
                <a:defRPr/>
              </a:pPr>
              <a:r>
                <a:rPr lang="en-US" sz="1000" kern="0" dirty="0" err="1">
                  <a:solidFill>
                    <a:prstClr val="black">
                      <a:lumMod val="65000"/>
                      <a:lumOff val="35000"/>
                    </a:prstClr>
                  </a:solidFill>
                </a:rPr>
                <a:t>Yobe</a:t>
              </a:r>
              <a:endParaRPr lang="en-US" sz="1000" kern="0" dirty="0">
                <a:solidFill>
                  <a:prstClr val="black">
                    <a:lumMod val="65000"/>
                    <a:lumOff val="35000"/>
                  </a:prstClr>
                </a:solidFill>
              </a:endParaRPr>
            </a:p>
          </p:txBody>
        </p:sp>
        <p:sp>
          <p:nvSpPr>
            <p:cNvPr id="78" name="Rectangle 58"/>
            <p:cNvSpPr>
              <a:spLocks noChangeArrowheads="1"/>
            </p:cNvSpPr>
            <p:nvPr>
              <p:custDataLst>
                <p:tags r:id="rId45"/>
              </p:custDataLst>
            </p:nvPr>
          </p:nvSpPr>
          <p:spPr bwMode="gray">
            <a:xfrm>
              <a:off x="1301395" y="955459"/>
              <a:ext cx="352481" cy="149726"/>
            </a:xfrm>
            <a:prstGeom prst="rect">
              <a:avLst/>
            </a:prstGeom>
            <a:noFill/>
            <a:ln w="25400" algn="ctr">
              <a:noFill/>
              <a:miter lim="800000"/>
              <a:headEnd/>
              <a:tailEnd/>
            </a:ln>
          </p:spPr>
          <p:txBody>
            <a:bodyPr wrap="none" lIns="0" tIns="0" rIns="0" bIns="0">
              <a:spAutoFit/>
            </a:bodyPr>
            <a:lstStyle/>
            <a:p>
              <a:pPr>
                <a:defRPr/>
              </a:pPr>
              <a:r>
                <a:rPr lang="en-US" sz="1000" kern="0" dirty="0" err="1">
                  <a:solidFill>
                    <a:prstClr val="black">
                      <a:lumMod val="65000"/>
                      <a:lumOff val="35000"/>
                    </a:prstClr>
                  </a:solidFill>
                </a:rPr>
                <a:t>Sokoto</a:t>
              </a:r>
              <a:endParaRPr lang="en-US" sz="1000" kern="0" dirty="0">
                <a:solidFill>
                  <a:prstClr val="black">
                    <a:lumMod val="65000"/>
                    <a:lumOff val="35000"/>
                  </a:prstClr>
                </a:solidFill>
              </a:endParaRPr>
            </a:p>
          </p:txBody>
        </p:sp>
        <p:sp>
          <p:nvSpPr>
            <p:cNvPr id="79" name="Freeform 6"/>
            <p:cNvSpPr>
              <a:spLocks/>
            </p:cNvSpPr>
            <p:nvPr/>
          </p:nvSpPr>
          <p:spPr bwMode="gray">
            <a:xfrm>
              <a:off x="1900033" y="1794122"/>
              <a:ext cx="1338206" cy="1194810"/>
            </a:xfrm>
            <a:custGeom>
              <a:avLst/>
              <a:gdLst>
                <a:gd name="T0" fmla="*/ 2147483647 w 953"/>
                <a:gd name="T1" fmla="*/ 2147483647 h 896"/>
                <a:gd name="T2" fmla="*/ 2147483647 w 953"/>
                <a:gd name="T3" fmla="*/ 2147483647 h 896"/>
                <a:gd name="T4" fmla="*/ 2147483647 w 953"/>
                <a:gd name="T5" fmla="*/ 2147483647 h 896"/>
                <a:gd name="T6" fmla="*/ 2147483647 w 953"/>
                <a:gd name="T7" fmla="*/ 2147483647 h 896"/>
                <a:gd name="T8" fmla="*/ 2147483647 w 953"/>
                <a:gd name="T9" fmla="*/ 2147483647 h 896"/>
                <a:gd name="T10" fmla="*/ 2147483647 w 953"/>
                <a:gd name="T11" fmla="*/ 2147483647 h 896"/>
                <a:gd name="T12" fmla="*/ 2147483647 w 953"/>
                <a:gd name="T13" fmla="*/ 2147483647 h 896"/>
                <a:gd name="T14" fmla="*/ 2147483647 w 953"/>
                <a:gd name="T15" fmla="*/ 2147483647 h 896"/>
                <a:gd name="T16" fmla="*/ 2147483647 w 953"/>
                <a:gd name="T17" fmla="*/ 2147483647 h 896"/>
                <a:gd name="T18" fmla="*/ 2147483647 w 953"/>
                <a:gd name="T19" fmla="*/ 2147483647 h 896"/>
                <a:gd name="T20" fmla="*/ 2147483647 w 953"/>
                <a:gd name="T21" fmla="*/ 2147483647 h 896"/>
                <a:gd name="T22" fmla="*/ 2147483647 w 953"/>
                <a:gd name="T23" fmla="*/ 2147483647 h 896"/>
                <a:gd name="T24" fmla="*/ 2147483647 w 953"/>
                <a:gd name="T25" fmla="*/ 2147483647 h 896"/>
                <a:gd name="T26" fmla="*/ 2147483647 w 953"/>
                <a:gd name="T27" fmla="*/ 2147483647 h 896"/>
                <a:gd name="T28" fmla="*/ 2147483647 w 953"/>
                <a:gd name="T29" fmla="*/ 2147483647 h 896"/>
                <a:gd name="T30" fmla="*/ 2147483647 w 953"/>
                <a:gd name="T31" fmla="*/ 2147483647 h 896"/>
                <a:gd name="T32" fmla="*/ 2147483647 w 953"/>
                <a:gd name="T33" fmla="*/ 2147483647 h 896"/>
                <a:gd name="T34" fmla="*/ 2147483647 w 953"/>
                <a:gd name="T35" fmla="*/ 2147483647 h 896"/>
                <a:gd name="T36" fmla="*/ 2147483647 w 953"/>
                <a:gd name="T37" fmla="*/ 2147483647 h 896"/>
                <a:gd name="T38" fmla="*/ 2147483647 w 953"/>
                <a:gd name="T39" fmla="*/ 2147483647 h 896"/>
                <a:gd name="T40" fmla="*/ 0 w 953"/>
                <a:gd name="T41" fmla="*/ 2147483647 h 896"/>
                <a:gd name="T42" fmla="*/ 2147483647 w 953"/>
                <a:gd name="T43" fmla="*/ 2147483647 h 896"/>
                <a:gd name="T44" fmla="*/ 2147483647 w 953"/>
                <a:gd name="T45" fmla="*/ 2147483647 h 896"/>
                <a:gd name="T46" fmla="*/ 2147483647 w 953"/>
                <a:gd name="T47" fmla="*/ 2147483647 h 896"/>
                <a:gd name="T48" fmla="*/ 2147483647 w 953"/>
                <a:gd name="T49" fmla="*/ 2147483647 h 896"/>
                <a:gd name="T50" fmla="*/ 2147483647 w 953"/>
                <a:gd name="T51" fmla="*/ 2147483647 h 896"/>
                <a:gd name="T52" fmla="*/ 2147483647 w 953"/>
                <a:gd name="T53" fmla="*/ 2147483647 h 896"/>
                <a:gd name="T54" fmla="*/ 2147483647 w 953"/>
                <a:gd name="T55" fmla="*/ 2147483647 h 896"/>
                <a:gd name="T56" fmla="*/ 2147483647 w 953"/>
                <a:gd name="T57" fmla="*/ 2147483647 h 896"/>
                <a:gd name="T58" fmla="*/ 2147483647 w 953"/>
                <a:gd name="T59" fmla="*/ 2147483647 h 896"/>
                <a:gd name="T60" fmla="*/ 2147483647 w 953"/>
                <a:gd name="T61" fmla="*/ 2147483647 h 896"/>
                <a:gd name="T62" fmla="*/ 2147483647 w 953"/>
                <a:gd name="T63" fmla="*/ 2147483647 h 896"/>
                <a:gd name="T64" fmla="*/ 2147483647 w 953"/>
                <a:gd name="T65" fmla="*/ 2147483647 h 896"/>
                <a:gd name="T66" fmla="*/ 2147483647 w 953"/>
                <a:gd name="T67" fmla="*/ 2147483647 h 896"/>
                <a:gd name="T68" fmla="*/ 2147483647 w 953"/>
                <a:gd name="T69" fmla="*/ 2147483647 h 896"/>
                <a:gd name="T70" fmla="*/ 2147483647 w 953"/>
                <a:gd name="T71" fmla="*/ 2147483647 h 896"/>
                <a:gd name="T72" fmla="*/ 2147483647 w 953"/>
                <a:gd name="T73" fmla="*/ 2147483647 h 896"/>
                <a:gd name="T74" fmla="*/ 2147483647 w 953"/>
                <a:gd name="T75" fmla="*/ 2147483647 h 896"/>
                <a:gd name="T76" fmla="*/ 2147483647 w 953"/>
                <a:gd name="T77" fmla="*/ 2147483647 h 896"/>
                <a:gd name="T78" fmla="*/ 2147483647 w 953"/>
                <a:gd name="T79" fmla="*/ 2147483647 h 896"/>
                <a:gd name="T80" fmla="*/ 2147483647 w 953"/>
                <a:gd name="T81" fmla="*/ 2147483647 h 896"/>
                <a:gd name="T82" fmla="*/ 2147483647 w 953"/>
                <a:gd name="T83" fmla="*/ 2147483647 h 896"/>
                <a:gd name="T84" fmla="*/ 2147483647 w 953"/>
                <a:gd name="T85" fmla="*/ 2147483647 h 896"/>
                <a:gd name="T86" fmla="*/ 2147483647 w 953"/>
                <a:gd name="T87" fmla="*/ 2147483647 h 896"/>
                <a:gd name="T88" fmla="*/ 2147483647 w 953"/>
                <a:gd name="T89" fmla="*/ 2147483647 h 896"/>
                <a:gd name="T90" fmla="*/ 2147483647 w 953"/>
                <a:gd name="T91" fmla="*/ 2147483647 h 896"/>
                <a:gd name="T92" fmla="*/ 2147483647 w 953"/>
                <a:gd name="T93" fmla="*/ 2147483647 h 896"/>
                <a:gd name="T94" fmla="*/ 2147483647 w 953"/>
                <a:gd name="T95" fmla="*/ 2147483647 h 896"/>
                <a:gd name="T96" fmla="*/ 2147483647 w 953"/>
                <a:gd name="T97" fmla="*/ 2147483647 h 896"/>
                <a:gd name="T98" fmla="*/ 2147483647 w 953"/>
                <a:gd name="T99" fmla="*/ 2147483647 h 896"/>
                <a:gd name="T100" fmla="*/ 2147483647 w 953"/>
                <a:gd name="T101" fmla="*/ 2147483647 h 896"/>
                <a:gd name="T102" fmla="*/ 2147483647 w 953"/>
                <a:gd name="T103" fmla="*/ 2147483647 h 896"/>
                <a:gd name="T104" fmla="*/ 2147483647 w 953"/>
                <a:gd name="T105" fmla="*/ 2147483647 h 896"/>
                <a:gd name="T106" fmla="*/ 2147483647 w 953"/>
                <a:gd name="T107" fmla="*/ 2147483647 h 896"/>
                <a:gd name="T108" fmla="*/ 2147483647 w 953"/>
                <a:gd name="T109" fmla="*/ 2147483647 h 896"/>
                <a:gd name="T110" fmla="*/ 2147483647 w 953"/>
                <a:gd name="T111" fmla="*/ 2147483647 h 896"/>
                <a:gd name="T112" fmla="*/ 2147483647 w 953"/>
                <a:gd name="T113" fmla="*/ 2147483647 h 896"/>
                <a:gd name="T114" fmla="*/ 2147483647 w 953"/>
                <a:gd name="T115" fmla="*/ 2147483647 h 896"/>
                <a:gd name="T116" fmla="*/ 2147483647 w 953"/>
                <a:gd name="T117" fmla="*/ 2147483647 h 896"/>
                <a:gd name="T118" fmla="*/ 2147483647 w 953"/>
                <a:gd name="T119" fmla="*/ 2147483647 h 89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53"/>
                <a:gd name="T181" fmla="*/ 0 h 896"/>
                <a:gd name="T182" fmla="*/ 953 w 953"/>
                <a:gd name="T183" fmla="*/ 896 h 89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53" h="896">
                  <a:moveTo>
                    <a:pt x="465" y="771"/>
                  </a:moveTo>
                  <a:lnTo>
                    <a:pt x="454" y="771"/>
                  </a:lnTo>
                  <a:lnTo>
                    <a:pt x="448" y="771"/>
                  </a:lnTo>
                  <a:lnTo>
                    <a:pt x="442" y="771"/>
                  </a:lnTo>
                  <a:lnTo>
                    <a:pt x="437" y="771"/>
                  </a:lnTo>
                  <a:lnTo>
                    <a:pt x="431" y="777"/>
                  </a:lnTo>
                  <a:lnTo>
                    <a:pt x="425" y="777"/>
                  </a:lnTo>
                  <a:lnTo>
                    <a:pt x="420" y="777"/>
                  </a:lnTo>
                  <a:lnTo>
                    <a:pt x="414" y="777"/>
                  </a:lnTo>
                  <a:lnTo>
                    <a:pt x="408" y="771"/>
                  </a:lnTo>
                  <a:lnTo>
                    <a:pt x="414" y="771"/>
                  </a:lnTo>
                  <a:lnTo>
                    <a:pt x="414" y="765"/>
                  </a:lnTo>
                  <a:lnTo>
                    <a:pt x="420" y="760"/>
                  </a:lnTo>
                  <a:lnTo>
                    <a:pt x="420" y="754"/>
                  </a:lnTo>
                  <a:lnTo>
                    <a:pt x="420" y="748"/>
                  </a:lnTo>
                  <a:lnTo>
                    <a:pt x="414" y="748"/>
                  </a:lnTo>
                  <a:lnTo>
                    <a:pt x="403" y="748"/>
                  </a:lnTo>
                  <a:lnTo>
                    <a:pt x="397" y="748"/>
                  </a:lnTo>
                  <a:lnTo>
                    <a:pt x="397" y="743"/>
                  </a:lnTo>
                  <a:lnTo>
                    <a:pt x="397" y="737"/>
                  </a:lnTo>
                  <a:lnTo>
                    <a:pt x="397" y="731"/>
                  </a:lnTo>
                  <a:lnTo>
                    <a:pt x="397" y="726"/>
                  </a:lnTo>
                  <a:lnTo>
                    <a:pt x="397" y="720"/>
                  </a:lnTo>
                  <a:lnTo>
                    <a:pt x="403" y="720"/>
                  </a:lnTo>
                  <a:lnTo>
                    <a:pt x="403" y="714"/>
                  </a:lnTo>
                  <a:lnTo>
                    <a:pt x="408" y="709"/>
                  </a:lnTo>
                  <a:lnTo>
                    <a:pt x="414" y="709"/>
                  </a:lnTo>
                  <a:lnTo>
                    <a:pt x="414" y="703"/>
                  </a:lnTo>
                  <a:lnTo>
                    <a:pt x="420" y="703"/>
                  </a:lnTo>
                  <a:lnTo>
                    <a:pt x="425" y="697"/>
                  </a:lnTo>
                  <a:lnTo>
                    <a:pt x="425" y="692"/>
                  </a:lnTo>
                  <a:lnTo>
                    <a:pt x="425" y="686"/>
                  </a:lnTo>
                  <a:lnTo>
                    <a:pt x="431" y="680"/>
                  </a:lnTo>
                  <a:lnTo>
                    <a:pt x="431" y="675"/>
                  </a:lnTo>
                  <a:lnTo>
                    <a:pt x="437" y="675"/>
                  </a:lnTo>
                  <a:lnTo>
                    <a:pt x="442" y="675"/>
                  </a:lnTo>
                  <a:lnTo>
                    <a:pt x="442" y="669"/>
                  </a:lnTo>
                  <a:lnTo>
                    <a:pt x="437" y="669"/>
                  </a:lnTo>
                  <a:lnTo>
                    <a:pt x="437" y="663"/>
                  </a:lnTo>
                  <a:lnTo>
                    <a:pt x="431" y="663"/>
                  </a:lnTo>
                  <a:lnTo>
                    <a:pt x="425" y="663"/>
                  </a:lnTo>
                  <a:lnTo>
                    <a:pt x="425" y="658"/>
                  </a:lnTo>
                  <a:lnTo>
                    <a:pt x="420" y="658"/>
                  </a:lnTo>
                  <a:lnTo>
                    <a:pt x="414" y="652"/>
                  </a:lnTo>
                  <a:lnTo>
                    <a:pt x="414" y="646"/>
                  </a:lnTo>
                  <a:lnTo>
                    <a:pt x="420" y="646"/>
                  </a:lnTo>
                  <a:lnTo>
                    <a:pt x="420" y="641"/>
                  </a:lnTo>
                  <a:lnTo>
                    <a:pt x="425" y="641"/>
                  </a:lnTo>
                  <a:lnTo>
                    <a:pt x="425" y="635"/>
                  </a:lnTo>
                  <a:lnTo>
                    <a:pt x="420" y="635"/>
                  </a:lnTo>
                  <a:lnTo>
                    <a:pt x="414" y="635"/>
                  </a:lnTo>
                  <a:lnTo>
                    <a:pt x="408" y="635"/>
                  </a:lnTo>
                  <a:lnTo>
                    <a:pt x="403" y="635"/>
                  </a:lnTo>
                  <a:lnTo>
                    <a:pt x="397" y="629"/>
                  </a:lnTo>
                  <a:lnTo>
                    <a:pt x="397" y="624"/>
                  </a:lnTo>
                  <a:lnTo>
                    <a:pt x="397" y="618"/>
                  </a:lnTo>
                  <a:lnTo>
                    <a:pt x="403" y="618"/>
                  </a:lnTo>
                  <a:lnTo>
                    <a:pt x="408" y="618"/>
                  </a:lnTo>
                  <a:lnTo>
                    <a:pt x="414" y="612"/>
                  </a:lnTo>
                  <a:lnTo>
                    <a:pt x="420" y="607"/>
                  </a:lnTo>
                  <a:lnTo>
                    <a:pt x="425" y="607"/>
                  </a:lnTo>
                  <a:lnTo>
                    <a:pt x="425" y="601"/>
                  </a:lnTo>
                  <a:lnTo>
                    <a:pt x="425" y="595"/>
                  </a:lnTo>
                  <a:lnTo>
                    <a:pt x="425" y="590"/>
                  </a:lnTo>
                  <a:lnTo>
                    <a:pt x="425" y="578"/>
                  </a:lnTo>
                  <a:lnTo>
                    <a:pt x="425" y="567"/>
                  </a:lnTo>
                  <a:lnTo>
                    <a:pt x="420" y="561"/>
                  </a:lnTo>
                  <a:lnTo>
                    <a:pt x="420" y="556"/>
                  </a:lnTo>
                  <a:lnTo>
                    <a:pt x="425" y="544"/>
                  </a:lnTo>
                  <a:lnTo>
                    <a:pt x="425" y="539"/>
                  </a:lnTo>
                  <a:lnTo>
                    <a:pt x="425" y="533"/>
                  </a:lnTo>
                  <a:lnTo>
                    <a:pt x="420" y="533"/>
                  </a:lnTo>
                  <a:lnTo>
                    <a:pt x="420" y="527"/>
                  </a:lnTo>
                  <a:lnTo>
                    <a:pt x="414" y="527"/>
                  </a:lnTo>
                  <a:lnTo>
                    <a:pt x="408" y="522"/>
                  </a:lnTo>
                  <a:lnTo>
                    <a:pt x="403" y="522"/>
                  </a:lnTo>
                  <a:lnTo>
                    <a:pt x="397" y="522"/>
                  </a:lnTo>
                  <a:lnTo>
                    <a:pt x="386" y="527"/>
                  </a:lnTo>
                  <a:lnTo>
                    <a:pt x="380" y="527"/>
                  </a:lnTo>
                  <a:lnTo>
                    <a:pt x="374" y="527"/>
                  </a:lnTo>
                  <a:lnTo>
                    <a:pt x="369" y="527"/>
                  </a:lnTo>
                  <a:lnTo>
                    <a:pt x="357" y="527"/>
                  </a:lnTo>
                  <a:lnTo>
                    <a:pt x="346" y="522"/>
                  </a:lnTo>
                  <a:lnTo>
                    <a:pt x="340" y="522"/>
                  </a:lnTo>
                  <a:lnTo>
                    <a:pt x="329" y="522"/>
                  </a:lnTo>
                  <a:lnTo>
                    <a:pt x="323" y="522"/>
                  </a:lnTo>
                  <a:lnTo>
                    <a:pt x="318" y="522"/>
                  </a:lnTo>
                  <a:lnTo>
                    <a:pt x="312" y="522"/>
                  </a:lnTo>
                  <a:lnTo>
                    <a:pt x="306" y="516"/>
                  </a:lnTo>
                  <a:lnTo>
                    <a:pt x="301" y="510"/>
                  </a:lnTo>
                  <a:lnTo>
                    <a:pt x="289" y="505"/>
                  </a:lnTo>
                  <a:lnTo>
                    <a:pt x="289" y="499"/>
                  </a:lnTo>
                  <a:lnTo>
                    <a:pt x="284" y="499"/>
                  </a:lnTo>
                  <a:lnTo>
                    <a:pt x="284" y="493"/>
                  </a:lnTo>
                  <a:lnTo>
                    <a:pt x="284" y="488"/>
                  </a:lnTo>
                  <a:lnTo>
                    <a:pt x="284" y="482"/>
                  </a:lnTo>
                  <a:lnTo>
                    <a:pt x="289" y="482"/>
                  </a:lnTo>
                  <a:lnTo>
                    <a:pt x="295" y="476"/>
                  </a:lnTo>
                  <a:lnTo>
                    <a:pt x="295" y="471"/>
                  </a:lnTo>
                  <a:lnTo>
                    <a:pt x="301" y="471"/>
                  </a:lnTo>
                  <a:lnTo>
                    <a:pt x="301" y="465"/>
                  </a:lnTo>
                  <a:lnTo>
                    <a:pt x="306" y="465"/>
                  </a:lnTo>
                  <a:lnTo>
                    <a:pt x="312" y="465"/>
                  </a:lnTo>
                  <a:lnTo>
                    <a:pt x="312" y="459"/>
                  </a:lnTo>
                  <a:lnTo>
                    <a:pt x="318" y="454"/>
                  </a:lnTo>
                  <a:lnTo>
                    <a:pt x="323" y="448"/>
                  </a:lnTo>
                  <a:lnTo>
                    <a:pt x="329" y="448"/>
                  </a:lnTo>
                  <a:lnTo>
                    <a:pt x="329" y="442"/>
                  </a:lnTo>
                  <a:lnTo>
                    <a:pt x="335" y="442"/>
                  </a:lnTo>
                  <a:lnTo>
                    <a:pt x="335" y="437"/>
                  </a:lnTo>
                  <a:lnTo>
                    <a:pt x="340" y="431"/>
                  </a:lnTo>
                  <a:lnTo>
                    <a:pt x="340" y="425"/>
                  </a:lnTo>
                  <a:lnTo>
                    <a:pt x="335" y="425"/>
                  </a:lnTo>
                  <a:lnTo>
                    <a:pt x="335" y="420"/>
                  </a:lnTo>
                  <a:lnTo>
                    <a:pt x="329" y="414"/>
                  </a:lnTo>
                  <a:lnTo>
                    <a:pt x="323" y="408"/>
                  </a:lnTo>
                  <a:lnTo>
                    <a:pt x="318" y="408"/>
                  </a:lnTo>
                  <a:lnTo>
                    <a:pt x="312" y="408"/>
                  </a:lnTo>
                  <a:lnTo>
                    <a:pt x="306" y="408"/>
                  </a:lnTo>
                  <a:lnTo>
                    <a:pt x="301" y="408"/>
                  </a:lnTo>
                  <a:lnTo>
                    <a:pt x="295" y="403"/>
                  </a:lnTo>
                  <a:lnTo>
                    <a:pt x="289" y="403"/>
                  </a:lnTo>
                  <a:lnTo>
                    <a:pt x="289" y="397"/>
                  </a:lnTo>
                  <a:lnTo>
                    <a:pt x="295" y="391"/>
                  </a:lnTo>
                  <a:lnTo>
                    <a:pt x="295" y="385"/>
                  </a:lnTo>
                  <a:lnTo>
                    <a:pt x="301" y="380"/>
                  </a:lnTo>
                  <a:lnTo>
                    <a:pt x="301" y="374"/>
                  </a:lnTo>
                  <a:lnTo>
                    <a:pt x="301" y="368"/>
                  </a:lnTo>
                  <a:lnTo>
                    <a:pt x="301" y="357"/>
                  </a:lnTo>
                  <a:lnTo>
                    <a:pt x="295" y="357"/>
                  </a:lnTo>
                  <a:lnTo>
                    <a:pt x="289" y="351"/>
                  </a:lnTo>
                  <a:lnTo>
                    <a:pt x="289" y="346"/>
                  </a:lnTo>
                  <a:lnTo>
                    <a:pt x="284" y="346"/>
                  </a:lnTo>
                  <a:lnTo>
                    <a:pt x="272" y="346"/>
                  </a:lnTo>
                  <a:lnTo>
                    <a:pt x="267" y="346"/>
                  </a:lnTo>
                  <a:lnTo>
                    <a:pt x="261" y="346"/>
                  </a:lnTo>
                  <a:lnTo>
                    <a:pt x="261" y="340"/>
                  </a:lnTo>
                  <a:lnTo>
                    <a:pt x="261" y="334"/>
                  </a:lnTo>
                  <a:lnTo>
                    <a:pt x="261" y="329"/>
                  </a:lnTo>
                  <a:lnTo>
                    <a:pt x="267" y="329"/>
                  </a:lnTo>
                  <a:lnTo>
                    <a:pt x="267" y="323"/>
                  </a:lnTo>
                  <a:lnTo>
                    <a:pt x="261" y="317"/>
                  </a:lnTo>
                  <a:lnTo>
                    <a:pt x="261" y="312"/>
                  </a:lnTo>
                  <a:lnTo>
                    <a:pt x="255" y="312"/>
                  </a:lnTo>
                  <a:lnTo>
                    <a:pt x="250" y="312"/>
                  </a:lnTo>
                  <a:lnTo>
                    <a:pt x="244" y="306"/>
                  </a:lnTo>
                  <a:lnTo>
                    <a:pt x="233" y="306"/>
                  </a:lnTo>
                  <a:lnTo>
                    <a:pt x="227" y="306"/>
                  </a:lnTo>
                  <a:lnTo>
                    <a:pt x="227" y="312"/>
                  </a:lnTo>
                  <a:lnTo>
                    <a:pt x="221" y="312"/>
                  </a:lnTo>
                  <a:lnTo>
                    <a:pt x="216" y="312"/>
                  </a:lnTo>
                  <a:lnTo>
                    <a:pt x="216" y="317"/>
                  </a:lnTo>
                  <a:lnTo>
                    <a:pt x="221" y="317"/>
                  </a:lnTo>
                  <a:lnTo>
                    <a:pt x="227" y="323"/>
                  </a:lnTo>
                  <a:lnTo>
                    <a:pt x="227" y="329"/>
                  </a:lnTo>
                  <a:lnTo>
                    <a:pt x="210" y="329"/>
                  </a:lnTo>
                  <a:lnTo>
                    <a:pt x="199" y="329"/>
                  </a:lnTo>
                  <a:lnTo>
                    <a:pt x="199" y="334"/>
                  </a:lnTo>
                  <a:lnTo>
                    <a:pt x="187" y="334"/>
                  </a:lnTo>
                  <a:lnTo>
                    <a:pt x="182" y="334"/>
                  </a:lnTo>
                  <a:lnTo>
                    <a:pt x="182" y="340"/>
                  </a:lnTo>
                  <a:lnTo>
                    <a:pt x="176" y="340"/>
                  </a:lnTo>
                  <a:lnTo>
                    <a:pt x="170" y="340"/>
                  </a:lnTo>
                  <a:lnTo>
                    <a:pt x="165" y="340"/>
                  </a:lnTo>
                  <a:lnTo>
                    <a:pt x="159" y="346"/>
                  </a:lnTo>
                  <a:lnTo>
                    <a:pt x="153" y="340"/>
                  </a:lnTo>
                  <a:lnTo>
                    <a:pt x="148" y="334"/>
                  </a:lnTo>
                  <a:lnTo>
                    <a:pt x="148" y="329"/>
                  </a:lnTo>
                  <a:lnTo>
                    <a:pt x="148" y="323"/>
                  </a:lnTo>
                  <a:lnTo>
                    <a:pt x="142" y="323"/>
                  </a:lnTo>
                  <a:lnTo>
                    <a:pt x="142" y="317"/>
                  </a:lnTo>
                  <a:lnTo>
                    <a:pt x="136" y="317"/>
                  </a:lnTo>
                  <a:lnTo>
                    <a:pt x="131" y="317"/>
                  </a:lnTo>
                  <a:lnTo>
                    <a:pt x="131" y="323"/>
                  </a:lnTo>
                  <a:lnTo>
                    <a:pt x="125" y="323"/>
                  </a:lnTo>
                  <a:lnTo>
                    <a:pt x="125" y="329"/>
                  </a:lnTo>
                  <a:lnTo>
                    <a:pt x="119" y="329"/>
                  </a:lnTo>
                  <a:lnTo>
                    <a:pt x="114" y="329"/>
                  </a:lnTo>
                  <a:lnTo>
                    <a:pt x="114" y="334"/>
                  </a:lnTo>
                  <a:lnTo>
                    <a:pt x="108" y="334"/>
                  </a:lnTo>
                  <a:lnTo>
                    <a:pt x="108" y="340"/>
                  </a:lnTo>
                  <a:lnTo>
                    <a:pt x="97" y="346"/>
                  </a:lnTo>
                  <a:lnTo>
                    <a:pt x="91" y="346"/>
                  </a:lnTo>
                  <a:lnTo>
                    <a:pt x="91" y="351"/>
                  </a:lnTo>
                  <a:lnTo>
                    <a:pt x="91" y="357"/>
                  </a:lnTo>
                  <a:lnTo>
                    <a:pt x="85" y="357"/>
                  </a:lnTo>
                  <a:lnTo>
                    <a:pt x="80" y="357"/>
                  </a:lnTo>
                  <a:lnTo>
                    <a:pt x="80" y="363"/>
                  </a:lnTo>
                  <a:lnTo>
                    <a:pt x="74" y="363"/>
                  </a:lnTo>
                  <a:lnTo>
                    <a:pt x="74" y="368"/>
                  </a:lnTo>
                  <a:lnTo>
                    <a:pt x="68" y="368"/>
                  </a:lnTo>
                  <a:lnTo>
                    <a:pt x="63" y="368"/>
                  </a:lnTo>
                  <a:lnTo>
                    <a:pt x="63" y="374"/>
                  </a:lnTo>
                  <a:lnTo>
                    <a:pt x="63" y="380"/>
                  </a:lnTo>
                  <a:lnTo>
                    <a:pt x="57" y="380"/>
                  </a:lnTo>
                  <a:lnTo>
                    <a:pt x="57" y="385"/>
                  </a:lnTo>
                  <a:lnTo>
                    <a:pt x="51" y="397"/>
                  </a:lnTo>
                  <a:lnTo>
                    <a:pt x="46" y="397"/>
                  </a:lnTo>
                  <a:lnTo>
                    <a:pt x="46" y="403"/>
                  </a:lnTo>
                  <a:lnTo>
                    <a:pt x="40" y="403"/>
                  </a:lnTo>
                  <a:lnTo>
                    <a:pt x="34" y="403"/>
                  </a:lnTo>
                  <a:lnTo>
                    <a:pt x="29" y="403"/>
                  </a:lnTo>
                  <a:lnTo>
                    <a:pt x="23" y="403"/>
                  </a:lnTo>
                  <a:lnTo>
                    <a:pt x="17" y="403"/>
                  </a:lnTo>
                  <a:lnTo>
                    <a:pt x="17" y="397"/>
                  </a:lnTo>
                  <a:lnTo>
                    <a:pt x="17" y="391"/>
                  </a:lnTo>
                  <a:lnTo>
                    <a:pt x="17" y="385"/>
                  </a:lnTo>
                  <a:lnTo>
                    <a:pt x="17" y="380"/>
                  </a:lnTo>
                  <a:lnTo>
                    <a:pt x="12" y="380"/>
                  </a:lnTo>
                  <a:lnTo>
                    <a:pt x="12" y="374"/>
                  </a:lnTo>
                  <a:lnTo>
                    <a:pt x="6" y="374"/>
                  </a:lnTo>
                  <a:lnTo>
                    <a:pt x="0" y="374"/>
                  </a:lnTo>
                  <a:lnTo>
                    <a:pt x="0" y="368"/>
                  </a:lnTo>
                  <a:lnTo>
                    <a:pt x="0" y="363"/>
                  </a:lnTo>
                  <a:lnTo>
                    <a:pt x="0" y="357"/>
                  </a:lnTo>
                  <a:lnTo>
                    <a:pt x="0" y="351"/>
                  </a:lnTo>
                  <a:lnTo>
                    <a:pt x="0" y="346"/>
                  </a:lnTo>
                  <a:lnTo>
                    <a:pt x="6" y="340"/>
                  </a:lnTo>
                  <a:lnTo>
                    <a:pt x="6" y="334"/>
                  </a:lnTo>
                  <a:lnTo>
                    <a:pt x="12" y="334"/>
                  </a:lnTo>
                  <a:lnTo>
                    <a:pt x="12" y="329"/>
                  </a:lnTo>
                  <a:lnTo>
                    <a:pt x="6" y="317"/>
                  </a:lnTo>
                  <a:lnTo>
                    <a:pt x="6" y="312"/>
                  </a:lnTo>
                  <a:lnTo>
                    <a:pt x="12" y="312"/>
                  </a:lnTo>
                  <a:lnTo>
                    <a:pt x="12" y="300"/>
                  </a:lnTo>
                  <a:lnTo>
                    <a:pt x="6" y="300"/>
                  </a:lnTo>
                  <a:lnTo>
                    <a:pt x="6" y="295"/>
                  </a:lnTo>
                  <a:lnTo>
                    <a:pt x="6" y="289"/>
                  </a:lnTo>
                  <a:lnTo>
                    <a:pt x="0" y="289"/>
                  </a:lnTo>
                  <a:lnTo>
                    <a:pt x="0" y="283"/>
                  </a:lnTo>
                  <a:lnTo>
                    <a:pt x="0" y="278"/>
                  </a:lnTo>
                  <a:lnTo>
                    <a:pt x="6" y="272"/>
                  </a:lnTo>
                  <a:lnTo>
                    <a:pt x="6" y="266"/>
                  </a:lnTo>
                  <a:lnTo>
                    <a:pt x="6" y="261"/>
                  </a:lnTo>
                  <a:lnTo>
                    <a:pt x="6" y="255"/>
                  </a:lnTo>
                  <a:lnTo>
                    <a:pt x="6" y="249"/>
                  </a:lnTo>
                  <a:lnTo>
                    <a:pt x="12" y="244"/>
                  </a:lnTo>
                  <a:lnTo>
                    <a:pt x="17" y="238"/>
                  </a:lnTo>
                  <a:lnTo>
                    <a:pt x="17" y="232"/>
                  </a:lnTo>
                  <a:lnTo>
                    <a:pt x="23" y="227"/>
                  </a:lnTo>
                  <a:lnTo>
                    <a:pt x="29" y="227"/>
                  </a:lnTo>
                  <a:lnTo>
                    <a:pt x="34" y="227"/>
                  </a:lnTo>
                  <a:lnTo>
                    <a:pt x="40" y="227"/>
                  </a:lnTo>
                  <a:lnTo>
                    <a:pt x="46" y="227"/>
                  </a:lnTo>
                  <a:lnTo>
                    <a:pt x="46" y="221"/>
                  </a:lnTo>
                  <a:lnTo>
                    <a:pt x="46" y="215"/>
                  </a:lnTo>
                  <a:lnTo>
                    <a:pt x="51" y="215"/>
                  </a:lnTo>
                  <a:lnTo>
                    <a:pt x="51" y="204"/>
                  </a:lnTo>
                  <a:lnTo>
                    <a:pt x="57" y="204"/>
                  </a:lnTo>
                  <a:lnTo>
                    <a:pt x="57" y="198"/>
                  </a:lnTo>
                  <a:lnTo>
                    <a:pt x="63" y="193"/>
                  </a:lnTo>
                  <a:lnTo>
                    <a:pt x="68" y="193"/>
                  </a:lnTo>
                  <a:lnTo>
                    <a:pt x="68" y="187"/>
                  </a:lnTo>
                  <a:lnTo>
                    <a:pt x="74" y="187"/>
                  </a:lnTo>
                  <a:lnTo>
                    <a:pt x="74" y="181"/>
                  </a:lnTo>
                  <a:lnTo>
                    <a:pt x="80" y="181"/>
                  </a:lnTo>
                  <a:lnTo>
                    <a:pt x="91" y="176"/>
                  </a:lnTo>
                  <a:lnTo>
                    <a:pt x="91" y="170"/>
                  </a:lnTo>
                  <a:lnTo>
                    <a:pt x="102" y="170"/>
                  </a:lnTo>
                  <a:lnTo>
                    <a:pt x="102" y="164"/>
                  </a:lnTo>
                  <a:lnTo>
                    <a:pt x="108" y="164"/>
                  </a:lnTo>
                  <a:lnTo>
                    <a:pt x="114" y="170"/>
                  </a:lnTo>
                  <a:lnTo>
                    <a:pt x="119" y="170"/>
                  </a:lnTo>
                  <a:lnTo>
                    <a:pt x="125" y="176"/>
                  </a:lnTo>
                  <a:lnTo>
                    <a:pt x="131" y="176"/>
                  </a:lnTo>
                  <a:lnTo>
                    <a:pt x="142" y="176"/>
                  </a:lnTo>
                  <a:lnTo>
                    <a:pt x="148" y="176"/>
                  </a:lnTo>
                  <a:lnTo>
                    <a:pt x="153" y="176"/>
                  </a:lnTo>
                  <a:lnTo>
                    <a:pt x="159" y="176"/>
                  </a:lnTo>
                  <a:lnTo>
                    <a:pt x="176" y="170"/>
                  </a:lnTo>
                  <a:lnTo>
                    <a:pt x="182" y="170"/>
                  </a:lnTo>
                  <a:lnTo>
                    <a:pt x="187" y="164"/>
                  </a:lnTo>
                  <a:lnTo>
                    <a:pt x="193" y="164"/>
                  </a:lnTo>
                  <a:lnTo>
                    <a:pt x="199" y="164"/>
                  </a:lnTo>
                  <a:lnTo>
                    <a:pt x="199" y="159"/>
                  </a:lnTo>
                  <a:lnTo>
                    <a:pt x="204" y="159"/>
                  </a:lnTo>
                  <a:lnTo>
                    <a:pt x="210" y="153"/>
                  </a:lnTo>
                  <a:lnTo>
                    <a:pt x="216" y="147"/>
                  </a:lnTo>
                  <a:lnTo>
                    <a:pt x="216" y="142"/>
                  </a:lnTo>
                  <a:lnTo>
                    <a:pt x="221" y="142"/>
                  </a:lnTo>
                  <a:lnTo>
                    <a:pt x="221" y="136"/>
                  </a:lnTo>
                  <a:lnTo>
                    <a:pt x="227" y="130"/>
                  </a:lnTo>
                  <a:lnTo>
                    <a:pt x="227" y="125"/>
                  </a:lnTo>
                  <a:lnTo>
                    <a:pt x="227" y="119"/>
                  </a:lnTo>
                  <a:lnTo>
                    <a:pt x="227" y="108"/>
                  </a:lnTo>
                  <a:lnTo>
                    <a:pt x="233" y="96"/>
                  </a:lnTo>
                  <a:lnTo>
                    <a:pt x="233" y="91"/>
                  </a:lnTo>
                  <a:lnTo>
                    <a:pt x="238" y="85"/>
                  </a:lnTo>
                  <a:lnTo>
                    <a:pt x="244" y="85"/>
                  </a:lnTo>
                  <a:lnTo>
                    <a:pt x="244" y="79"/>
                  </a:lnTo>
                  <a:lnTo>
                    <a:pt x="250" y="79"/>
                  </a:lnTo>
                  <a:lnTo>
                    <a:pt x="255" y="79"/>
                  </a:lnTo>
                  <a:lnTo>
                    <a:pt x="255" y="74"/>
                  </a:lnTo>
                  <a:lnTo>
                    <a:pt x="261" y="74"/>
                  </a:lnTo>
                  <a:lnTo>
                    <a:pt x="261" y="68"/>
                  </a:lnTo>
                  <a:lnTo>
                    <a:pt x="267" y="68"/>
                  </a:lnTo>
                  <a:lnTo>
                    <a:pt x="272" y="62"/>
                  </a:lnTo>
                  <a:lnTo>
                    <a:pt x="278" y="57"/>
                  </a:lnTo>
                  <a:lnTo>
                    <a:pt x="284" y="51"/>
                  </a:lnTo>
                  <a:lnTo>
                    <a:pt x="278" y="45"/>
                  </a:lnTo>
                  <a:lnTo>
                    <a:pt x="284" y="51"/>
                  </a:lnTo>
                  <a:lnTo>
                    <a:pt x="289" y="51"/>
                  </a:lnTo>
                  <a:lnTo>
                    <a:pt x="295" y="51"/>
                  </a:lnTo>
                  <a:lnTo>
                    <a:pt x="306" y="51"/>
                  </a:lnTo>
                  <a:lnTo>
                    <a:pt x="312" y="57"/>
                  </a:lnTo>
                  <a:lnTo>
                    <a:pt x="318" y="57"/>
                  </a:lnTo>
                  <a:lnTo>
                    <a:pt x="318" y="62"/>
                  </a:lnTo>
                  <a:lnTo>
                    <a:pt x="318" y="68"/>
                  </a:lnTo>
                  <a:lnTo>
                    <a:pt x="318" y="79"/>
                  </a:lnTo>
                  <a:lnTo>
                    <a:pt x="312" y="79"/>
                  </a:lnTo>
                  <a:lnTo>
                    <a:pt x="312" y="85"/>
                  </a:lnTo>
                  <a:lnTo>
                    <a:pt x="312" y="91"/>
                  </a:lnTo>
                  <a:lnTo>
                    <a:pt x="312" y="96"/>
                  </a:lnTo>
                  <a:lnTo>
                    <a:pt x="318" y="96"/>
                  </a:lnTo>
                  <a:lnTo>
                    <a:pt x="318" y="102"/>
                  </a:lnTo>
                  <a:lnTo>
                    <a:pt x="323" y="102"/>
                  </a:lnTo>
                  <a:lnTo>
                    <a:pt x="329" y="108"/>
                  </a:lnTo>
                  <a:lnTo>
                    <a:pt x="335" y="108"/>
                  </a:lnTo>
                  <a:lnTo>
                    <a:pt x="340" y="108"/>
                  </a:lnTo>
                  <a:lnTo>
                    <a:pt x="340" y="113"/>
                  </a:lnTo>
                  <a:lnTo>
                    <a:pt x="346" y="113"/>
                  </a:lnTo>
                  <a:lnTo>
                    <a:pt x="346" y="119"/>
                  </a:lnTo>
                  <a:lnTo>
                    <a:pt x="352" y="119"/>
                  </a:lnTo>
                  <a:lnTo>
                    <a:pt x="357" y="125"/>
                  </a:lnTo>
                  <a:lnTo>
                    <a:pt x="357" y="130"/>
                  </a:lnTo>
                  <a:lnTo>
                    <a:pt x="369" y="136"/>
                  </a:lnTo>
                  <a:lnTo>
                    <a:pt x="374" y="136"/>
                  </a:lnTo>
                  <a:lnTo>
                    <a:pt x="380" y="130"/>
                  </a:lnTo>
                  <a:lnTo>
                    <a:pt x="386" y="130"/>
                  </a:lnTo>
                  <a:lnTo>
                    <a:pt x="386" y="125"/>
                  </a:lnTo>
                  <a:lnTo>
                    <a:pt x="386" y="119"/>
                  </a:lnTo>
                  <a:lnTo>
                    <a:pt x="386" y="113"/>
                  </a:lnTo>
                  <a:lnTo>
                    <a:pt x="386" y="108"/>
                  </a:lnTo>
                  <a:lnTo>
                    <a:pt x="386" y="96"/>
                  </a:lnTo>
                  <a:lnTo>
                    <a:pt x="386" y="91"/>
                  </a:lnTo>
                  <a:lnTo>
                    <a:pt x="386" y="85"/>
                  </a:lnTo>
                  <a:lnTo>
                    <a:pt x="397" y="79"/>
                  </a:lnTo>
                  <a:lnTo>
                    <a:pt x="408" y="79"/>
                  </a:lnTo>
                  <a:lnTo>
                    <a:pt x="414" y="79"/>
                  </a:lnTo>
                  <a:lnTo>
                    <a:pt x="420" y="85"/>
                  </a:lnTo>
                  <a:lnTo>
                    <a:pt x="425" y="85"/>
                  </a:lnTo>
                  <a:lnTo>
                    <a:pt x="431" y="85"/>
                  </a:lnTo>
                  <a:lnTo>
                    <a:pt x="437" y="85"/>
                  </a:lnTo>
                  <a:lnTo>
                    <a:pt x="437" y="79"/>
                  </a:lnTo>
                  <a:lnTo>
                    <a:pt x="442" y="79"/>
                  </a:lnTo>
                  <a:lnTo>
                    <a:pt x="442" y="62"/>
                  </a:lnTo>
                  <a:lnTo>
                    <a:pt x="448" y="57"/>
                  </a:lnTo>
                  <a:lnTo>
                    <a:pt x="448" y="51"/>
                  </a:lnTo>
                  <a:lnTo>
                    <a:pt x="454" y="51"/>
                  </a:lnTo>
                  <a:lnTo>
                    <a:pt x="460" y="51"/>
                  </a:lnTo>
                  <a:lnTo>
                    <a:pt x="465" y="45"/>
                  </a:lnTo>
                  <a:lnTo>
                    <a:pt x="471" y="45"/>
                  </a:lnTo>
                  <a:lnTo>
                    <a:pt x="482" y="45"/>
                  </a:lnTo>
                  <a:lnTo>
                    <a:pt x="488" y="45"/>
                  </a:lnTo>
                  <a:lnTo>
                    <a:pt x="494" y="51"/>
                  </a:lnTo>
                  <a:lnTo>
                    <a:pt x="499" y="51"/>
                  </a:lnTo>
                  <a:lnTo>
                    <a:pt x="499" y="57"/>
                  </a:lnTo>
                  <a:lnTo>
                    <a:pt x="505" y="62"/>
                  </a:lnTo>
                  <a:lnTo>
                    <a:pt x="511" y="62"/>
                  </a:lnTo>
                  <a:lnTo>
                    <a:pt x="516" y="68"/>
                  </a:lnTo>
                  <a:lnTo>
                    <a:pt x="522" y="68"/>
                  </a:lnTo>
                  <a:lnTo>
                    <a:pt x="528" y="79"/>
                  </a:lnTo>
                  <a:lnTo>
                    <a:pt x="528" y="85"/>
                  </a:lnTo>
                  <a:lnTo>
                    <a:pt x="528" y="91"/>
                  </a:lnTo>
                  <a:lnTo>
                    <a:pt x="528" y="102"/>
                  </a:lnTo>
                  <a:lnTo>
                    <a:pt x="528" y="108"/>
                  </a:lnTo>
                  <a:lnTo>
                    <a:pt x="533" y="108"/>
                  </a:lnTo>
                  <a:lnTo>
                    <a:pt x="539" y="108"/>
                  </a:lnTo>
                  <a:lnTo>
                    <a:pt x="545" y="108"/>
                  </a:lnTo>
                  <a:lnTo>
                    <a:pt x="550" y="108"/>
                  </a:lnTo>
                  <a:lnTo>
                    <a:pt x="556" y="102"/>
                  </a:lnTo>
                  <a:lnTo>
                    <a:pt x="556" y="96"/>
                  </a:lnTo>
                  <a:lnTo>
                    <a:pt x="567" y="91"/>
                  </a:lnTo>
                  <a:lnTo>
                    <a:pt x="573" y="91"/>
                  </a:lnTo>
                  <a:lnTo>
                    <a:pt x="573" y="85"/>
                  </a:lnTo>
                  <a:lnTo>
                    <a:pt x="579" y="85"/>
                  </a:lnTo>
                  <a:lnTo>
                    <a:pt x="579" y="79"/>
                  </a:lnTo>
                  <a:lnTo>
                    <a:pt x="584" y="79"/>
                  </a:lnTo>
                  <a:lnTo>
                    <a:pt x="584" y="74"/>
                  </a:lnTo>
                  <a:lnTo>
                    <a:pt x="590" y="74"/>
                  </a:lnTo>
                  <a:lnTo>
                    <a:pt x="596" y="68"/>
                  </a:lnTo>
                  <a:lnTo>
                    <a:pt x="601" y="68"/>
                  </a:lnTo>
                  <a:lnTo>
                    <a:pt x="613" y="62"/>
                  </a:lnTo>
                  <a:lnTo>
                    <a:pt x="613" y="57"/>
                  </a:lnTo>
                  <a:lnTo>
                    <a:pt x="618" y="51"/>
                  </a:lnTo>
                  <a:lnTo>
                    <a:pt x="624" y="51"/>
                  </a:lnTo>
                  <a:lnTo>
                    <a:pt x="630" y="45"/>
                  </a:lnTo>
                  <a:lnTo>
                    <a:pt x="635" y="40"/>
                  </a:lnTo>
                  <a:lnTo>
                    <a:pt x="641" y="34"/>
                  </a:lnTo>
                  <a:lnTo>
                    <a:pt x="652" y="23"/>
                  </a:lnTo>
                  <a:lnTo>
                    <a:pt x="664" y="23"/>
                  </a:lnTo>
                  <a:lnTo>
                    <a:pt x="669" y="17"/>
                  </a:lnTo>
                  <a:lnTo>
                    <a:pt x="675" y="11"/>
                  </a:lnTo>
                  <a:lnTo>
                    <a:pt x="681" y="11"/>
                  </a:lnTo>
                  <a:lnTo>
                    <a:pt x="686" y="11"/>
                  </a:lnTo>
                  <a:lnTo>
                    <a:pt x="692" y="11"/>
                  </a:lnTo>
                  <a:lnTo>
                    <a:pt x="698" y="6"/>
                  </a:lnTo>
                  <a:lnTo>
                    <a:pt x="703" y="6"/>
                  </a:lnTo>
                  <a:lnTo>
                    <a:pt x="709" y="6"/>
                  </a:lnTo>
                  <a:lnTo>
                    <a:pt x="715" y="0"/>
                  </a:lnTo>
                  <a:lnTo>
                    <a:pt x="720" y="6"/>
                  </a:lnTo>
                  <a:lnTo>
                    <a:pt x="726" y="17"/>
                  </a:lnTo>
                  <a:lnTo>
                    <a:pt x="726" y="23"/>
                  </a:lnTo>
                  <a:lnTo>
                    <a:pt x="726" y="34"/>
                  </a:lnTo>
                  <a:lnTo>
                    <a:pt x="726" y="40"/>
                  </a:lnTo>
                  <a:lnTo>
                    <a:pt x="720" y="40"/>
                  </a:lnTo>
                  <a:lnTo>
                    <a:pt x="720" y="45"/>
                  </a:lnTo>
                  <a:lnTo>
                    <a:pt x="726" y="45"/>
                  </a:lnTo>
                  <a:lnTo>
                    <a:pt x="726" y="51"/>
                  </a:lnTo>
                  <a:lnTo>
                    <a:pt x="726" y="57"/>
                  </a:lnTo>
                  <a:lnTo>
                    <a:pt x="726" y="62"/>
                  </a:lnTo>
                  <a:lnTo>
                    <a:pt x="732" y="62"/>
                  </a:lnTo>
                  <a:lnTo>
                    <a:pt x="737" y="62"/>
                  </a:lnTo>
                  <a:lnTo>
                    <a:pt x="743" y="62"/>
                  </a:lnTo>
                  <a:lnTo>
                    <a:pt x="749" y="68"/>
                  </a:lnTo>
                  <a:lnTo>
                    <a:pt x="754" y="68"/>
                  </a:lnTo>
                  <a:lnTo>
                    <a:pt x="760" y="74"/>
                  </a:lnTo>
                  <a:lnTo>
                    <a:pt x="766" y="74"/>
                  </a:lnTo>
                  <a:lnTo>
                    <a:pt x="766" y="79"/>
                  </a:lnTo>
                  <a:lnTo>
                    <a:pt x="771" y="79"/>
                  </a:lnTo>
                  <a:lnTo>
                    <a:pt x="771" y="91"/>
                  </a:lnTo>
                  <a:lnTo>
                    <a:pt x="777" y="96"/>
                  </a:lnTo>
                  <a:lnTo>
                    <a:pt x="783" y="102"/>
                  </a:lnTo>
                  <a:lnTo>
                    <a:pt x="783" y="108"/>
                  </a:lnTo>
                  <a:lnTo>
                    <a:pt x="788" y="108"/>
                  </a:lnTo>
                  <a:lnTo>
                    <a:pt x="794" y="108"/>
                  </a:lnTo>
                  <a:lnTo>
                    <a:pt x="800" y="108"/>
                  </a:lnTo>
                  <a:lnTo>
                    <a:pt x="805" y="108"/>
                  </a:lnTo>
                  <a:lnTo>
                    <a:pt x="811" y="108"/>
                  </a:lnTo>
                  <a:lnTo>
                    <a:pt x="817" y="113"/>
                  </a:lnTo>
                  <a:lnTo>
                    <a:pt x="828" y="119"/>
                  </a:lnTo>
                  <a:lnTo>
                    <a:pt x="834" y="119"/>
                  </a:lnTo>
                  <a:lnTo>
                    <a:pt x="839" y="119"/>
                  </a:lnTo>
                  <a:lnTo>
                    <a:pt x="839" y="125"/>
                  </a:lnTo>
                  <a:lnTo>
                    <a:pt x="845" y="125"/>
                  </a:lnTo>
                  <a:lnTo>
                    <a:pt x="851" y="130"/>
                  </a:lnTo>
                  <a:lnTo>
                    <a:pt x="856" y="136"/>
                  </a:lnTo>
                  <a:lnTo>
                    <a:pt x="862" y="136"/>
                  </a:lnTo>
                  <a:lnTo>
                    <a:pt x="862" y="142"/>
                  </a:lnTo>
                  <a:lnTo>
                    <a:pt x="868" y="147"/>
                  </a:lnTo>
                  <a:lnTo>
                    <a:pt x="868" y="153"/>
                  </a:lnTo>
                  <a:lnTo>
                    <a:pt x="873" y="153"/>
                  </a:lnTo>
                  <a:lnTo>
                    <a:pt x="873" y="159"/>
                  </a:lnTo>
                  <a:lnTo>
                    <a:pt x="879" y="159"/>
                  </a:lnTo>
                  <a:lnTo>
                    <a:pt x="879" y="164"/>
                  </a:lnTo>
                  <a:lnTo>
                    <a:pt x="879" y="170"/>
                  </a:lnTo>
                  <a:lnTo>
                    <a:pt x="885" y="170"/>
                  </a:lnTo>
                  <a:lnTo>
                    <a:pt x="885" y="176"/>
                  </a:lnTo>
                  <a:lnTo>
                    <a:pt x="885" y="181"/>
                  </a:lnTo>
                  <a:lnTo>
                    <a:pt x="885" y="187"/>
                  </a:lnTo>
                  <a:lnTo>
                    <a:pt x="885" y="193"/>
                  </a:lnTo>
                  <a:lnTo>
                    <a:pt x="879" y="193"/>
                  </a:lnTo>
                  <a:lnTo>
                    <a:pt x="879" y="215"/>
                  </a:lnTo>
                  <a:lnTo>
                    <a:pt x="879" y="221"/>
                  </a:lnTo>
                  <a:lnTo>
                    <a:pt x="879" y="227"/>
                  </a:lnTo>
                  <a:lnTo>
                    <a:pt x="879" y="232"/>
                  </a:lnTo>
                  <a:lnTo>
                    <a:pt x="879" y="244"/>
                  </a:lnTo>
                  <a:lnTo>
                    <a:pt x="879" y="261"/>
                  </a:lnTo>
                  <a:lnTo>
                    <a:pt x="885" y="272"/>
                  </a:lnTo>
                  <a:lnTo>
                    <a:pt x="885" y="278"/>
                  </a:lnTo>
                  <a:lnTo>
                    <a:pt x="885" y="283"/>
                  </a:lnTo>
                  <a:lnTo>
                    <a:pt x="885" y="289"/>
                  </a:lnTo>
                  <a:lnTo>
                    <a:pt x="879" y="289"/>
                  </a:lnTo>
                  <a:lnTo>
                    <a:pt x="873" y="289"/>
                  </a:lnTo>
                  <a:lnTo>
                    <a:pt x="868" y="289"/>
                  </a:lnTo>
                  <a:lnTo>
                    <a:pt x="862" y="295"/>
                  </a:lnTo>
                  <a:lnTo>
                    <a:pt x="862" y="300"/>
                  </a:lnTo>
                  <a:lnTo>
                    <a:pt x="862" y="306"/>
                  </a:lnTo>
                  <a:lnTo>
                    <a:pt x="868" y="306"/>
                  </a:lnTo>
                  <a:lnTo>
                    <a:pt x="873" y="306"/>
                  </a:lnTo>
                  <a:lnTo>
                    <a:pt x="879" y="312"/>
                  </a:lnTo>
                  <a:lnTo>
                    <a:pt x="890" y="312"/>
                  </a:lnTo>
                  <a:lnTo>
                    <a:pt x="896" y="312"/>
                  </a:lnTo>
                  <a:lnTo>
                    <a:pt x="896" y="317"/>
                  </a:lnTo>
                  <a:lnTo>
                    <a:pt x="902" y="317"/>
                  </a:lnTo>
                  <a:lnTo>
                    <a:pt x="902" y="323"/>
                  </a:lnTo>
                  <a:lnTo>
                    <a:pt x="907" y="329"/>
                  </a:lnTo>
                  <a:lnTo>
                    <a:pt x="907" y="334"/>
                  </a:lnTo>
                  <a:lnTo>
                    <a:pt x="913" y="340"/>
                  </a:lnTo>
                  <a:lnTo>
                    <a:pt x="919" y="340"/>
                  </a:lnTo>
                  <a:lnTo>
                    <a:pt x="924" y="346"/>
                  </a:lnTo>
                  <a:lnTo>
                    <a:pt x="930" y="346"/>
                  </a:lnTo>
                  <a:lnTo>
                    <a:pt x="936" y="346"/>
                  </a:lnTo>
                  <a:lnTo>
                    <a:pt x="936" y="340"/>
                  </a:lnTo>
                  <a:lnTo>
                    <a:pt x="941" y="340"/>
                  </a:lnTo>
                  <a:lnTo>
                    <a:pt x="947" y="346"/>
                  </a:lnTo>
                  <a:lnTo>
                    <a:pt x="941" y="346"/>
                  </a:lnTo>
                  <a:lnTo>
                    <a:pt x="941" y="351"/>
                  </a:lnTo>
                  <a:lnTo>
                    <a:pt x="941" y="357"/>
                  </a:lnTo>
                  <a:lnTo>
                    <a:pt x="936" y="363"/>
                  </a:lnTo>
                  <a:lnTo>
                    <a:pt x="936" y="368"/>
                  </a:lnTo>
                  <a:lnTo>
                    <a:pt x="936" y="374"/>
                  </a:lnTo>
                  <a:lnTo>
                    <a:pt x="941" y="385"/>
                  </a:lnTo>
                  <a:lnTo>
                    <a:pt x="947" y="397"/>
                  </a:lnTo>
                  <a:lnTo>
                    <a:pt x="953" y="403"/>
                  </a:lnTo>
                  <a:lnTo>
                    <a:pt x="953" y="408"/>
                  </a:lnTo>
                  <a:lnTo>
                    <a:pt x="953" y="414"/>
                  </a:lnTo>
                  <a:lnTo>
                    <a:pt x="953" y="420"/>
                  </a:lnTo>
                  <a:lnTo>
                    <a:pt x="953" y="437"/>
                  </a:lnTo>
                  <a:lnTo>
                    <a:pt x="953" y="442"/>
                  </a:lnTo>
                  <a:lnTo>
                    <a:pt x="947" y="448"/>
                  </a:lnTo>
                  <a:lnTo>
                    <a:pt x="947" y="454"/>
                  </a:lnTo>
                  <a:lnTo>
                    <a:pt x="941" y="459"/>
                  </a:lnTo>
                  <a:lnTo>
                    <a:pt x="936" y="465"/>
                  </a:lnTo>
                  <a:lnTo>
                    <a:pt x="930" y="465"/>
                  </a:lnTo>
                  <a:lnTo>
                    <a:pt x="924" y="471"/>
                  </a:lnTo>
                  <a:lnTo>
                    <a:pt x="919" y="476"/>
                  </a:lnTo>
                  <a:lnTo>
                    <a:pt x="919" y="482"/>
                  </a:lnTo>
                  <a:lnTo>
                    <a:pt x="919" y="488"/>
                  </a:lnTo>
                  <a:lnTo>
                    <a:pt x="919" y="493"/>
                  </a:lnTo>
                  <a:lnTo>
                    <a:pt x="919" y="499"/>
                  </a:lnTo>
                  <a:lnTo>
                    <a:pt x="919" y="522"/>
                  </a:lnTo>
                  <a:lnTo>
                    <a:pt x="919" y="527"/>
                  </a:lnTo>
                  <a:lnTo>
                    <a:pt x="919" y="533"/>
                  </a:lnTo>
                  <a:lnTo>
                    <a:pt x="919" y="539"/>
                  </a:lnTo>
                  <a:lnTo>
                    <a:pt x="919" y="544"/>
                  </a:lnTo>
                  <a:lnTo>
                    <a:pt x="913" y="550"/>
                  </a:lnTo>
                  <a:lnTo>
                    <a:pt x="913" y="556"/>
                  </a:lnTo>
                  <a:lnTo>
                    <a:pt x="907" y="556"/>
                  </a:lnTo>
                  <a:lnTo>
                    <a:pt x="907" y="561"/>
                  </a:lnTo>
                  <a:lnTo>
                    <a:pt x="907" y="567"/>
                  </a:lnTo>
                  <a:lnTo>
                    <a:pt x="902" y="573"/>
                  </a:lnTo>
                  <a:lnTo>
                    <a:pt x="902" y="578"/>
                  </a:lnTo>
                  <a:lnTo>
                    <a:pt x="902" y="584"/>
                  </a:lnTo>
                  <a:lnTo>
                    <a:pt x="902" y="595"/>
                  </a:lnTo>
                  <a:lnTo>
                    <a:pt x="902" y="618"/>
                  </a:lnTo>
                  <a:lnTo>
                    <a:pt x="902" y="624"/>
                  </a:lnTo>
                  <a:lnTo>
                    <a:pt x="902" y="635"/>
                  </a:lnTo>
                  <a:lnTo>
                    <a:pt x="902" y="646"/>
                  </a:lnTo>
                  <a:lnTo>
                    <a:pt x="896" y="652"/>
                  </a:lnTo>
                  <a:lnTo>
                    <a:pt x="890" y="658"/>
                  </a:lnTo>
                  <a:lnTo>
                    <a:pt x="890" y="663"/>
                  </a:lnTo>
                  <a:lnTo>
                    <a:pt x="890" y="669"/>
                  </a:lnTo>
                  <a:lnTo>
                    <a:pt x="885" y="680"/>
                  </a:lnTo>
                  <a:lnTo>
                    <a:pt x="879" y="692"/>
                  </a:lnTo>
                  <a:lnTo>
                    <a:pt x="879" y="697"/>
                  </a:lnTo>
                  <a:lnTo>
                    <a:pt x="879" y="703"/>
                  </a:lnTo>
                  <a:lnTo>
                    <a:pt x="879" y="714"/>
                  </a:lnTo>
                  <a:lnTo>
                    <a:pt x="879" y="720"/>
                  </a:lnTo>
                  <a:lnTo>
                    <a:pt x="879" y="726"/>
                  </a:lnTo>
                  <a:lnTo>
                    <a:pt x="879" y="731"/>
                  </a:lnTo>
                  <a:lnTo>
                    <a:pt x="885" y="731"/>
                  </a:lnTo>
                  <a:lnTo>
                    <a:pt x="885" y="737"/>
                  </a:lnTo>
                  <a:lnTo>
                    <a:pt x="890" y="743"/>
                  </a:lnTo>
                  <a:lnTo>
                    <a:pt x="902" y="754"/>
                  </a:lnTo>
                  <a:lnTo>
                    <a:pt x="907" y="760"/>
                  </a:lnTo>
                  <a:lnTo>
                    <a:pt x="907" y="765"/>
                  </a:lnTo>
                  <a:lnTo>
                    <a:pt x="913" y="765"/>
                  </a:lnTo>
                  <a:lnTo>
                    <a:pt x="919" y="765"/>
                  </a:lnTo>
                  <a:lnTo>
                    <a:pt x="919" y="771"/>
                  </a:lnTo>
                  <a:lnTo>
                    <a:pt x="924" y="771"/>
                  </a:lnTo>
                  <a:lnTo>
                    <a:pt x="930" y="777"/>
                  </a:lnTo>
                  <a:lnTo>
                    <a:pt x="930" y="782"/>
                  </a:lnTo>
                  <a:lnTo>
                    <a:pt x="930" y="788"/>
                  </a:lnTo>
                  <a:lnTo>
                    <a:pt x="930" y="794"/>
                  </a:lnTo>
                  <a:lnTo>
                    <a:pt x="924" y="799"/>
                  </a:lnTo>
                  <a:lnTo>
                    <a:pt x="919" y="805"/>
                  </a:lnTo>
                  <a:lnTo>
                    <a:pt x="919" y="811"/>
                  </a:lnTo>
                  <a:lnTo>
                    <a:pt x="919" y="816"/>
                  </a:lnTo>
                  <a:lnTo>
                    <a:pt x="913" y="816"/>
                  </a:lnTo>
                  <a:lnTo>
                    <a:pt x="913" y="822"/>
                  </a:lnTo>
                  <a:lnTo>
                    <a:pt x="907" y="828"/>
                  </a:lnTo>
                  <a:lnTo>
                    <a:pt x="907" y="833"/>
                  </a:lnTo>
                  <a:lnTo>
                    <a:pt x="907" y="839"/>
                  </a:lnTo>
                  <a:lnTo>
                    <a:pt x="902" y="845"/>
                  </a:lnTo>
                  <a:lnTo>
                    <a:pt x="902" y="850"/>
                  </a:lnTo>
                  <a:lnTo>
                    <a:pt x="896" y="856"/>
                  </a:lnTo>
                  <a:lnTo>
                    <a:pt x="896" y="862"/>
                  </a:lnTo>
                  <a:lnTo>
                    <a:pt x="890" y="867"/>
                  </a:lnTo>
                  <a:lnTo>
                    <a:pt x="890" y="873"/>
                  </a:lnTo>
                  <a:lnTo>
                    <a:pt x="890" y="879"/>
                  </a:lnTo>
                  <a:lnTo>
                    <a:pt x="890" y="884"/>
                  </a:lnTo>
                  <a:lnTo>
                    <a:pt x="885" y="884"/>
                  </a:lnTo>
                  <a:lnTo>
                    <a:pt x="879" y="890"/>
                  </a:lnTo>
                  <a:lnTo>
                    <a:pt x="879" y="896"/>
                  </a:lnTo>
                  <a:lnTo>
                    <a:pt x="873" y="896"/>
                  </a:lnTo>
                  <a:lnTo>
                    <a:pt x="868" y="896"/>
                  </a:lnTo>
                  <a:lnTo>
                    <a:pt x="862" y="896"/>
                  </a:lnTo>
                  <a:lnTo>
                    <a:pt x="851" y="896"/>
                  </a:lnTo>
                  <a:lnTo>
                    <a:pt x="845" y="896"/>
                  </a:lnTo>
                  <a:lnTo>
                    <a:pt x="839" y="890"/>
                  </a:lnTo>
                  <a:lnTo>
                    <a:pt x="834" y="884"/>
                  </a:lnTo>
                  <a:lnTo>
                    <a:pt x="828" y="884"/>
                  </a:lnTo>
                  <a:lnTo>
                    <a:pt x="828" y="879"/>
                  </a:lnTo>
                  <a:lnTo>
                    <a:pt x="822" y="873"/>
                  </a:lnTo>
                  <a:lnTo>
                    <a:pt x="822" y="867"/>
                  </a:lnTo>
                  <a:lnTo>
                    <a:pt x="817" y="862"/>
                  </a:lnTo>
                  <a:lnTo>
                    <a:pt x="811" y="856"/>
                  </a:lnTo>
                  <a:lnTo>
                    <a:pt x="805" y="850"/>
                  </a:lnTo>
                  <a:lnTo>
                    <a:pt x="800" y="850"/>
                  </a:lnTo>
                  <a:lnTo>
                    <a:pt x="788" y="850"/>
                  </a:lnTo>
                  <a:lnTo>
                    <a:pt x="783" y="845"/>
                  </a:lnTo>
                  <a:lnTo>
                    <a:pt x="777" y="850"/>
                  </a:lnTo>
                  <a:lnTo>
                    <a:pt x="771" y="850"/>
                  </a:lnTo>
                  <a:lnTo>
                    <a:pt x="766" y="850"/>
                  </a:lnTo>
                  <a:lnTo>
                    <a:pt x="766" y="856"/>
                  </a:lnTo>
                  <a:lnTo>
                    <a:pt x="760" y="856"/>
                  </a:lnTo>
                  <a:lnTo>
                    <a:pt x="754" y="862"/>
                  </a:lnTo>
                  <a:lnTo>
                    <a:pt x="754" y="867"/>
                  </a:lnTo>
                  <a:lnTo>
                    <a:pt x="749" y="867"/>
                  </a:lnTo>
                  <a:lnTo>
                    <a:pt x="749" y="873"/>
                  </a:lnTo>
                  <a:lnTo>
                    <a:pt x="743" y="879"/>
                  </a:lnTo>
                  <a:lnTo>
                    <a:pt x="737" y="879"/>
                  </a:lnTo>
                  <a:lnTo>
                    <a:pt x="737" y="884"/>
                  </a:lnTo>
                  <a:lnTo>
                    <a:pt x="732" y="890"/>
                  </a:lnTo>
                  <a:lnTo>
                    <a:pt x="726" y="896"/>
                  </a:lnTo>
                  <a:lnTo>
                    <a:pt x="720" y="896"/>
                  </a:lnTo>
                  <a:lnTo>
                    <a:pt x="715" y="884"/>
                  </a:lnTo>
                  <a:lnTo>
                    <a:pt x="715" y="879"/>
                  </a:lnTo>
                  <a:lnTo>
                    <a:pt x="720" y="862"/>
                  </a:lnTo>
                  <a:lnTo>
                    <a:pt x="720" y="856"/>
                  </a:lnTo>
                  <a:lnTo>
                    <a:pt x="720" y="850"/>
                  </a:lnTo>
                  <a:lnTo>
                    <a:pt x="720" y="845"/>
                  </a:lnTo>
                  <a:lnTo>
                    <a:pt x="720" y="839"/>
                  </a:lnTo>
                  <a:lnTo>
                    <a:pt x="715" y="833"/>
                  </a:lnTo>
                  <a:lnTo>
                    <a:pt x="709" y="828"/>
                  </a:lnTo>
                  <a:lnTo>
                    <a:pt x="709" y="822"/>
                  </a:lnTo>
                  <a:lnTo>
                    <a:pt x="703" y="816"/>
                  </a:lnTo>
                  <a:lnTo>
                    <a:pt x="698" y="816"/>
                  </a:lnTo>
                  <a:lnTo>
                    <a:pt x="698" y="811"/>
                  </a:lnTo>
                  <a:lnTo>
                    <a:pt x="698" y="805"/>
                  </a:lnTo>
                  <a:lnTo>
                    <a:pt x="692" y="799"/>
                  </a:lnTo>
                  <a:lnTo>
                    <a:pt x="692" y="794"/>
                  </a:lnTo>
                  <a:lnTo>
                    <a:pt x="692" y="788"/>
                  </a:lnTo>
                  <a:lnTo>
                    <a:pt x="692" y="782"/>
                  </a:lnTo>
                  <a:lnTo>
                    <a:pt x="686" y="782"/>
                  </a:lnTo>
                  <a:lnTo>
                    <a:pt x="686" y="777"/>
                  </a:lnTo>
                  <a:lnTo>
                    <a:pt x="681" y="771"/>
                  </a:lnTo>
                  <a:lnTo>
                    <a:pt x="681" y="765"/>
                  </a:lnTo>
                  <a:lnTo>
                    <a:pt x="675" y="760"/>
                  </a:lnTo>
                  <a:lnTo>
                    <a:pt x="669" y="760"/>
                  </a:lnTo>
                  <a:lnTo>
                    <a:pt x="664" y="760"/>
                  </a:lnTo>
                  <a:lnTo>
                    <a:pt x="658" y="760"/>
                  </a:lnTo>
                  <a:lnTo>
                    <a:pt x="652" y="760"/>
                  </a:lnTo>
                  <a:lnTo>
                    <a:pt x="641" y="760"/>
                  </a:lnTo>
                  <a:lnTo>
                    <a:pt x="641" y="765"/>
                  </a:lnTo>
                  <a:lnTo>
                    <a:pt x="641" y="771"/>
                  </a:lnTo>
                  <a:lnTo>
                    <a:pt x="635" y="771"/>
                  </a:lnTo>
                  <a:lnTo>
                    <a:pt x="635" y="777"/>
                  </a:lnTo>
                  <a:lnTo>
                    <a:pt x="630" y="777"/>
                  </a:lnTo>
                  <a:lnTo>
                    <a:pt x="624" y="782"/>
                  </a:lnTo>
                  <a:lnTo>
                    <a:pt x="613" y="788"/>
                  </a:lnTo>
                  <a:lnTo>
                    <a:pt x="607" y="782"/>
                  </a:lnTo>
                  <a:lnTo>
                    <a:pt x="601" y="782"/>
                  </a:lnTo>
                  <a:lnTo>
                    <a:pt x="601" y="777"/>
                  </a:lnTo>
                  <a:lnTo>
                    <a:pt x="596" y="777"/>
                  </a:lnTo>
                  <a:lnTo>
                    <a:pt x="590" y="777"/>
                  </a:lnTo>
                  <a:lnTo>
                    <a:pt x="584" y="777"/>
                  </a:lnTo>
                  <a:lnTo>
                    <a:pt x="579" y="777"/>
                  </a:lnTo>
                  <a:lnTo>
                    <a:pt x="579" y="771"/>
                  </a:lnTo>
                  <a:lnTo>
                    <a:pt x="573" y="765"/>
                  </a:lnTo>
                  <a:lnTo>
                    <a:pt x="567" y="765"/>
                  </a:lnTo>
                  <a:lnTo>
                    <a:pt x="562" y="765"/>
                  </a:lnTo>
                  <a:lnTo>
                    <a:pt x="556" y="765"/>
                  </a:lnTo>
                  <a:lnTo>
                    <a:pt x="556" y="771"/>
                  </a:lnTo>
                  <a:lnTo>
                    <a:pt x="550" y="771"/>
                  </a:lnTo>
                  <a:lnTo>
                    <a:pt x="545" y="771"/>
                  </a:lnTo>
                  <a:lnTo>
                    <a:pt x="522" y="754"/>
                  </a:lnTo>
                  <a:lnTo>
                    <a:pt x="499" y="771"/>
                  </a:lnTo>
                  <a:lnTo>
                    <a:pt x="494" y="771"/>
                  </a:lnTo>
                  <a:lnTo>
                    <a:pt x="482" y="771"/>
                  </a:lnTo>
                  <a:lnTo>
                    <a:pt x="465" y="771"/>
                  </a:lnTo>
                  <a:close/>
                </a:path>
              </a:pathLst>
            </a:custGeom>
            <a:solidFill>
              <a:srgbClr val="006600"/>
            </a:solidFill>
            <a:ln w="25400">
              <a:solidFill>
                <a:schemeClr val="bg1">
                  <a:lumMod val="65000"/>
                </a:schemeClr>
              </a:solidFill>
              <a:round/>
              <a:headEnd/>
              <a:tailEnd/>
            </a:ln>
          </p:spPr>
          <p:txBody>
            <a:bodyPr lIns="93296" tIns="46648" rIns="93296" bIns="46648"/>
            <a:lstStyle/>
            <a:p>
              <a:pPr>
                <a:defRPr/>
              </a:pPr>
              <a:endParaRPr lang="en-US" sz="1000" kern="0">
                <a:solidFill>
                  <a:prstClr val="black">
                    <a:lumMod val="65000"/>
                    <a:lumOff val="35000"/>
                  </a:prstClr>
                </a:solidFill>
              </a:endParaRPr>
            </a:p>
          </p:txBody>
        </p:sp>
        <p:sp>
          <p:nvSpPr>
            <p:cNvPr id="80" name="Rectangle 41"/>
            <p:cNvSpPr>
              <a:spLocks noChangeArrowheads="1"/>
            </p:cNvSpPr>
            <p:nvPr>
              <p:custDataLst>
                <p:tags r:id="rId46"/>
              </p:custDataLst>
            </p:nvPr>
          </p:nvSpPr>
          <p:spPr bwMode="gray">
            <a:xfrm>
              <a:off x="2578368" y="2277056"/>
              <a:ext cx="380554" cy="149726"/>
            </a:xfrm>
            <a:prstGeom prst="rect">
              <a:avLst/>
            </a:prstGeom>
            <a:solidFill>
              <a:schemeClr val="bg1">
                <a:lumMod val="95000"/>
              </a:schemeClr>
            </a:solidFill>
            <a:ln w="25400">
              <a:noFill/>
              <a:miter lim="800000"/>
              <a:headEnd/>
              <a:tailEnd/>
            </a:ln>
          </p:spPr>
          <p:txBody>
            <a:bodyPr wrap="none" lIns="0" tIns="0" rIns="0" bIns="0">
              <a:spAutoFit/>
            </a:bodyPr>
            <a:lstStyle/>
            <a:p>
              <a:pPr>
                <a:defRPr/>
              </a:pPr>
              <a:r>
                <a:rPr lang="en-US" sz="1000" kern="0" dirty="0">
                  <a:solidFill>
                    <a:prstClr val="black">
                      <a:lumMod val="65000"/>
                      <a:lumOff val="35000"/>
                    </a:prstClr>
                  </a:solidFill>
                </a:rPr>
                <a:t>Kaduna</a:t>
              </a:r>
            </a:p>
          </p:txBody>
        </p:sp>
      </p:grpSp>
      <p:sp>
        <p:nvSpPr>
          <p:cNvPr id="81" name="Oval 80"/>
          <p:cNvSpPr/>
          <p:nvPr/>
        </p:nvSpPr>
        <p:spPr>
          <a:xfrm>
            <a:off x="392726" y="1919334"/>
            <a:ext cx="1393403" cy="1478013"/>
          </a:xfrm>
          <a:prstGeom prst="ellipse">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b="1" dirty="0"/>
              <a:t>Paddy Rice</a:t>
            </a:r>
          </a:p>
        </p:txBody>
      </p:sp>
      <p:sp>
        <p:nvSpPr>
          <p:cNvPr id="82" name="Oval 81"/>
          <p:cNvSpPr/>
          <p:nvPr/>
        </p:nvSpPr>
        <p:spPr>
          <a:xfrm>
            <a:off x="1993325" y="2255176"/>
            <a:ext cx="1494805" cy="1517539"/>
          </a:xfrm>
          <a:prstGeom prst="ellipse">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b="1" dirty="0"/>
              <a:t>Maize</a:t>
            </a:r>
            <a:r>
              <a:rPr lang="en-US" dirty="0"/>
              <a:t>, </a:t>
            </a:r>
            <a:r>
              <a:rPr lang="en-US" sz="1600" dirty="0"/>
              <a:t>Ginger</a:t>
            </a:r>
          </a:p>
        </p:txBody>
      </p:sp>
      <p:sp>
        <p:nvSpPr>
          <p:cNvPr id="83" name="Oval 82"/>
          <p:cNvSpPr/>
          <p:nvPr/>
        </p:nvSpPr>
        <p:spPr>
          <a:xfrm>
            <a:off x="3654039" y="3155909"/>
            <a:ext cx="1393403" cy="1478013"/>
          </a:xfrm>
          <a:prstGeom prst="ellipse">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400" dirty="0"/>
              <a:t>Maize, Paddy Rice, Soybean</a:t>
            </a:r>
          </a:p>
        </p:txBody>
      </p:sp>
      <p:sp>
        <p:nvSpPr>
          <p:cNvPr id="84" name="Oval 83"/>
          <p:cNvSpPr/>
          <p:nvPr/>
        </p:nvSpPr>
        <p:spPr>
          <a:xfrm>
            <a:off x="2451831" y="4116738"/>
            <a:ext cx="1418556" cy="1331384"/>
          </a:xfrm>
          <a:prstGeom prst="ellipse">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400" b="1" dirty="0"/>
              <a:t>Soybean</a:t>
            </a:r>
          </a:p>
        </p:txBody>
      </p:sp>
      <p:cxnSp>
        <p:nvCxnSpPr>
          <p:cNvPr id="85" name="Straight Arrow Connector 84"/>
          <p:cNvCxnSpPr/>
          <p:nvPr/>
        </p:nvCxnSpPr>
        <p:spPr>
          <a:xfrm flipV="1">
            <a:off x="2712204" y="1706518"/>
            <a:ext cx="19260" cy="54956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a:stCxn id="81" idx="0"/>
          </p:cNvCxnSpPr>
          <p:nvPr/>
        </p:nvCxnSpPr>
        <p:spPr>
          <a:xfrm flipH="1" flipV="1">
            <a:off x="1084647" y="1529660"/>
            <a:ext cx="4781" cy="3896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9" name="TextBox 88"/>
          <p:cNvSpPr txBox="1"/>
          <p:nvPr/>
        </p:nvSpPr>
        <p:spPr>
          <a:xfrm>
            <a:off x="2657497" y="1069491"/>
            <a:ext cx="1664048" cy="646331"/>
          </a:xfrm>
          <a:prstGeom prst="rect">
            <a:avLst/>
          </a:prstGeom>
        </p:spPr>
        <p:style>
          <a:lnRef idx="3">
            <a:schemeClr val="lt1"/>
          </a:lnRef>
          <a:fillRef idx="1">
            <a:schemeClr val="accent6"/>
          </a:fillRef>
          <a:effectRef idx="1">
            <a:schemeClr val="accent6"/>
          </a:effectRef>
          <a:fontRef idx="minor">
            <a:schemeClr val="lt1"/>
          </a:fontRef>
        </p:style>
        <p:txBody>
          <a:bodyPr wrap="square" rtlCol="0">
            <a:spAutoFit/>
          </a:bodyPr>
          <a:lstStyle/>
          <a:p>
            <a:r>
              <a:rPr lang="en-US" dirty="0"/>
              <a:t>M: 30,000MT</a:t>
            </a:r>
          </a:p>
          <a:p>
            <a:r>
              <a:rPr lang="en-US" dirty="0" smtClean="0"/>
              <a:t>G:4,000Mt</a:t>
            </a:r>
            <a:endParaRPr lang="en-US" dirty="0"/>
          </a:p>
        </p:txBody>
      </p:sp>
      <p:sp>
        <p:nvSpPr>
          <p:cNvPr id="90" name="TextBox 89"/>
          <p:cNvSpPr txBox="1"/>
          <p:nvPr/>
        </p:nvSpPr>
        <p:spPr>
          <a:xfrm>
            <a:off x="892638" y="1165394"/>
            <a:ext cx="1600551" cy="369332"/>
          </a:xfrm>
          <a:prstGeom prst="rect">
            <a:avLst/>
          </a:prstGeom>
        </p:spPr>
        <p:style>
          <a:lnRef idx="3">
            <a:schemeClr val="lt1"/>
          </a:lnRef>
          <a:fillRef idx="1">
            <a:schemeClr val="accent6"/>
          </a:fillRef>
          <a:effectRef idx="1">
            <a:schemeClr val="accent6"/>
          </a:effectRef>
          <a:fontRef idx="minor">
            <a:schemeClr val="lt1"/>
          </a:fontRef>
        </p:style>
        <p:txBody>
          <a:bodyPr wrap="square" rtlCol="0">
            <a:spAutoFit/>
          </a:bodyPr>
          <a:lstStyle/>
          <a:p>
            <a:r>
              <a:rPr lang="en-US" dirty="0"/>
              <a:t>PR: 15,000MT</a:t>
            </a:r>
          </a:p>
        </p:txBody>
      </p:sp>
      <p:sp>
        <p:nvSpPr>
          <p:cNvPr id="91" name="TextBox 90"/>
          <p:cNvSpPr txBox="1"/>
          <p:nvPr/>
        </p:nvSpPr>
        <p:spPr>
          <a:xfrm>
            <a:off x="4783225" y="5364759"/>
            <a:ext cx="1283595" cy="923330"/>
          </a:xfrm>
          <a:prstGeom prst="rect">
            <a:avLst/>
          </a:prstGeom>
        </p:spPr>
        <p:style>
          <a:lnRef idx="3">
            <a:schemeClr val="lt1"/>
          </a:lnRef>
          <a:fillRef idx="1">
            <a:schemeClr val="accent6"/>
          </a:fillRef>
          <a:effectRef idx="1">
            <a:schemeClr val="accent6"/>
          </a:effectRef>
          <a:fontRef idx="minor">
            <a:schemeClr val="lt1"/>
          </a:fontRef>
        </p:style>
        <p:txBody>
          <a:bodyPr wrap="square" rtlCol="0">
            <a:spAutoFit/>
          </a:bodyPr>
          <a:lstStyle/>
          <a:p>
            <a:r>
              <a:rPr lang="en-US" dirty="0"/>
              <a:t>M: 15,000</a:t>
            </a:r>
          </a:p>
          <a:p>
            <a:r>
              <a:rPr lang="en-US" dirty="0"/>
              <a:t>PR:5,000</a:t>
            </a:r>
          </a:p>
          <a:p>
            <a:r>
              <a:rPr lang="en-US" dirty="0"/>
              <a:t>SB:5,000</a:t>
            </a:r>
          </a:p>
        </p:txBody>
      </p:sp>
      <p:sp>
        <p:nvSpPr>
          <p:cNvPr id="92" name="TextBox 91"/>
          <p:cNvSpPr txBox="1"/>
          <p:nvPr/>
        </p:nvSpPr>
        <p:spPr>
          <a:xfrm>
            <a:off x="3413919" y="5913073"/>
            <a:ext cx="1231271" cy="369332"/>
          </a:xfrm>
          <a:prstGeom prst="rect">
            <a:avLst/>
          </a:prstGeom>
        </p:spPr>
        <p:style>
          <a:lnRef idx="3">
            <a:schemeClr val="lt1"/>
          </a:lnRef>
          <a:fillRef idx="1">
            <a:schemeClr val="accent6"/>
          </a:fillRef>
          <a:effectRef idx="1">
            <a:schemeClr val="accent6"/>
          </a:effectRef>
          <a:fontRef idx="minor">
            <a:schemeClr val="lt1"/>
          </a:fontRef>
        </p:style>
        <p:txBody>
          <a:bodyPr wrap="square" rtlCol="0">
            <a:spAutoFit/>
          </a:bodyPr>
          <a:lstStyle/>
          <a:p>
            <a:r>
              <a:rPr lang="en-US" dirty="0" smtClean="0"/>
              <a:t>SB:15,000</a:t>
            </a:r>
            <a:endParaRPr lang="en-US" dirty="0"/>
          </a:p>
        </p:txBody>
      </p:sp>
      <p:sp>
        <p:nvSpPr>
          <p:cNvPr id="93" name="Title 1"/>
          <p:cNvSpPr txBox="1">
            <a:spLocks/>
          </p:cNvSpPr>
          <p:nvPr/>
        </p:nvSpPr>
        <p:spPr>
          <a:xfrm>
            <a:off x="2638873" y="261624"/>
            <a:ext cx="5757777" cy="495425"/>
          </a:xfrm>
          <a:prstGeom prst="rect">
            <a:avLst/>
          </a:prstGeom>
        </p:spPr>
        <p:txBody>
          <a:bodyPr>
            <a:normAutofit/>
          </a:bodyPr>
          <a:lstStyle>
            <a:lvl1pPr algn="ctr" defTabSz="685800" rtl="0" eaLnBrk="1" latinLnBrk="0" hangingPunct="1">
              <a:spcBef>
                <a:spcPct val="0"/>
              </a:spcBef>
              <a:buNone/>
              <a:defRPr sz="3300" kern="1200">
                <a:solidFill>
                  <a:schemeClr val="tx1"/>
                </a:solidFill>
                <a:latin typeface="Century Gothic" panose="020B0502020202020204" pitchFamily="34" charset="0"/>
                <a:ea typeface="+mj-ea"/>
                <a:cs typeface="+mj-cs"/>
              </a:defRPr>
            </a:lvl1pPr>
          </a:lstStyle>
          <a:p>
            <a:pPr algn="l"/>
            <a:r>
              <a:rPr lang="en-US" sz="2400" b="1" dirty="0">
                <a:solidFill>
                  <a:schemeClr val="bg1"/>
                </a:solidFill>
              </a:rPr>
              <a:t>Next Steps – Commodity </a:t>
            </a:r>
            <a:r>
              <a:rPr lang="en-US" sz="2400" b="1" dirty="0" smtClean="0">
                <a:solidFill>
                  <a:schemeClr val="bg1"/>
                </a:solidFill>
              </a:rPr>
              <a:t>Indices</a:t>
            </a:r>
            <a:endParaRPr lang="en-US" sz="2400" b="1" dirty="0">
              <a:solidFill>
                <a:schemeClr val="bg1"/>
              </a:solidFill>
            </a:endParaRPr>
          </a:p>
        </p:txBody>
      </p:sp>
      <p:cxnSp>
        <p:nvCxnSpPr>
          <p:cNvPr id="96" name="Straight Arrow Connector 95"/>
          <p:cNvCxnSpPr>
            <a:stCxn id="84" idx="5"/>
          </p:cNvCxnSpPr>
          <p:nvPr/>
        </p:nvCxnSpPr>
        <p:spPr>
          <a:xfrm flipH="1">
            <a:off x="3654039" y="5253145"/>
            <a:ext cx="8605" cy="67344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a:stCxn id="83" idx="5"/>
          </p:cNvCxnSpPr>
          <p:nvPr/>
        </p:nvCxnSpPr>
        <p:spPr>
          <a:xfrm>
            <a:off x="4843383" y="4417472"/>
            <a:ext cx="9259" cy="95933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9" name="TextBox 98"/>
          <p:cNvSpPr txBox="1"/>
          <p:nvPr/>
        </p:nvSpPr>
        <p:spPr>
          <a:xfrm>
            <a:off x="5966234" y="1367073"/>
            <a:ext cx="3023857" cy="5078313"/>
          </a:xfrm>
          <a:prstGeom prst="rect">
            <a:avLst/>
          </a:prstGeom>
          <a:noFill/>
        </p:spPr>
        <p:txBody>
          <a:bodyPr wrap="square" rtlCol="0">
            <a:spAutoFit/>
          </a:bodyPr>
          <a:lstStyle/>
          <a:p>
            <a:pPr marL="285750" indent="-285750" algn="just">
              <a:buFont typeface="Wingdings" panose="05000000000000000000" pitchFamily="2" charset="2"/>
              <a:buChar char="ü"/>
            </a:pPr>
            <a:r>
              <a:rPr lang="en-US" dirty="0"/>
              <a:t>T</a:t>
            </a:r>
            <a:r>
              <a:rPr lang="en-US" dirty="0" smtClean="0"/>
              <a:t>he ability to efficiently manage a minimum annual volume of 50,000Mt of maize, 20,000Mt of Paddy rice, 20,000Mt of soybean and 4,000Mt of Ginger.</a:t>
            </a:r>
          </a:p>
          <a:p>
            <a:pPr algn="just"/>
            <a:endParaRPr lang="en-US" dirty="0" smtClean="0"/>
          </a:p>
          <a:p>
            <a:pPr marL="285750" indent="-285750" algn="just">
              <a:buFont typeface="Wingdings" panose="05000000000000000000" pitchFamily="2" charset="2"/>
              <a:buChar char="ü"/>
            </a:pPr>
            <a:r>
              <a:rPr lang="en-US" dirty="0" smtClean="0"/>
              <a:t>With key consultants we have begun development of the first </a:t>
            </a:r>
            <a:r>
              <a:rPr lang="en-US" b="1" dirty="0" smtClean="0"/>
              <a:t>Maize index </a:t>
            </a:r>
            <a:r>
              <a:rPr lang="en-US" dirty="0" smtClean="0"/>
              <a:t>due for launch by 4th </a:t>
            </a:r>
            <a:r>
              <a:rPr lang="en-US" dirty="0" err="1" smtClean="0"/>
              <a:t>Qtr</a:t>
            </a:r>
            <a:r>
              <a:rPr lang="en-US" dirty="0" smtClean="0"/>
              <a:t> 2017</a:t>
            </a:r>
            <a:r>
              <a:rPr lang="en-US" b="1" dirty="0" smtClean="0"/>
              <a:t>. </a:t>
            </a:r>
            <a:r>
              <a:rPr lang="en-US" dirty="0" smtClean="0"/>
              <a:t>Indices for Soybean and paddy to be deployed from 2</a:t>
            </a:r>
            <a:r>
              <a:rPr lang="en-US" baseline="30000" dirty="0" smtClean="0"/>
              <a:t>nd</a:t>
            </a:r>
            <a:r>
              <a:rPr lang="en-US" dirty="0" smtClean="0"/>
              <a:t> Qtr. 2018.</a:t>
            </a:r>
            <a:endParaRPr lang="en-US" b="1" dirty="0"/>
          </a:p>
        </p:txBody>
      </p:sp>
    </p:spTree>
    <p:extLst>
      <p:ext uri="{BB962C8B-B14F-4D97-AF65-F5344CB8AC3E}">
        <p14:creationId xmlns:p14="http://schemas.microsoft.com/office/powerpoint/2010/main" xmlns="" val="395040174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8DE9EFF3-1512-4B0B-A303-06EB8BB7A730}" type="slidenum">
              <a:rPr lang="en-GB" smtClean="0">
                <a:solidFill>
                  <a:prstClr val="black">
                    <a:tint val="75000"/>
                  </a:prstClr>
                </a:solidFill>
              </a:rPr>
              <a:pPr/>
              <a:t>7</a:t>
            </a:fld>
            <a:endParaRPr lang="en-GB" dirty="0">
              <a:solidFill>
                <a:prstClr val="black">
                  <a:tint val="75000"/>
                </a:prstClr>
              </a:solidFill>
            </a:endParaRPr>
          </a:p>
        </p:txBody>
      </p:sp>
      <p:pic>
        <p:nvPicPr>
          <p:cNvPr id="3" name="Picture 2"/>
          <p:cNvPicPr>
            <a:picLocks noChangeAspect="1"/>
          </p:cNvPicPr>
          <p:nvPr/>
        </p:nvPicPr>
        <p:blipFill>
          <a:blip r:embed="rId2"/>
          <a:stretch>
            <a:fillRect/>
          </a:stretch>
        </p:blipFill>
        <p:spPr>
          <a:xfrm>
            <a:off x="6289648" y="4205768"/>
            <a:ext cx="2602425" cy="1805636"/>
          </a:xfrm>
          <a:prstGeom prst="rect">
            <a:avLst/>
          </a:prstGeom>
        </p:spPr>
      </p:pic>
      <p:pic>
        <p:nvPicPr>
          <p:cNvPr id="4" name="Picture 3"/>
          <p:cNvPicPr>
            <a:picLocks noChangeAspect="1"/>
          </p:cNvPicPr>
          <p:nvPr/>
        </p:nvPicPr>
        <p:blipFill rotWithShape="1">
          <a:blip r:embed="rId3"/>
          <a:srcRect b="40339"/>
          <a:stretch/>
        </p:blipFill>
        <p:spPr>
          <a:xfrm>
            <a:off x="279889" y="1103433"/>
            <a:ext cx="3724041" cy="1023843"/>
          </a:xfrm>
          <a:prstGeom prst="rect">
            <a:avLst/>
          </a:prstGeom>
        </p:spPr>
      </p:pic>
      <p:pic>
        <p:nvPicPr>
          <p:cNvPr id="5" name="Picture 4"/>
          <p:cNvPicPr>
            <a:picLocks noChangeAspect="1"/>
          </p:cNvPicPr>
          <p:nvPr/>
        </p:nvPicPr>
        <p:blipFill rotWithShape="1">
          <a:blip r:embed="rId4"/>
          <a:srcRect b="72744"/>
          <a:stretch/>
        </p:blipFill>
        <p:spPr>
          <a:xfrm>
            <a:off x="4251569" y="1084103"/>
            <a:ext cx="4995067" cy="808445"/>
          </a:xfrm>
          <a:prstGeom prst="rect">
            <a:avLst/>
          </a:prstGeom>
        </p:spPr>
      </p:pic>
      <p:pic>
        <p:nvPicPr>
          <p:cNvPr id="7" name="Picture 6"/>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3864076" y="4293247"/>
            <a:ext cx="2542915" cy="1929072"/>
          </a:xfrm>
          <a:prstGeom prst="rect">
            <a:avLst/>
          </a:prstGeom>
        </p:spPr>
      </p:pic>
      <p:pic>
        <p:nvPicPr>
          <p:cNvPr id="8" name="Picture 7"/>
          <p:cNvPicPr>
            <a:picLocks noChangeAspect="1"/>
          </p:cNvPicPr>
          <p:nvPr/>
        </p:nvPicPr>
        <p:blipFill>
          <a:blip r:embed="rId6" cstate="print">
            <a:extLst>
              <a:ext uri="{28A0092B-C50C-407E-A947-70E740481C1C}">
                <a14:useLocalDpi xmlns:a14="http://schemas.microsoft.com/office/drawing/2010/main" xmlns="" val="0"/>
              </a:ext>
            </a:extLst>
          </a:blip>
          <a:stretch>
            <a:fillRect/>
          </a:stretch>
        </p:blipFill>
        <p:spPr>
          <a:xfrm>
            <a:off x="339357" y="2216661"/>
            <a:ext cx="3436741" cy="2253308"/>
          </a:xfrm>
          <a:prstGeom prst="rect">
            <a:avLst/>
          </a:prstGeom>
        </p:spPr>
      </p:pic>
      <p:sp>
        <p:nvSpPr>
          <p:cNvPr id="9" name="TextBox 8"/>
          <p:cNvSpPr txBox="1"/>
          <p:nvPr/>
        </p:nvSpPr>
        <p:spPr>
          <a:xfrm>
            <a:off x="2873838" y="265637"/>
            <a:ext cx="6036906" cy="369332"/>
          </a:xfrm>
          <a:prstGeom prst="rect">
            <a:avLst/>
          </a:prstGeom>
          <a:noFill/>
        </p:spPr>
        <p:txBody>
          <a:bodyPr wrap="square" rtlCol="0">
            <a:spAutoFit/>
          </a:bodyPr>
          <a:lstStyle/>
          <a:p>
            <a:r>
              <a:rPr lang="en-US" b="1" dirty="0" smtClean="0">
                <a:solidFill>
                  <a:schemeClr val="bg1"/>
                </a:solidFill>
              </a:rPr>
              <a:t>Threat to the Structured Commodities Sector </a:t>
            </a:r>
            <a:endParaRPr lang="en-US" b="1" dirty="0">
              <a:solidFill>
                <a:schemeClr val="bg1"/>
              </a:solidFill>
            </a:endParaRPr>
          </a:p>
        </p:txBody>
      </p:sp>
      <p:pic>
        <p:nvPicPr>
          <p:cNvPr id="11" name="Picture 10"/>
          <p:cNvPicPr>
            <a:picLocks noChangeAspect="1"/>
          </p:cNvPicPr>
          <p:nvPr/>
        </p:nvPicPr>
        <p:blipFill>
          <a:blip r:embed="rId7"/>
          <a:stretch>
            <a:fillRect/>
          </a:stretch>
        </p:blipFill>
        <p:spPr>
          <a:xfrm>
            <a:off x="146792" y="4705773"/>
            <a:ext cx="3629307" cy="1305631"/>
          </a:xfrm>
          <a:prstGeom prst="rect">
            <a:avLst/>
          </a:prstGeom>
        </p:spPr>
      </p:pic>
      <p:pic>
        <p:nvPicPr>
          <p:cNvPr id="14" name="Picture 13"/>
          <p:cNvPicPr>
            <a:picLocks noChangeAspect="1"/>
          </p:cNvPicPr>
          <p:nvPr/>
        </p:nvPicPr>
        <p:blipFill>
          <a:blip r:embed="rId8"/>
          <a:stretch>
            <a:fillRect/>
          </a:stretch>
        </p:blipFill>
        <p:spPr>
          <a:xfrm>
            <a:off x="4161453" y="1951632"/>
            <a:ext cx="4618877" cy="2091500"/>
          </a:xfrm>
          <a:prstGeom prst="rect">
            <a:avLst/>
          </a:prstGeom>
        </p:spPr>
      </p:pic>
    </p:spTree>
    <p:extLst>
      <p:ext uri="{BB962C8B-B14F-4D97-AF65-F5344CB8AC3E}">
        <p14:creationId xmlns:p14="http://schemas.microsoft.com/office/powerpoint/2010/main" xmlns="" val="30679883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p:cNvPicPr>
            <a:picLocks noGrp="1" noChangeAspect="1"/>
          </p:cNvPicPr>
          <p:nvPr>
            <p:ph type="pic" sz="quarter" idx="13"/>
          </p:nvPr>
        </p:nvPicPr>
        <p:blipFill>
          <a:blip r:embed="rId2" cstate="print">
            <a:extLst>
              <a:ext uri="{28A0092B-C50C-407E-A947-70E740481C1C}">
                <a14:useLocalDpi xmlns:a14="http://schemas.microsoft.com/office/drawing/2010/main" xmlns="" val="0"/>
              </a:ext>
            </a:extLst>
          </a:blip>
          <a:srcRect l="20000" r="20000"/>
          <a:stretch>
            <a:fillRect/>
          </a:stretch>
        </p:blipFill>
        <p:spPr/>
      </p:pic>
      <p:sp>
        <p:nvSpPr>
          <p:cNvPr id="6" name="TextBox 5"/>
          <p:cNvSpPr txBox="1"/>
          <p:nvPr/>
        </p:nvSpPr>
        <p:spPr>
          <a:xfrm>
            <a:off x="6354198" y="5860830"/>
            <a:ext cx="1647516" cy="323165"/>
          </a:xfrm>
          <a:prstGeom prst="rect">
            <a:avLst/>
          </a:prstGeom>
          <a:noFill/>
        </p:spPr>
        <p:txBody>
          <a:bodyPr wrap="square" rtlCol="0">
            <a:spAutoFit/>
          </a:bodyPr>
          <a:lstStyle/>
          <a:p>
            <a:r>
              <a:rPr lang="en-US" sz="750" dirty="0">
                <a:solidFill>
                  <a:prstClr val="black"/>
                </a:solidFill>
              </a:rPr>
              <a:t>Smallholder post harvest operations, </a:t>
            </a:r>
            <a:r>
              <a:rPr lang="en-US" sz="750" dirty="0" err="1">
                <a:solidFill>
                  <a:prstClr val="black"/>
                </a:solidFill>
              </a:rPr>
              <a:t>Saoba</a:t>
            </a:r>
            <a:r>
              <a:rPr lang="en-US" sz="750" dirty="0">
                <a:solidFill>
                  <a:prstClr val="black"/>
                </a:solidFill>
              </a:rPr>
              <a:t>, Kaduna</a:t>
            </a:r>
          </a:p>
        </p:txBody>
      </p:sp>
      <p:sp>
        <p:nvSpPr>
          <p:cNvPr id="2" name="TextBox 1"/>
          <p:cNvSpPr txBox="1"/>
          <p:nvPr/>
        </p:nvSpPr>
        <p:spPr>
          <a:xfrm>
            <a:off x="509155" y="2795154"/>
            <a:ext cx="2722932" cy="726643"/>
          </a:xfrm>
          <a:prstGeom prst="rect">
            <a:avLst/>
          </a:prstGeom>
          <a:noFill/>
        </p:spPr>
        <p:txBody>
          <a:bodyPr wrap="square" rtlCol="0">
            <a:spAutoFit/>
          </a:bodyPr>
          <a:lstStyle/>
          <a:p>
            <a:r>
              <a:rPr lang="en-US" sz="4000" dirty="0"/>
              <a:t>Thank You</a:t>
            </a:r>
          </a:p>
        </p:txBody>
      </p:sp>
    </p:spTree>
    <p:extLst>
      <p:ext uri="{BB962C8B-B14F-4D97-AF65-F5344CB8AC3E}">
        <p14:creationId xmlns:p14="http://schemas.microsoft.com/office/powerpoint/2010/main" xmlns="" val="4788003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OTLMARKERSHAPE" val="OTL"/>
</p:tagLst>
</file>

<file path=ppt/tags/tag10.xml><?xml version="1.0" encoding="utf-8"?>
<p:tagLst xmlns:a="http://schemas.openxmlformats.org/drawingml/2006/main" xmlns:r="http://schemas.openxmlformats.org/officeDocument/2006/relationships" xmlns:p="http://schemas.openxmlformats.org/presentationml/2006/main">
  <p:tag name="OTLMARKERSHAPE" val="OTL"/>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Wt45F0KOtUKO1zsxDTFUh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mdhBF1Sjf0ysRHo8GZuzb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3KL8VtLu5UyHhDiOxuKUB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4A.gwxjOFUGZH5tvuDC2v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yTQKeDgnDE.eJ6A16Qmr2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cT4Drc_vN0mU.A3InKvTs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yo013jydXkK3aPN140Rdl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kV2c6HdjzUeGtI4UuWurk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xNNBDsGJvkuYBzLNsZrC_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ttLV_LBLsU2AEvbxyuHGig"/>
</p:tagLst>
</file>

<file path=ppt/tags/tag11.xml><?xml version="1.0" encoding="utf-8"?>
<p:tagLst xmlns:a="http://schemas.openxmlformats.org/drawingml/2006/main" xmlns:r="http://schemas.openxmlformats.org/officeDocument/2006/relationships" xmlns:p="http://schemas.openxmlformats.org/presentationml/2006/main">
  <p:tag name="OTLMARKERSHAPE" val="OTL"/>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oYQzarj_bUaHvlPJ_LtrW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Q5_MGXa2BEa7.tY4Fier1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khktgFor8kO_Aw77Prfsr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xNNBDsGJvkuYBzLNsZrC_A"/>
</p:tagLst>
</file>

<file path=ppt/tags/tag12.xml><?xml version="1.0" encoding="utf-8"?>
<p:tagLst xmlns:a="http://schemas.openxmlformats.org/drawingml/2006/main" xmlns:r="http://schemas.openxmlformats.org/officeDocument/2006/relationships" xmlns:p="http://schemas.openxmlformats.org/presentationml/2006/main">
  <p:tag name="OTLMARKERSHAPE" val="OTL"/>
</p:tagLst>
</file>

<file path=ppt/tags/tag13.xml><?xml version="1.0" encoding="utf-8"?>
<p:tagLst xmlns:a="http://schemas.openxmlformats.org/drawingml/2006/main" xmlns:r="http://schemas.openxmlformats.org/officeDocument/2006/relationships" xmlns:p="http://schemas.openxmlformats.org/presentationml/2006/main">
  <p:tag name="OTLMARKERSHAPE" val="OTL"/>
</p:tagLst>
</file>

<file path=ppt/tags/tag14.xml><?xml version="1.0" encoding="utf-8"?>
<p:tagLst xmlns:a="http://schemas.openxmlformats.org/drawingml/2006/main" xmlns:r="http://schemas.openxmlformats.org/officeDocument/2006/relationships" xmlns:p="http://schemas.openxmlformats.org/presentationml/2006/main">
  <p:tag name="OTLMARKERSHAPE" val="OTL"/>
</p:tagLst>
</file>

<file path=ppt/tags/tag15.xml><?xml version="1.0" encoding="utf-8"?>
<p:tagLst xmlns:a="http://schemas.openxmlformats.org/drawingml/2006/main" xmlns:r="http://schemas.openxmlformats.org/officeDocument/2006/relationships" xmlns:p="http://schemas.openxmlformats.org/presentationml/2006/main">
  <p:tag name="OTLMARKERSHAPE" val="OTL"/>
</p:tagLst>
</file>

<file path=ppt/tags/tag16.xml><?xml version="1.0" encoding="utf-8"?>
<p:tagLst xmlns:a="http://schemas.openxmlformats.org/drawingml/2006/main" xmlns:r="http://schemas.openxmlformats.org/officeDocument/2006/relationships" xmlns:p="http://schemas.openxmlformats.org/presentationml/2006/main">
  <p:tag name="OTLMARKERSHAPE" val="OTL"/>
</p:tagLst>
</file>

<file path=ppt/tags/tag17.xml><?xml version="1.0" encoding="utf-8"?>
<p:tagLst xmlns:a="http://schemas.openxmlformats.org/drawingml/2006/main" xmlns:r="http://schemas.openxmlformats.org/officeDocument/2006/relationships" xmlns:p="http://schemas.openxmlformats.org/presentationml/2006/main">
  <p:tag name="OTLMARKERSHAPE" val="OTL"/>
</p:tagLst>
</file>

<file path=ppt/tags/tag18.xml><?xml version="1.0" encoding="utf-8"?>
<p:tagLst xmlns:a="http://schemas.openxmlformats.org/drawingml/2006/main" xmlns:r="http://schemas.openxmlformats.org/officeDocument/2006/relationships" xmlns:p="http://schemas.openxmlformats.org/presentationml/2006/main">
  <p:tag name="OTLMARKERSHAPE" val="OTL"/>
</p:tagLst>
</file>

<file path=ppt/tags/tag19.xml><?xml version="1.0" encoding="utf-8"?>
<p:tagLst xmlns:a="http://schemas.openxmlformats.org/drawingml/2006/main" xmlns:r="http://schemas.openxmlformats.org/officeDocument/2006/relationships" xmlns:p="http://schemas.openxmlformats.org/presentationml/2006/main">
  <p:tag name="OTLMARKERSHAPE" val="OTL"/>
</p:tagLst>
</file>

<file path=ppt/tags/tag2.xml><?xml version="1.0" encoding="utf-8"?>
<p:tagLst xmlns:a="http://schemas.openxmlformats.org/drawingml/2006/main" xmlns:r="http://schemas.openxmlformats.org/officeDocument/2006/relationships" xmlns:p="http://schemas.openxmlformats.org/presentationml/2006/main">
  <p:tag name="OTLMARKERSHAPE" val="OTL"/>
</p:tagLst>
</file>

<file path=ppt/tags/tag20.xml><?xml version="1.0" encoding="utf-8"?>
<p:tagLst xmlns:a="http://schemas.openxmlformats.org/drawingml/2006/main" xmlns:r="http://schemas.openxmlformats.org/officeDocument/2006/relationships" xmlns:p="http://schemas.openxmlformats.org/presentationml/2006/main">
  <p:tag name="OTLMARKERSHAPE" val="OTL"/>
</p:tagLst>
</file>

<file path=ppt/tags/tag21.xml><?xml version="1.0" encoding="utf-8"?>
<p:tagLst xmlns:a="http://schemas.openxmlformats.org/drawingml/2006/main" xmlns:r="http://schemas.openxmlformats.org/officeDocument/2006/relationships" xmlns:p="http://schemas.openxmlformats.org/presentationml/2006/main">
  <p:tag name="OTLMARKERSHAPE" val="OTL"/>
</p:tagLst>
</file>

<file path=ppt/tags/tag22.xml><?xml version="1.0" encoding="utf-8"?>
<p:tagLst xmlns:a="http://schemas.openxmlformats.org/drawingml/2006/main" xmlns:r="http://schemas.openxmlformats.org/officeDocument/2006/relationships" xmlns:p="http://schemas.openxmlformats.org/presentationml/2006/main">
  <p:tag name="OTLMARKERSHAPE" val="OTL"/>
</p:tagLst>
</file>

<file path=ppt/tags/tag23.xml><?xml version="1.0" encoding="utf-8"?>
<p:tagLst xmlns:a="http://schemas.openxmlformats.org/drawingml/2006/main" xmlns:r="http://schemas.openxmlformats.org/officeDocument/2006/relationships" xmlns:p="http://schemas.openxmlformats.org/presentationml/2006/main">
  <p:tag name="OTLMARKERSHAPE" val="OTL"/>
</p:tagLst>
</file>

<file path=ppt/tags/tag24.xml><?xml version="1.0" encoding="utf-8"?>
<p:tagLst xmlns:a="http://schemas.openxmlformats.org/drawingml/2006/main" xmlns:r="http://schemas.openxmlformats.org/officeDocument/2006/relationships" xmlns:p="http://schemas.openxmlformats.org/presentationml/2006/main">
  <p:tag name="OTLMARKERSHAPE" val="OTL"/>
</p:tagLst>
</file>

<file path=ppt/tags/tag25.xml><?xml version="1.0" encoding="utf-8"?>
<p:tagLst xmlns:a="http://schemas.openxmlformats.org/drawingml/2006/main" xmlns:r="http://schemas.openxmlformats.org/officeDocument/2006/relationships" xmlns:p="http://schemas.openxmlformats.org/presentationml/2006/main">
  <p:tag name="OTLMARKERSHAPE" val="OTL"/>
</p:tagLst>
</file>

<file path=ppt/tags/tag26.xml><?xml version="1.0" encoding="utf-8"?>
<p:tagLst xmlns:a="http://schemas.openxmlformats.org/drawingml/2006/main" xmlns:r="http://schemas.openxmlformats.org/officeDocument/2006/relationships" xmlns:p="http://schemas.openxmlformats.org/presentationml/2006/main">
  <p:tag name="OTLMARKERSHAPE" val="OTL"/>
</p:tagLst>
</file>

<file path=ppt/tags/tag27.xml><?xml version="1.0" encoding="utf-8"?>
<p:tagLst xmlns:a="http://schemas.openxmlformats.org/drawingml/2006/main" xmlns:r="http://schemas.openxmlformats.org/officeDocument/2006/relationships" xmlns:p="http://schemas.openxmlformats.org/presentationml/2006/main">
  <p:tag name="OTLMARKERSHAPE" val="OTL"/>
</p:tagLst>
</file>

<file path=ppt/tags/tag28.xml><?xml version="1.0" encoding="utf-8"?>
<p:tagLst xmlns:a="http://schemas.openxmlformats.org/drawingml/2006/main" xmlns:r="http://schemas.openxmlformats.org/officeDocument/2006/relationships" xmlns:p="http://schemas.openxmlformats.org/presentationml/2006/main">
  <p:tag name="OTLMARKERSHAPE" val="OTL"/>
</p:tagLst>
</file>

<file path=ppt/tags/tag29.xml><?xml version="1.0" encoding="utf-8"?>
<p:tagLst xmlns:a="http://schemas.openxmlformats.org/drawingml/2006/main" xmlns:r="http://schemas.openxmlformats.org/officeDocument/2006/relationships" xmlns:p="http://schemas.openxmlformats.org/presentationml/2006/main">
  <p:tag name="OTLMARKERSHAPE" val="OTL"/>
</p:tagLst>
</file>

<file path=ppt/tags/tag3.xml><?xml version="1.0" encoding="utf-8"?>
<p:tagLst xmlns:a="http://schemas.openxmlformats.org/drawingml/2006/main" xmlns:r="http://schemas.openxmlformats.org/officeDocument/2006/relationships" xmlns:p="http://schemas.openxmlformats.org/presentationml/2006/main">
  <p:tag name="OTLMARKERSHAPE" val="OTL"/>
</p:tagLst>
</file>

<file path=ppt/tags/tag30.xml><?xml version="1.0" encoding="utf-8"?>
<p:tagLst xmlns:a="http://schemas.openxmlformats.org/drawingml/2006/main" xmlns:r="http://schemas.openxmlformats.org/officeDocument/2006/relationships" xmlns:p="http://schemas.openxmlformats.org/presentationml/2006/main">
  <p:tag name="OTLMARKERSHAPE" val="OTL"/>
</p:tagLst>
</file>

<file path=ppt/tags/tag31.xml><?xml version="1.0" encoding="utf-8"?>
<p:tagLst xmlns:a="http://schemas.openxmlformats.org/drawingml/2006/main" xmlns:r="http://schemas.openxmlformats.org/officeDocument/2006/relationships" xmlns:p="http://schemas.openxmlformats.org/presentationml/2006/main">
  <p:tag name="OTLMARKERSHAPE" val="OTL"/>
</p:tagLst>
</file>

<file path=ppt/tags/tag32.xml><?xml version="1.0" encoding="utf-8"?>
<p:tagLst xmlns:a="http://schemas.openxmlformats.org/drawingml/2006/main" xmlns:r="http://schemas.openxmlformats.org/officeDocument/2006/relationships" xmlns:p="http://schemas.openxmlformats.org/presentationml/2006/main">
  <p:tag name="OTLMARKERSHAPE" val="OTL"/>
</p:tagLst>
</file>

<file path=ppt/tags/tag33.xml><?xml version="1.0" encoding="utf-8"?>
<p:tagLst xmlns:a="http://schemas.openxmlformats.org/drawingml/2006/main" xmlns:r="http://schemas.openxmlformats.org/officeDocument/2006/relationships" xmlns:p="http://schemas.openxmlformats.org/presentationml/2006/main">
  <p:tag name="OTLMARKERSHAPE" val="OTL"/>
</p:tagLst>
</file>

<file path=ppt/tags/tag34.xml><?xml version="1.0" encoding="utf-8"?>
<p:tagLst xmlns:a="http://schemas.openxmlformats.org/drawingml/2006/main" xmlns:r="http://schemas.openxmlformats.org/officeDocument/2006/relationships" xmlns:p="http://schemas.openxmlformats.org/presentationml/2006/main">
  <p:tag name="OTLMARKERSHAPE" val="OTL"/>
</p:tagLst>
</file>

<file path=ppt/tags/tag35.xml><?xml version="1.0" encoding="utf-8"?>
<p:tagLst xmlns:a="http://schemas.openxmlformats.org/drawingml/2006/main" xmlns:r="http://schemas.openxmlformats.org/officeDocument/2006/relationships" xmlns:p="http://schemas.openxmlformats.org/presentationml/2006/main">
  <p:tag name="OTLMARKERSHAPE" val="OTL"/>
</p:tagLst>
</file>

<file path=ppt/tags/tag36.xml><?xml version="1.0" encoding="utf-8"?>
<p:tagLst xmlns:a="http://schemas.openxmlformats.org/drawingml/2006/main" xmlns:r="http://schemas.openxmlformats.org/officeDocument/2006/relationships" xmlns:p="http://schemas.openxmlformats.org/presentationml/2006/main">
  <p:tag name="OTLMARKERSHAPE" val="OTL"/>
</p:tagLst>
</file>

<file path=ppt/tags/tag37.xml><?xml version="1.0" encoding="utf-8"?>
<p:tagLst xmlns:a="http://schemas.openxmlformats.org/drawingml/2006/main" xmlns:r="http://schemas.openxmlformats.org/officeDocument/2006/relationships" xmlns:p="http://schemas.openxmlformats.org/presentationml/2006/main">
  <p:tag name="OTLMARKERSHAPE" val="OTL"/>
</p:tagLst>
</file>

<file path=ppt/tags/tag38.xml><?xml version="1.0" encoding="utf-8"?>
<p:tagLst xmlns:a="http://schemas.openxmlformats.org/drawingml/2006/main" xmlns:r="http://schemas.openxmlformats.org/officeDocument/2006/relationships" xmlns:p="http://schemas.openxmlformats.org/presentationml/2006/main">
  <p:tag name="OTLMARKERSHAPE" val="OTL"/>
</p:tagLst>
</file>

<file path=ppt/tags/tag39.xml><?xml version="1.0" encoding="utf-8"?>
<p:tagLst xmlns:a="http://schemas.openxmlformats.org/drawingml/2006/main" xmlns:r="http://schemas.openxmlformats.org/officeDocument/2006/relationships" xmlns:p="http://schemas.openxmlformats.org/presentationml/2006/main">
  <p:tag name="OTLMARKERSHAPE" val="OTL"/>
</p:tagLst>
</file>

<file path=ppt/tags/tag4.xml><?xml version="1.0" encoding="utf-8"?>
<p:tagLst xmlns:a="http://schemas.openxmlformats.org/drawingml/2006/main" xmlns:r="http://schemas.openxmlformats.org/officeDocument/2006/relationships" xmlns:p="http://schemas.openxmlformats.org/presentationml/2006/main">
  <p:tag name="OTLMARKERSHAPE" val="OTL"/>
</p:tagLst>
</file>

<file path=ppt/tags/tag40.xml><?xml version="1.0" encoding="utf-8"?>
<p:tagLst xmlns:a="http://schemas.openxmlformats.org/drawingml/2006/main" xmlns:r="http://schemas.openxmlformats.org/officeDocument/2006/relationships" xmlns:p="http://schemas.openxmlformats.org/presentationml/2006/main">
  <p:tag name="OTLMARKERSHAPE" val="OTL"/>
</p:tagLst>
</file>

<file path=ppt/tags/tag41.xml><?xml version="1.0" encoding="utf-8"?>
<p:tagLst xmlns:a="http://schemas.openxmlformats.org/drawingml/2006/main" xmlns:r="http://schemas.openxmlformats.org/officeDocument/2006/relationships" xmlns:p="http://schemas.openxmlformats.org/presentationml/2006/main">
  <p:tag name="OTLMARKERSHAPE" val="OTL"/>
</p:tagLst>
</file>

<file path=ppt/tags/tag42.xml><?xml version="1.0" encoding="utf-8"?>
<p:tagLst xmlns:a="http://schemas.openxmlformats.org/drawingml/2006/main" xmlns:r="http://schemas.openxmlformats.org/officeDocument/2006/relationships" xmlns:p="http://schemas.openxmlformats.org/presentationml/2006/main">
  <p:tag name="OTLMARKERSHAPE" val="OTL"/>
</p:tagLst>
</file>

<file path=ppt/tags/tag43.xml><?xml version="1.0" encoding="utf-8"?>
<p:tagLst xmlns:a="http://schemas.openxmlformats.org/drawingml/2006/main" xmlns:r="http://schemas.openxmlformats.org/officeDocument/2006/relationships" xmlns:p="http://schemas.openxmlformats.org/presentationml/2006/main">
  <p:tag name="OTLMARKERSHAPE" val="OTL"/>
</p:tagLst>
</file>

<file path=ppt/tags/tag44.xml><?xml version="1.0" encoding="utf-8"?>
<p:tagLst xmlns:a="http://schemas.openxmlformats.org/drawingml/2006/main" xmlns:r="http://schemas.openxmlformats.org/officeDocument/2006/relationships" xmlns:p="http://schemas.openxmlformats.org/presentationml/2006/main">
  <p:tag name="OTLMARKERSHAPE" val="OTL"/>
</p:tagLst>
</file>

<file path=ppt/tags/tag45.xml><?xml version="1.0" encoding="utf-8"?>
<p:tagLst xmlns:a="http://schemas.openxmlformats.org/drawingml/2006/main" xmlns:r="http://schemas.openxmlformats.org/officeDocument/2006/relationships" xmlns:p="http://schemas.openxmlformats.org/presentationml/2006/main">
  <p:tag name="OTLMARKERSHAPE" val="OTL"/>
</p:tagLst>
</file>

<file path=ppt/tags/tag46.xml><?xml version="1.0" encoding="utf-8"?>
<p:tagLst xmlns:a="http://schemas.openxmlformats.org/drawingml/2006/main" xmlns:r="http://schemas.openxmlformats.org/officeDocument/2006/relationships" xmlns:p="http://schemas.openxmlformats.org/presentationml/2006/main">
  <p:tag name="OTLMARKERSHAPE" val="OTL"/>
</p:tagLst>
</file>

<file path=ppt/tags/tag47.xml><?xml version="1.0" encoding="utf-8"?>
<p:tagLst xmlns:a="http://schemas.openxmlformats.org/drawingml/2006/main" xmlns:r="http://schemas.openxmlformats.org/officeDocument/2006/relationships" xmlns:p="http://schemas.openxmlformats.org/presentationml/2006/main">
  <p:tag name="OTLMARKERSHAPE" val="OTL"/>
</p:tagLst>
</file>

<file path=ppt/tags/tag48.xml><?xml version="1.0" encoding="utf-8"?>
<p:tagLst xmlns:a="http://schemas.openxmlformats.org/drawingml/2006/main" xmlns:r="http://schemas.openxmlformats.org/officeDocument/2006/relationships" xmlns:p="http://schemas.openxmlformats.org/presentationml/2006/main">
  <p:tag name="OTLMARKERSHAPE" val="OTL"/>
</p:tagLst>
</file>

<file path=ppt/tags/tag49.xml><?xml version="1.0" encoding="utf-8"?>
<p:tagLst xmlns:a="http://schemas.openxmlformats.org/drawingml/2006/main" xmlns:r="http://schemas.openxmlformats.org/officeDocument/2006/relationships" xmlns:p="http://schemas.openxmlformats.org/presentationml/2006/main">
  <p:tag name="OTLMARKERSHAPE" val="OTL"/>
</p:tagLst>
</file>

<file path=ppt/tags/tag5.xml><?xml version="1.0" encoding="utf-8"?>
<p:tagLst xmlns:a="http://schemas.openxmlformats.org/drawingml/2006/main" xmlns:r="http://schemas.openxmlformats.org/officeDocument/2006/relationships" xmlns:p="http://schemas.openxmlformats.org/presentationml/2006/main">
  <p:tag name="OTLMARKERSHAPE" val="OTL"/>
</p:tagLst>
</file>

<file path=ppt/tags/tag50.xml><?xml version="1.0" encoding="utf-8"?>
<p:tagLst xmlns:a="http://schemas.openxmlformats.org/drawingml/2006/main" xmlns:r="http://schemas.openxmlformats.org/officeDocument/2006/relationships" xmlns:p="http://schemas.openxmlformats.org/presentationml/2006/main">
  <p:tag name="OTLMARKERSHAPE" val="OTL"/>
</p:tagLst>
</file>

<file path=ppt/tags/tag51.xml><?xml version="1.0" encoding="utf-8"?>
<p:tagLst xmlns:a="http://schemas.openxmlformats.org/drawingml/2006/main" xmlns:r="http://schemas.openxmlformats.org/officeDocument/2006/relationships" xmlns:p="http://schemas.openxmlformats.org/presentationml/2006/main">
  <p:tag name="OTLMARKERSHAPE" val="OTL"/>
</p:tagLst>
</file>

<file path=ppt/tags/tag52.xml><?xml version="1.0" encoding="utf-8"?>
<p:tagLst xmlns:a="http://schemas.openxmlformats.org/drawingml/2006/main" xmlns:r="http://schemas.openxmlformats.org/officeDocument/2006/relationships" xmlns:p="http://schemas.openxmlformats.org/presentationml/2006/main">
  <p:tag name="OTLMARKERSHAPE" val="OTL"/>
</p:tagLst>
</file>

<file path=ppt/tags/tag53.xml><?xml version="1.0" encoding="utf-8"?>
<p:tagLst xmlns:a="http://schemas.openxmlformats.org/drawingml/2006/main" xmlns:r="http://schemas.openxmlformats.org/officeDocument/2006/relationships" xmlns:p="http://schemas.openxmlformats.org/presentationml/2006/main">
  <p:tag name="OTLMARKERSHAPE" val="OTL"/>
</p:tagLst>
</file>

<file path=ppt/tags/tag54.xml><?xml version="1.0" encoding="utf-8"?>
<p:tagLst xmlns:a="http://schemas.openxmlformats.org/drawingml/2006/main" xmlns:r="http://schemas.openxmlformats.org/officeDocument/2006/relationships" xmlns:p="http://schemas.openxmlformats.org/presentationml/2006/main">
  <p:tag name="OTLMARKERSHAPE" val="OTL"/>
</p:tagLst>
</file>

<file path=ppt/tags/tag55.xml><?xml version="1.0" encoding="utf-8"?>
<p:tagLst xmlns:a="http://schemas.openxmlformats.org/drawingml/2006/main" xmlns:r="http://schemas.openxmlformats.org/officeDocument/2006/relationships" xmlns:p="http://schemas.openxmlformats.org/presentationml/2006/main">
  <p:tag name="OTLMARKERSHAPE" val="OTL"/>
</p:tagLst>
</file>

<file path=ppt/tags/tag56.xml><?xml version="1.0" encoding="utf-8"?>
<p:tagLst xmlns:a="http://schemas.openxmlformats.org/drawingml/2006/main" xmlns:r="http://schemas.openxmlformats.org/officeDocument/2006/relationships" xmlns:p="http://schemas.openxmlformats.org/presentationml/2006/main">
  <p:tag name="OTLMARKERSHAPE" val="OTL"/>
</p:tagLst>
</file>

<file path=ppt/tags/tag57.xml><?xml version="1.0" encoding="utf-8"?>
<p:tagLst xmlns:a="http://schemas.openxmlformats.org/drawingml/2006/main" xmlns:r="http://schemas.openxmlformats.org/officeDocument/2006/relationships" xmlns:p="http://schemas.openxmlformats.org/presentationml/2006/main">
  <p:tag name="OTLMARKERSHAPE" val="OTL"/>
</p:tagLst>
</file>

<file path=ppt/tags/tag58.xml><?xml version="1.0" encoding="utf-8"?>
<p:tagLst xmlns:a="http://schemas.openxmlformats.org/drawingml/2006/main" xmlns:r="http://schemas.openxmlformats.org/officeDocument/2006/relationships" xmlns:p="http://schemas.openxmlformats.org/presentationml/2006/main">
  <p:tag name="OTLMARKERSHAPE" val="OTL"/>
</p:tagLst>
</file>

<file path=ppt/tags/tag59.xml><?xml version="1.0" encoding="utf-8"?>
<p:tagLst xmlns:a="http://schemas.openxmlformats.org/drawingml/2006/main" xmlns:r="http://schemas.openxmlformats.org/officeDocument/2006/relationships" xmlns:p="http://schemas.openxmlformats.org/presentationml/2006/main">
  <p:tag name="OTLMARKERSHAPE" val="OTL"/>
</p:tagLst>
</file>

<file path=ppt/tags/tag6.xml><?xml version="1.0" encoding="utf-8"?>
<p:tagLst xmlns:a="http://schemas.openxmlformats.org/drawingml/2006/main" xmlns:r="http://schemas.openxmlformats.org/officeDocument/2006/relationships" xmlns:p="http://schemas.openxmlformats.org/presentationml/2006/main">
  <p:tag name="OTLMARKERSHAPE" val="OTL"/>
</p:tagLst>
</file>

<file path=ppt/tags/tag60.xml><?xml version="1.0" encoding="utf-8"?>
<p:tagLst xmlns:a="http://schemas.openxmlformats.org/drawingml/2006/main" xmlns:r="http://schemas.openxmlformats.org/officeDocument/2006/relationships" xmlns:p="http://schemas.openxmlformats.org/presentationml/2006/main">
  <p:tag name="OTLMARKERSHAPE" val="OTL"/>
</p:tagLst>
</file>

<file path=ppt/tags/tag61.xml><?xml version="1.0" encoding="utf-8"?>
<p:tagLst xmlns:a="http://schemas.openxmlformats.org/drawingml/2006/main" xmlns:r="http://schemas.openxmlformats.org/officeDocument/2006/relationships" xmlns:p="http://schemas.openxmlformats.org/presentationml/2006/main">
  <p:tag name="OTLMARKERSHAPE" val="OTL"/>
</p:tagLst>
</file>

<file path=ppt/tags/tag62.xml><?xml version="1.0" encoding="utf-8"?>
<p:tagLst xmlns:a="http://schemas.openxmlformats.org/drawingml/2006/main" xmlns:r="http://schemas.openxmlformats.org/officeDocument/2006/relationships" xmlns:p="http://schemas.openxmlformats.org/presentationml/2006/main">
  <p:tag name="OTLMARKERSHAPE" val="OTL"/>
</p:tagLst>
</file>

<file path=ppt/tags/tag63.xml><?xml version="1.0" encoding="utf-8"?>
<p:tagLst xmlns:a="http://schemas.openxmlformats.org/drawingml/2006/main" xmlns:r="http://schemas.openxmlformats.org/officeDocument/2006/relationships" xmlns:p="http://schemas.openxmlformats.org/presentationml/2006/main">
  <p:tag name="OTLMARKERSHAPE" val="OTL"/>
</p:tagLst>
</file>

<file path=ppt/tags/tag64.xml><?xml version="1.0" encoding="utf-8"?>
<p:tagLst xmlns:a="http://schemas.openxmlformats.org/drawingml/2006/main" xmlns:r="http://schemas.openxmlformats.org/officeDocument/2006/relationships" xmlns:p="http://schemas.openxmlformats.org/presentationml/2006/main">
  <p:tag name="OTLMARKERSHAPE" val="OTL"/>
</p:tagLst>
</file>

<file path=ppt/tags/tag65.xml><?xml version="1.0" encoding="utf-8"?>
<p:tagLst xmlns:a="http://schemas.openxmlformats.org/drawingml/2006/main" xmlns:r="http://schemas.openxmlformats.org/officeDocument/2006/relationships" xmlns:p="http://schemas.openxmlformats.org/presentationml/2006/main">
  <p:tag name="OTLMARKERSHAPE" val="OTL"/>
</p:tagLst>
</file>

<file path=ppt/tags/tag66.xml><?xml version="1.0" encoding="utf-8"?>
<p:tagLst xmlns:a="http://schemas.openxmlformats.org/drawingml/2006/main" xmlns:r="http://schemas.openxmlformats.org/officeDocument/2006/relationships" xmlns:p="http://schemas.openxmlformats.org/presentationml/2006/main">
  <p:tag name="OTLMARKERSHAPE" val="OTL"/>
</p:tagLst>
</file>

<file path=ppt/tags/tag67.xml><?xml version="1.0" encoding="utf-8"?>
<p:tagLst xmlns:a="http://schemas.openxmlformats.org/drawingml/2006/main" xmlns:r="http://schemas.openxmlformats.org/officeDocument/2006/relationships" xmlns:p="http://schemas.openxmlformats.org/presentationml/2006/main">
  <p:tag name="OTLMARKERSHAPE" val="OTL"/>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sx5MJdymoU.zN.FWfRq3L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L8vPe0Qh90Ki0Y_pyY1ohA"/>
</p:tagLst>
</file>

<file path=ppt/tags/tag7.xml><?xml version="1.0" encoding="utf-8"?>
<p:tagLst xmlns:a="http://schemas.openxmlformats.org/drawingml/2006/main" xmlns:r="http://schemas.openxmlformats.org/officeDocument/2006/relationships" xmlns:p="http://schemas.openxmlformats.org/presentationml/2006/main">
  <p:tag name="OTLMARKERSHAPE" val="OTL"/>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jG6yFY9uhUuIRxbvD.LD4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Hn2eGdJKjEuSiLzHXd8mp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5ZXXUeG.LEKoYd1aNgSGu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fwyDjO443UKZ4fM_Vivd5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N1q3MFtn6E25qp7.htn1T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d8C9olbEQUy9usVvIJtwU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9O.RPbw4YkeY0UJOAjmV2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Y_Fpc9s7uEGVe6P40l4bu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5HZgRLAVhkuBds0o4gK9Y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gQJuFCmKJUWQ.a_SYcN5VA"/>
</p:tagLst>
</file>

<file path=ppt/tags/tag8.xml><?xml version="1.0" encoding="utf-8"?>
<p:tagLst xmlns:a="http://schemas.openxmlformats.org/drawingml/2006/main" xmlns:r="http://schemas.openxmlformats.org/officeDocument/2006/relationships" xmlns:p="http://schemas.openxmlformats.org/presentationml/2006/main">
  <p:tag name="OTLMARKERSHAPE" val="OTL"/>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6mWEuER3GEm5zW1fCk9iD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aWfDCjPBxkq1p5EA11.1_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zK9FUtLzp0GejStjitpd3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UIXM_fcmV0qPfLxeHXuDU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b4VBaZnWfU6Ca6T58vzUu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w.HVe40QAEOZPdXb2OCxv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iesfuUtrt06b0mEjQu6hx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pVMZBGslHEuZcbeXyTSsd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2jU8XmWNVEKeMJIkUH.GD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yXePkbmX5Ea.kx3NVDW8QQ"/>
</p:tagLst>
</file>

<file path=ppt/tags/tag9.xml><?xml version="1.0" encoding="utf-8"?>
<p:tagLst xmlns:a="http://schemas.openxmlformats.org/drawingml/2006/main" xmlns:r="http://schemas.openxmlformats.org/officeDocument/2006/relationships" xmlns:p="http://schemas.openxmlformats.org/presentationml/2006/main">
  <p:tag name="OTLMARKERSHAPE" val="OTL"/>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KlcYcSB.G0iQuQe6TwZpB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PmM4_gm3nkOiZ65tZ4FIM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dvBBG_sOnEiwrIcae3uAk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35hijpXDMkOoMz1QcsWYA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d4SiWsIPr0OBLSxCNmTNp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slhfClNjV0WqoATgVumCQ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9gILjewTQ0OALH4V4_wOt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BIr9F4_CE6Zza0vqHACV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nmZlEuFWJ0iXuHwRiGEUw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RD3kYNvn10yEWZYCy1_ITw"/>
</p:tagLst>
</file>

<file path=ppt/theme/theme1.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entury Gothic">
      <a:majorFont>
        <a:latin typeface="Century Gothic"/>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1930</TotalTime>
  <Words>408</Words>
  <Application>Microsoft Office PowerPoint</Application>
  <PresentationFormat>On-screen Show (4:3)</PresentationFormat>
  <Paragraphs>132</Paragraphs>
  <Slides>8</Slides>
  <Notes>0</Notes>
  <HiddenSlides>0</HiddenSlides>
  <MMClips>0</MMClips>
  <ScaleCrop>false</ScaleCrop>
  <HeadingPairs>
    <vt:vector size="4" baseType="variant">
      <vt:variant>
        <vt:lpstr>Theme</vt:lpstr>
      </vt:variant>
      <vt:variant>
        <vt:i4>1</vt:i4>
      </vt:variant>
      <vt:variant>
        <vt:lpstr>Slide Titles</vt:lpstr>
      </vt:variant>
      <vt:variant>
        <vt:i4>8</vt:i4>
      </vt:variant>
    </vt:vector>
  </HeadingPairs>
  <TitlesOfParts>
    <vt:vector size="9" baseType="lpstr">
      <vt:lpstr>2_Office Theme</vt:lpstr>
      <vt:lpstr>Slide 1</vt:lpstr>
      <vt:lpstr>Slide 2</vt:lpstr>
      <vt:lpstr>Slide 3</vt:lpstr>
      <vt:lpstr>Nasdaq OMX Trading System</vt:lpstr>
      <vt:lpstr>Slide 5</vt:lpstr>
      <vt:lpstr>Slide 6</vt:lpstr>
      <vt:lpstr>Slide 7</vt:lpstr>
      <vt:lpstr>Slide 8</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javuu</dc:creator>
  <cp:lastModifiedBy>cmcsecretariat</cp:lastModifiedBy>
  <cp:revision>67</cp:revision>
  <dcterms:created xsi:type="dcterms:W3CDTF">2014-05-19T09:06:31Z</dcterms:created>
  <dcterms:modified xsi:type="dcterms:W3CDTF">2017-08-18T09:45:49Z</dcterms:modified>
</cp:coreProperties>
</file>